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omments/comment1.xml" ContentType="application/vnd.openxmlformats-officedocument.presentationml.comment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1.xml" ContentType="application/vnd.openxmlformats-officedocument.drawingml.chartshape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tags/tag11.xml" ContentType="application/vnd.openxmlformats-officedocument.presentationml.tags+xml"/>
  <Override PartName="/ppt/notesSlides/notesSlide10.xml" ContentType="application/vnd.openxmlformats-officedocument.presentationml.notesSlide+xml"/>
  <Override PartName="/ppt/tags/tag12.xml" ContentType="application/vnd.openxmlformats-officedocument.presentationml.tags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4.xml" ContentType="application/vnd.openxmlformats-officedocument.presentationml.tags+xml"/>
  <Override PartName="/ppt/notesSlides/notesSlide13.xml" ContentType="application/vnd.openxmlformats-officedocument.presentationml.notesSlide+xml"/>
  <Override PartName="/ppt/tags/tag15.xml" ContentType="application/vnd.openxmlformats-officedocument.presentationml.tags+xml"/>
  <Override PartName="/ppt/notesSlides/notesSlide14.xml" ContentType="application/vnd.openxmlformats-officedocument.presentationml.notesSlide+xml"/>
  <Override PartName="/ppt/tags/tag16.xml" ContentType="application/vnd.openxmlformats-officedocument.presentationml.tags+xml"/>
  <Override PartName="/ppt/notesSlides/notesSlide15.xml" ContentType="application/vnd.openxmlformats-officedocument.presentationml.notesSlide+xml"/>
  <Override PartName="/ppt/tags/tag17.xml" ContentType="application/vnd.openxmlformats-officedocument.presentationml.tags+xml"/>
  <Override PartName="/ppt/notesSlides/notesSlide16.xml" ContentType="application/vnd.openxmlformats-officedocument.presentationml.notesSlide+xml"/>
  <Override PartName="/ppt/tags/tag18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19.xml" ContentType="application/vnd.openxmlformats-officedocument.presentationml.tags+xml"/>
  <Override PartName="/ppt/notesSlides/notesSlide18.xml" ContentType="application/vnd.openxmlformats-officedocument.presentationml.notesSlide+xml"/>
  <Override PartName="/ppt/tags/tag20.xml" ContentType="application/vnd.openxmlformats-officedocument.presentationml.tags+xml"/>
  <Override PartName="/ppt/notesSlides/notesSlide19.xml" ContentType="application/vnd.openxmlformats-officedocument.presentationml.notesSlide+xml"/>
  <Override PartName="/ppt/tags/tag21.xml" ContentType="application/vnd.openxmlformats-officedocument.presentationml.tags+xml"/>
  <Override PartName="/ppt/notesSlides/notesSlide20.xml" ContentType="application/vnd.openxmlformats-officedocument.presentationml.notesSlide+xml"/>
  <Override PartName="/ppt/tags/tag22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drawings/drawing2.xml" ContentType="application/vnd.openxmlformats-officedocument.drawingml.chartshape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23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drawings/drawing3.xml" ContentType="application/vnd.openxmlformats-officedocument.drawingml.chartshape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notesSlides/notesSlide2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38"/>
  </p:notesMasterIdLst>
  <p:sldIdLst>
    <p:sldId id="958" r:id="rId5"/>
    <p:sldId id="822" r:id="rId6"/>
    <p:sldId id="301" r:id="rId7"/>
    <p:sldId id="302" r:id="rId8"/>
    <p:sldId id="303" r:id="rId9"/>
    <p:sldId id="304" r:id="rId10"/>
    <p:sldId id="2783" r:id="rId11"/>
    <p:sldId id="2784" r:id="rId12"/>
    <p:sldId id="2786" r:id="rId13"/>
    <p:sldId id="2787" r:id="rId14"/>
    <p:sldId id="2788" r:id="rId15"/>
    <p:sldId id="2789" r:id="rId16"/>
    <p:sldId id="2790" r:id="rId17"/>
    <p:sldId id="2791" r:id="rId18"/>
    <p:sldId id="2792" r:id="rId19"/>
    <p:sldId id="2793" r:id="rId20"/>
    <p:sldId id="2794" r:id="rId21"/>
    <p:sldId id="2801" r:id="rId22"/>
    <p:sldId id="2802" r:id="rId23"/>
    <p:sldId id="2803" r:id="rId24"/>
    <p:sldId id="2804" r:id="rId25"/>
    <p:sldId id="2805" r:id="rId26"/>
    <p:sldId id="2796" r:id="rId27"/>
    <p:sldId id="2797" r:id="rId28"/>
    <p:sldId id="2798" r:id="rId29"/>
    <p:sldId id="2799" r:id="rId30"/>
    <p:sldId id="2795" r:id="rId31"/>
    <p:sldId id="2800" r:id="rId32"/>
    <p:sldId id="963" r:id="rId33"/>
    <p:sldId id="277" r:id="rId34"/>
    <p:sldId id="278" r:id="rId35"/>
    <p:sldId id="279" r:id="rId36"/>
    <p:sldId id="954" r:id="rId37"/>
  </p:sldIdLst>
  <p:sldSz cx="12192000" cy="6858000"/>
  <p:notesSz cx="6858000" cy="9144000"/>
  <p:custDataLst>
    <p:tags r:id="rId3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28D02DD-5AF9-4560-9609-884CCBEB44E5}">
          <p14:sldIdLst>
            <p14:sldId id="958"/>
            <p14:sldId id="822"/>
          </p14:sldIdLst>
        </p14:section>
        <p14:section name="Executive summary" id="{BEB608C8-106F-4A1F-8BFB-9FC1FDCEC941}">
          <p14:sldIdLst>
            <p14:sldId id="301"/>
            <p14:sldId id="302"/>
            <p14:sldId id="303"/>
            <p14:sldId id="304"/>
          </p14:sldIdLst>
        </p14:section>
        <p14:section name="Project Status Overview" id="{76BCC801-10BD-4D10-A58E-CB1D3C37AB02}">
          <p14:sldIdLst>
            <p14:sldId id="2783"/>
            <p14:sldId id="2784"/>
            <p14:sldId id="2786"/>
            <p14:sldId id="2787"/>
            <p14:sldId id="2788"/>
            <p14:sldId id="2789"/>
            <p14:sldId id="2790"/>
            <p14:sldId id="2791"/>
            <p14:sldId id="2792"/>
            <p14:sldId id="2793"/>
            <p14:sldId id="2794"/>
            <p14:sldId id="2801"/>
            <p14:sldId id="2802"/>
            <p14:sldId id="2803"/>
            <p14:sldId id="2804"/>
            <p14:sldId id="2805"/>
            <p14:sldId id="2796"/>
            <p14:sldId id="2797"/>
            <p14:sldId id="2798"/>
            <p14:sldId id="2799"/>
            <p14:sldId id="2795"/>
            <p14:sldId id="2800"/>
          </p14:sldIdLst>
        </p14:section>
        <p14:section name="Resource Planning" id="{2BE1588C-1A91-45EF-8D36-AE882E890E5A}">
          <p14:sldIdLst>
            <p14:sldId id="963"/>
          </p14:sldIdLst>
        </p14:section>
        <p14:section name="Appendices" id="{1F78E726-F3FB-4E2D-B37F-97B6514F058C}">
          <p14:sldIdLst>
            <p14:sldId id="277"/>
            <p14:sldId id="278"/>
            <p14:sldId id="279"/>
            <p14:sldId id="95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azeer, Saneesh" initials="NS" lastIdx="8" clrIdx="0">
    <p:extLst>
      <p:ext uri="{19B8F6BF-5375-455C-9EA6-DF929625EA0E}">
        <p15:presenceInfo xmlns:p15="http://schemas.microsoft.com/office/powerpoint/2012/main" userId="S::saneeshnazeer@kpmg.com::199e432b-a73e-4b7c-973c-e9c8d83d436b" providerId="AD"/>
      </p:ext>
    </p:extLst>
  </p:cmAuthor>
  <p:cmAuthor id="2" name="Wahdan, Karim" initials="WK" lastIdx="7" clrIdx="1">
    <p:extLst>
      <p:ext uri="{19B8F6BF-5375-455C-9EA6-DF929625EA0E}">
        <p15:presenceInfo xmlns:p15="http://schemas.microsoft.com/office/powerpoint/2012/main" userId="S::kwahdan@kpmg.com::50bd6070-12e3-4a7b-bd45-f0324342bbe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AA00"/>
    <a:srgbClr val="43B02A"/>
    <a:srgbClr val="6D2077"/>
    <a:srgbClr val="F68D2E"/>
    <a:srgbClr val="FFC000"/>
    <a:srgbClr val="0091DA"/>
    <a:srgbClr val="5B9BD5"/>
    <a:srgbClr val="ED7D31"/>
    <a:srgbClr val="70AD47"/>
    <a:srgbClr val="A5A5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4513705-39BC-489B-BDF5-2BC6FC2047BB}" v="19" vWet="21" dt="2022-06-08T12:40:19.187"/>
    <p1510:client id="{3019CEFE-A6DD-3B90-4AB9-25CCE90F2B26}" v="185" dt="2022-06-09T04:42:35.970"/>
    <p1510:client id="{5CA71397-0AA6-4E33-B9D4-69674783B0A1}" v="5477" dt="2022-06-09T09:33:19.271"/>
    <p1510:client id="{7B0C3951-65F4-4779-B1E6-337FD6239285}" v="49" vWet="51" dt="2022-06-09T07:01:05.702"/>
    <p1510:client id="{7B635E99-D923-147A-A489-E2F71A565B7D}" v="60" dt="2022-06-08T12:06:39.432"/>
    <p1510:client id="{944948DC-1CFB-40D2-8773-F7D55EB74FAD}" v="108" dt="2022-06-09T06:06:26.147"/>
    <p1510:client id="{BE526450-05CD-4845-9391-6BE800B54D28}" v="2" dt="2022-06-08T15:58:37.586"/>
    <p1510:client id="{DC65DB80-69BC-2B11-8548-E41415455E27}" v="1" dt="2022-06-08T16:02:49.262"/>
  </p1510:revLst>
</p1510:revInfo>
</file>

<file path=ppt/tableStyles.xml><?xml version="1.0" encoding="utf-8"?>
<a:tblStyleLst xmlns:a="http://schemas.openxmlformats.org/drawingml/2006/main" def="{5C22544A-7EE6-4342-B048-85BDC9FD1C3A}"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108" y="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gs" Target="tags/tag1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commentAuthors" Target="commentAuthors.xml"/><Relationship Id="rId45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notesMaster" Target="notesMasters/notesMaster1.xml"/><Relationship Id="rId20" Type="http://schemas.openxmlformats.org/officeDocument/2006/relationships/slide" Target="slides/slide16.xml"/><Relationship Id="rId41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Relationship Id="rId4" Type="http://schemas.openxmlformats.org/officeDocument/2006/relationships/chartUserShapes" Target="../drawings/drawing2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Relationship Id="rId4" Type="http://schemas.openxmlformats.org/officeDocument/2006/relationships/chartUserShapes" Target="../drawings/drawing3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1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ctual</c:v>
                </c:pt>
              </c:strCache>
            </c:strRef>
          </c:tx>
          <c:spPr>
            <a:ln w="34925" cap="rnd">
              <a:solidFill>
                <a:schemeClr val="accent1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2:$A$13</c:f>
              <c:numCache>
                <c:formatCode>mmm\ yy</c:formatCode>
                <c:ptCount val="12"/>
                <c:pt idx="0">
                  <c:v>44470</c:v>
                </c:pt>
                <c:pt idx="1">
                  <c:v>44501</c:v>
                </c:pt>
                <c:pt idx="2">
                  <c:v>44531</c:v>
                </c:pt>
                <c:pt idx="3">
                  <c:v>44562</c:v>
                </c:pt>
                <c:pt idx="4">
                  <c:v>44593</c:v>
                </c:pt>
                <c:pt idx="5">
                  <c:v>44621</c:v>
                </c:pt>
                <c:pt idx="6">
                  <c:v>44652</c:v>
                </c:pt>
                <c:pt idx="7">
                  <c:v>44682</c:v>
                </c:pt>
                <c:pt idx="8">
                  <c:v>44713</c:v>
                </c:pt>
                <c:pt idx="9">
                  <c:v>44743</c:v>
                </c:pt>
                <c:pt idx="10">
                  <c:v>44774</c:v>
                </c:pt>
                <c:pt idx="11">
                  <c:v>44805</c:v>
                </c:pt>
              </c:numCache>
            </c:numRef>
          </c:cat>
          <c:val>
            <c:numRef>
              <c:f>Sheet1!$B$2:$B$13</c:f>
              <c:numCache>
                <c:formatCode>0%</c:formatCode>
                <c:ptCount val="12"/>
                <c:pt idx="0">
                  <c:v>0.33</c:v>
                </c:pt>
                <c:pt idx="1">
                  <c:v>0.57999999999999996</c:v>
                </c:pt>
                <c:pt idx="2">
                  <c:v>0.6</c:v>
                </c:pt>
                <c:pt idx="3">
                  <c:v>0.63</c:v>
                </c:pt>
                <c:pt idx="4">
                  <c:v>0.64</c:v>
                </c:pt>
                <c:pt idx="5">
                  <c:v>0.68</c:v>
                </c:pt>
                <c:pt idx="6">
                  <c:v>0.65</c:v>
                </c:pt>
                <c:pt idx="7">
                  <c:v>0.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7B7-411C-8415-86A37E2A048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arget</c:v>
                </c:pt>
              </c:strCache>
            </c:strRef>
          </c:tx>
          <c:spPr>
            <a:ln w="34925" cap="rnd">
              <a:solidFill>
                <a:schemeClr val="accent2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2:$A$13</c:f>
              <c:numCache>
                <c:formatCode>mmm\ yy</c:formatCode>
                <c:ptCount val="12"/>
                <c:pt idx="0">
                  <c:v>44470</c:v>
                </c:pt>
                <c:pt idx="1">
                  <c:v>44501</c:v>
                </c:pt>
                <c:pt idx="2">
                  <c:v>44531</c:v>
                </c:pt>
                <c:pt idx="3">
                  <c:v>44562</c:v>
                </c:pt>
                <c:pt idx="4">
                  <c:v>44593</c:v>
                </c:pt>
                <c:pt idx="5">
                  <c:v>44621</c:v>
                </c:pt>
                <c:pt idx="6">
                  <c:v>44652</c:v>
                </c:pt>
                <c:pt idx="7">
                  <c:v>44682</c:v>
                </c:pt>
                <c:pt idx="8">
                  <c:v>44713</c:v>
                </c:pt>
                <c:pt idx="9">
                  <c:v>44743</c:v>
                </c:pt>
                <c:pt idx="10">
                  <c:v>44774</c:v>
                </c:pt>
                <c:pt idx="11">
                  <c:v>44805</c:v>
                </c:pt>
              </c:numCache>
            </c:numRef>
          </c:cat>
          <c:val>
            <c:numRef>
              <c:f>Sheet1!$C$2:$C$13</c:f>
              <c:numCache>
                <c:formatCode>0%</c:formatCode>
                <c:ptCount val="12"/>
                <c:pt idx="0">
                  <c:v>0.8</c:v>
                </c:pt>
                <c:pt idx="1">
                  <c:v>0.8</c:v>
                </c:pt>
                <c:pt idx="2">
                  <c:v>0.8</c:v>
                </c:pt>
                <c:pt idx="3">
                  <c:v>0.8</c:v>
                </c:pt>
                <c:pt idx="4">
                  <c:v>0.8</c:v>
                </c:pt>
                <c:pt idx="5">
                  <c:v>0.8</c:v>
                </c:pt>
                <c:pt idx="6">
                  <c:v>0.8</c:v>
                </c:pt>
                <c:pt idx="7">
                  <c:v>0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7B7-411C-8415-86A37E2A048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450470832"/>
        <c:axId val="450472496"/>
      </c:lineChart>
      <c:catAx>
        <c:axId val="450470832"/>
        <c:scaling>
          <c:orientation val="minMax"/>
        </c:scaling>
        <c:delete val="0"/>
        <c:axPos val="b"/>
        <c:numFmt formatCode="mmm\ 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lt1">
                <a:lumMod val="95000"/>
                <a:alpha val="1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472496"/>
        <c:crosses val="autoZero"/>
        <c:auto val="0"/>
        <c:lblAlgn val="ctr"/>
        <c:lblOffset val="100"/>
        <c:noMultiLvlLbl val="0"/>
      </c:catAx>
      <c:valAx>
        <c:axId val="450472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4708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100"/>
              <a:t>Expenses</a:t>
            </a:r>
          </a:p>
        </c:rich>
      </c:tx>
      <c:layout>
        <c:manualLayout>
          <c:xMode val="edge"/>
          <c:yMode val="edge"/>
          <c:x val="0.42808915421220001"/>
          <c:y val="6.415181811191601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3BD-4371-A8CA-B7168017B621}"/>
              </c:ext>
            </c:extLst>
          </c:dPt>
          <c:dPt>
            <c:idx val="1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3BD-4371-A8CA-B7168017B621}"/>
              </c:ext>
            </c:extLst>
          </c:dPt>
          <c:cat>
            <c:strRef>
              <c:f>Sheet1!$A$2:$A$3</c:f>
              <c:strCache>
                <c:ptCount val="2"/>
                <c:pt idx="0">
                  <c:v>Consumed</c:v>
                </c:pt>
                <c:pt idx="1">
                  <c:v>Remaining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1999999999999993</c:v>
                </c:pt>
                <c:pt idx="1">
                  <c:v>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3BD-4371-A8CA-B7168017B6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0635631431253787"/>
          <c:y val="0.69075736749674888"/>
          <c:w val="0.26369983465063696"/>
          <c:h val="0.21892741196931423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H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64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Risks</c:v>
                </c:pt>
                <c:pt idx="1">
                  <c:v>Issues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479-41C4-A0D2-BDF5695EFCA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64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Risks</c:v>
                </c:pt>
                <c:pt idx="1">
                  <c:v>Issues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479-41C4-A0D2-BDF5695EFCA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L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64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Risks</c:v>
                </c:pt>
                <c:pt idx="1">
                  <c:v>Issues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479-41C4-A0D2-BDF5695EFCA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44"/>
        <c:overlap val="-90"/>
        <c:axId val="451491152"/>
        <c:axId val="451485744"/>
      </c:barChart>
      <c:catAx>
        <c:axId val="45149115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t" anchorCtr="1"/>
          <a:lstStyle/>
          <a:p>
            <a:pPr>
              <a:defRPr sz="9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1485744"/>
        <c:crosses val="autoZero"/>
        <c:auto val="1"/>
        <c:lblAlgn val="ctr"/>
        <c:lblOffset val="100"/>
        <c:noMultiLvlLbl val="0"/>
      </c:catAx>
      <c:valAx>
        <c:axId val="4514857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514911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8340143148615121E-2"/>
          <c:y val="0.16891690870156589"/>
          <c:w val="0.24679678321988333"/>
          <c:h val="0.1710183946523412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100"/>
              <a:t>Expenses</a:t>
            </a:r>
          </a:p>
        </c:rich>
      </c:tx>
      <c:layout>
        <c:manualLayout>
          <c:xMode val="edge"/>
          <c:yMode val="edge"/>
          <c:x val="0.42808915421220001"/>
          <c:y val="6.415181811191601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3BD-4371-A8CA-B7168017B621}"/>
              </c:ext>
            </c:extLst>
          </c:dPt>
          <c:dPt>
            <c:idx val="1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3BD-4371-A8CA-B7168017B621}"/>
              </c:ext>
            </c:extLst>
          </c:dPt>
          <c:cat>
            <c:strRef>
              <c:f>Sheet1!$A$2:$A$3</c:f>
              <c:strCache>
                <c:ptCount val="2"/>
                <c:pt idx="0">
                  <c:v>Consumed</c:v>
                </c:pt>
                <c:pt idx="1">
                  <c:v>Remaining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1999999999999993</c:v>
                </c:pt>
                <c:pt idx="1">
                  <c:v>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3BD-4371-A8CA-B7168017B6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0635631431253787"/>
          <c:y val="0.69075736749674888"/>
          <c:w val="0.26369983465063696"/>
          <c:h val="0.21892741196931423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M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64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Risks</c:v>
                </c:pt>
                <c:pt idx="1">
                  <c:v>Issues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1</c:v>
                </c:pt>
                <c:pt idx="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479-41C4-A0D2-BDF5695EFCA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44"/>
        <c:overlap val="-90"/>
        <c:axId val="451491152"/>
        <c:axId val="451485744"/>
      </c:barChart>
      <c:catAx>
        <c:axId val="45149115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t" anchorCtr="1"/>
          <a:lstStyle/>
          <a:p>
            <a:pPr>
              <a:defRPr sz="9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1485744"/>
        <c:crosses val="autoZero"/>
        <c:auto val="1"/>
        <c:lblAlgn val="ctr"/>
        <c:lblOffset val="100"/>
        <c:noMultiLvlLbl val="0"/>
      </c:catAx>
      <c:valAx>
        <c:axId val="4514857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514911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8340143148615121E-2"/>
          <c:y val="0.16891690870156589"/>
          <c:w val="0.24679678321988333"/>
          <c:h val="0.1710183946523412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100"/>
              <a:t>Expenses</a:t>
            </a:r>
          </a:p>
        </c:rich>
      </c:tx>
      <c:layout>
        <c:manualLayout>
          <c:xMode val="edge"/>
          <c:yMode val="edge"/>
          <c:x val="0.42808915421220001"/>
          <c:y val="6.415181811191601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3BD-4371-A8CA-B7168017B621}"/>
              </c:ext>
            </c:extLst>
          </c:dPt>
          <c:dPt>
            <c:idx val="1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3BD-4371-A8CA-B7168017B621}"/>
              </c:ext>
            </c:extLst>
          </c:dPt>
          <c:cat>
            <c:strRef>
              <c:f>Sheet1!$A$2:$A$3</c:f>
              <c:strCache>
                <c:ptCount val="2"/>
                <c:pt idx="0">
                  <c:v>Consumed</c:v>
                </c:pt>
                <c:pt idx="1">
                  <c:v>Remaining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1999999999999993</c:v>
                </c:pt>
                <c:pt idx="1">
                  <c:v>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3BD-4371-A8CA-B7168017B6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0635631431253787"/>
          <c:y val="0.69075736749674888"/>
          <c:w val="0.26369983465063696"/>
          <c:h val="0.21892741196931423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2"/>
          <c:order val="0"/>
          <c:tx>
            <c:strRef>
              <c:f>Sheet1!$D$1</c:f>
              <c:strCache>
                <c:ptCount val="1"/>
                <c:pt idx="0">
                  <c:v>L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64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Risks</c:v>
                </c:pt>
                <c:pt idx="1">
                  <c:v>Issues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479-41C4-A0D2-BDF5695EFCA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44"/>
        <c:overlap val="-90"/>
        <c:axId val="451491152"/>
        <c:axId val="451485744"/>
      </c:barChart>
      <c:catAx>
        <c:axId val="45149115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t" anchorCtr="1"/>
          <a:lstStyle/>
          <a:p>
            <a:pPr>
              <a:defRPr sz="9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1485744"/>
        <c:crosses val="autoZero"/>
        <c:auto val="1"/>
        <c:lblAlgn val="ctr"/>
        <c:lblOffset val="100"/>
        <c:noMultiLvlLbl val="0"/>
      </c:catAx>
      <c:valAx>
        <c:axId val="4514857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514911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8340143148615121E-2"/>
          <c:y val="0.16891690870156589"/>
          <c:w val="0.24679678321988333"/>
          <c:h val="0.1710183946523412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100"/>
              <a:t>Expenses</a:t>
            </a:r>
          </a:p>
        </c:rich>
      </c:tx>
      <c:layout>
        <c:manualLayout>
          <c:xMode val="edge"/>
          <c:yMode val="edge"/>
          <c:x val="0.42808915421220001"/>
          <c:y val="6.415181811191601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3BD-4371-A8CA-B7168017B621}"/>
              </c:ext>
            </c:extLst>
          </c:dPt>
          <c:dPt>
            <c:idx val="1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3BD-4371-A8CA-B7168017B621}"/>
              </c:ext>
            </c:extLst>
          </c:dPt>
          <c:cat>
            <c:strRef>
              <c:f>Sheet1!$A$2:$A$3</c:f>
              <c:strCache>
                <c:ptCount val="2"/>
                <c:pt idx="0">
                  <c:v>Consumed</c:v>
                </c:pt>
                <c:pt idx="1">
                  <c:v>Remaining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1999999999999993</c:v>
                </c:pt>
                <c:pt idx="1">
                  <c:v>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3BD-4371-A8CA-B7168017B6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0635631431253787"/>
          <c:y val="0.69075736749674888"/>
          <c:w val="0.26369983465063696"/>
          <c:h val="0.21892741196931423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2"/>
          <c:order val="0"/>
          <c:tx>
            <c:strRef>
              <c:f>Sheet1!$D$1</c:f>
              <c:strCache>
                <c:ptCount val="1"/>
                <c:pt idx="0">
                  <c:v>L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64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Risks</c:v>
                </c:pt>
                <c:pt idx="1">
                  <c:v>Issues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479-41C4-A0D2-BDF5695EFCA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44"/>
        <c:overlap val="-90"/>
        <c:axId val="451491152"/>
        <c:axId val="451485744"/>
      </c:barChart>
      <c:catAx>
        <c:axId val="45149115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t" anchorCtr="1"/>
          <a:lstStyle/>
          <a:p>
            <a:pPr>
              <a:defRPr sz="9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1485744"/>
        <c:crosses val="autoZero"/>
        <c:auto val="1"/>
        <c:lblAlgn val="ctr"/>
        <c:lblOffset val="100"/>
        <c:noMultiLvlLbl val="0"/>
      </c:catAx>
      <c:valAx>
        <c:axId val="4514857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514911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8340143148615121E-2"/>
          <c:y val="0.16891690870156589"/>
          <c:w val="0.24679678321988333"/>
          <c:h val="0.1710183946523412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581623458400542"/>
          <c:y val="2.3702390804074065E-2"/>
          <c:w val="0.78750287912928252"/>
          <c:h val="0.7478495398878144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voice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90</c:v>
                </c:pt>
                <c:pt idx="1">
                  <c:v>95</c:v>
                </c:pt>
                <c:pt idx="2">
                  <c:v>80</c:v>
                </c:pt>
                <c:pt idx="3">
                  <c:v>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7B7-411C-8415-86A37E2A048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lanned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85</c:v>
                </c:pt>
                <c:pt idx="1">
                  <c:v>90</c:v>
                </c:pt>
                <c:pt idx="2">
                  <c:v>80</c:v>
                </c:pt>
                <c:pt idx="3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7B7-411C-8415-86A37E2A04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50470832"/>
        <c:axId val="450472496"/>
      </c:barChart>
      <c:catAx>
        <c:axId val="450470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472496"/>
        <c:crosses val="autoZero"/>
        <c:auto val="0"/>
        <c:lblAlgn val="ctr"/>
        <c:lblOffset val="100"/>
        <c:noMultiLvlLbl val="0"/>
      </c:catAx>
      <c:valAx>
        <c:axId val="450472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470832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dTable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2022 Target: 17.5 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22 Target 17.5 M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604-4E33-AF65-A54B7BA94EE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1604-4E33-AF65-A54B7BA94EE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604-4E33-AF65-A54B7BA94EEF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271C432F-7DDC-423F-AF53-733B0424AC1B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1604-4E33-AF65-A54B7BA94EEF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1604-4E33-AF65-A54B7BA94EEF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1604-4E33-AF65-A54B7BA94EE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Remaining</c:v>
                </c:pt>
                <c:pt idx="1">
                  <c:v>Invoiced</c:v>
                </c:pt>
                <c:pt idx="2">
                  <c:v>Collected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604-4E33-AF65-A54B7BA94EEF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100"/>
              <a:t>Expenses</a:t>
            </a:r>
          </a:p>
        </c:rich>
      </c:tx>
      <c:layout>
        <c:manualLayout>
          <c:xMode val="edge"/>
          <c:yMode val="edge"/>
          <c:x val="0.42808915421220001"/>
          <c:y val="6.415181811191601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3BD-4371-A8CA-B7168017B621}"/>
              </c:ext>
            </c:extLst>
          </c:dPt>
          <c:dPt>
            <c:idx val="1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3BD-4371-A8CA-B7168017B621}"/>
              </c:ext>
            </c:extLst>
          </c:dPt>
          <c:cat>
            <c:strRef>
              <c:f>Sheet1!$A$2:$A$3</c:f>
              <c:strCache>
                <c:ptCount val="2"/>
                <c:pt idx="0">
                  <c:v>Consumed</c:v>
                </c:pt>
                <c:pt idx="1">
                  <c:v>Remaining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1999999999999993</c:v>
                </c:pt>
                <c:pt idx="1">
                  <c:v>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3BD-4371-A8CA-B7168017B6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0635631431253787"/>
          <c:y val="0.69075736749674888"/>
          <c:w val="0.26369983465063696"/>
          <c:h val="0.21892741196931423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2"/>
          <c:order val="0"/>
          <c:tx>
            <c:strRef>
              <c:f>Sheet1!$C$1</c:f>
              <c:strCache>
                <c:ptCount val="1"/>
                <c:pt idx="0">
                  <c:v>M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64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Risks</c:v>
                </c:pt>
                <c:pt idx="1">
                  <c:v>Issues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1</c:v>
                </c:pt>
                <c:pt idx="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479-41C4-A0D2-BDF5695EFCA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44"/>
        <c:overlap val="-90"/>
        <c:axId val="451491152"/>
        <c:axId val="451485744"/>
      </c:barChart>
      <c:catAx>
        <c:axId val="45149115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t" anchorCtr="1"/>
          <a:lstStyle/>
          <a:p>
            <a:pPr>
              <a:defRPr sz="9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1485744"/>
        <c:crosses val="autoZero"/>
        <c:auto val="1"/>
        <c:lblAlgn val="ctr"/>
        <c:lblOffset val="100"/>
        <c:noMultiLvlLbl val="0"/>
      </c:catAx>
      <c:valAx>
        <c:axId val="4514857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514911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8340143148615121E-2"/>
          <c:y val="0.16891690870156589"/>
          <c:w val="7.9636677814462112E-2"/>
          <c:h val="0.1184810494919857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100"/>
              <a:t>Expenses</a:t>
            </a:r>
          </a:p>
        </c:rich>
      </c:tx>
      <c:layout>
        <c:manualLayout>
          <c:xMode val="edge"/>
          <c:yMode val="edge"/>
          <c:x val="0.42808915421220001"/>
          <c:y val="6.415181811191601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3BD-4371-A8CA-B7168017B621}"/>
              </c:ext>
            </c:extLst>
          </c:dPt>
          <c:dPt>
            <c:idx val="1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3BD-4371-A8CA-B7168017B621}"/>
              </c:ext>
            </c:extLst>
          </c:dPt>
          <c:cat>
            <c:strRef>
              <c:f>Sheet1!$A$2:$A$3</c:f>
              <c:strCache>
                <c:ptCount val="2"/>
                <c:pt idx="0">
                  <c:v>Consumed</c:v>
                </c:pt>
                <c:pt idx="1">
                  <c:v>Remaining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1999999999999993</c:v>
                </c:pt>
                <c:pt idx="1">
                  <c:v>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3BD-4371-A8CA-B7168017B6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0635631431253787"/>
          <c:y val="0.69075736749674888"/>
          <c:w val="0.26369983465063696"/>
          <c:h val="0.21892741196931423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M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64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Risks</c:v>
                </c:pt>
                <c:pt idx="1">
                  <c:v>Issues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1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479-41C4-A0D2-BDF5695EFCA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44"/>
        <c:overlap val="-90"/>
        <c:axId val="451491152"/>
        <c:axId val="451485744"/>
      </c:barChart>
      <c:catAx>
        <c:axId val="45149115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t" anchorCtr="1"/>
          <a:lstStyle/>
          <a:p>
            <a:pPr>
              <a:defRPr sz="9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1485744"/>
        <c:crosses val="autoZero"/>
        <c:auto val="1"/>
        <c:lblAlgn val="ctr"/>
        <c:lblOffset val="100"/>
        <c:noMultiLvlLbl val="0"/>
      </c:catAx>
      <c:valAx>
        <c:axId val="4514857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514911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8340143148615121E-2"/>
          <c:y val="0.16891690870156589"/>
          <c:w val="0.24679678321988333"/>
          <c:h val="0.1710183946523412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100"/>
              <a:t>Expenses</a:t>
            </a:r>
          </a:p>
        </c:rich>
      </c:tx>
      <c:layout>
        <c:manualLayout>
          <c:xMode val="edge"/>
          <c:yMode val="edge"/>
          <c:x val="0.42808915421220001"/>
          <c:y val="6.415181811191601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3BD-4371-A8CA-B7168017B621}"/>
              </c:ext>
            </c:extLst>
          </c:dPt>
          <c:dPt>
            <c:idx val="1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3BD-4371-A8CA-B7168017B621}"/>
              </c:ext>
            </c:extLst>
          </c:dPt>
          <c:cat>
            <c:strRef>
              <c:f>Sheet1!$A$2:$A$3</c:f>
              <c:strCache>
                <c:ptCount val="2"/>
                <c:pt idx="0">
                  <c:v>Consumed</c:v>
                </c:pt>
                <c:pt idx="1">
                  <c:v>Remaining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1999999999999993</c:v>
                </c:pt>
                <c:pt idx="1">
                  <c:v>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3BD-4371-A8CA-B7168017B6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0635631431253787"/>
          <c:y val="0.69075736749674888"/>
          <c:w val="0.26369983465063696"/>
          <c:h val="0.21892741196931423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H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64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Risks</c:v>
                </c:pt>
                <c:pt idx="1">
                  <c:v>Issues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479-41C4-A0D2-BDF5695EFCA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64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Risks</c:v>
                </c:pt>
                <c:pt idx="1">
                  <c:v>Issues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479-41C4-A0D2-BDF5695EFCA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L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64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Risks</c:v>
                </c:pt>
                <c:pt idx="1">
                  <c:v>Issues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479-41C4-A0D2-BDF5695EFCA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44"/>
        <c:overlap val="-90"/>
        <c:axId val="451491152"/>
        <c:axId val="451485744"/>
      </c:barChart>
      <c:catAx>
        <c:axId val="45149115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t" anchorCtr="1"/>
          <a:lstStyle/>
          <a:p>
            <a:pPr>
              <a:defRPr sz="9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1485744"/>
        <c:crosses val="autoZero"/>
        <c:auto val="1"/>
        <c:lblAlgn val="ctr"/>
        <c:lblOffset val="100"/>
        <c:noMultiLvlLbl val="0"/>
      </c:catAx>
      <c:valAx>
        <c:axId val="4514857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514911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8340143148615121E-2"/>
          <c:y val="0.16891690870156589"/>
          <c:w val="0.24679678321988333"/>
          <c:h val="0.1710183946523412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3">
  <cs:axisTitle>
    <cs:lnRef idx="0"/>
    <cs:fillRef idx="0"/>
    <cs:effectRef idx="0"/>
    <cs:fontRef idx="minor">
      <a:schemeClr val="lt1">
        <a:lumMod val="85000"/>
      </a:schemeClr>
    </cs:fontRef>
    <cs:defRPr sz="1197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  <cs:defRPr sz="1197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330" kern="1200"/>
  </cs:chartArea>
  <cs:dataLabel>
    <cs:lnRef idx="0"/>
    <cs:fillRef idx="0"/>
    <cs:effectRef idx="0"/>
    <cs:fontRef idx="minor">
      <a:schemeClr val="lt1">
        <a:lumMod val="8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1197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2128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1197" kern="1200"/>
  </cs:valueAxis>
  <cs:wall>
    <cs:lnRef idx="0"/>
    <cs:fillRef idx="0"/>
    <cs:effectRef idx="0"/>
    <cs:fontRef idx="minor">
      <a:schemeClr val="tx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064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064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064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064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064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064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064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2-06-08T21:30:58.799" idx="6">
    <p:pos x="7050" y="480"/>
    <p:text>[@Nazeer, Saneesh]  Hey bro, Omar mentioned that you're gonna do this as well
</p:text>
    <p:extLst>
      <p:ext uri="{C676402C-5697-4E1C-873F-D02D1690AC5C}">
        <p15:threadingInfo xmlns:p15="http://schemas.microsoft.com/office/powerpoint/2012/main" timeZoneBias="420"/>
      </p:ext>
    </p:extLst>
  </p:cm>
  <p:cm authorId="1" dt="2022-06-09T08:53:16.612" idx="8">
    <p:pos x="7050" y="616"/>
    <p:text>its already updated</p:text>
    <p:extLst>
      <p:ext uri="{C676402C-5697-4E1C-873F-D02D1690AC5C}">
        <p15:threadingInfo xmlns:p15="http://schemas.microsoft.com/office/powerpoint/2012/main" timeZoneBias="-180">
          <p15:parentCm authorId="2" idx="6"/>
        </p15:threadingInfo>
      </p:ext>
    </p:extLst>
  </p:cm>
  <p:cm authorId="2" dt="2022-06-09T08:54:46.477" idx="7">
    <p:pos x="7050" y="576"/>
    <p:text>Thanks bro!</p:text>
    <p:extLst>
      <p:ext uri="{C676402C-5697-4E1C-873F-D02D1690AC5C}">
        <p15:threadingInfo xmlns:p15="http://schemas.microsoft.com/office/powerpoint/2012/main" timeZoneBias="-180">
          <p15:parentCm authorId="2" idx="6"/>
        </p15:threadingInfo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2595</cdr:x>
      <cdr:y>0.21424</cdr:y>
    </cdr:from>
    <cdr:to>
      <cdr:x>1</cdr:x>
      <cdr:y>1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D0BA3EDB-298B-497C-B1C7-1C36AA492D82}"/>
            </a:ext>
          </a:extLst>
        </cdr:cNvPr>
        <cdr:cNvSpPr txBox="1"/>
      </cdr:nvSpPr>
      <cdr:spPr>
        <a:xfrm xmlns:a="http://schemas.openxmlformats.org/drawingml/2006/main">
          <a:off x="1321275" y="424118"/>
          <a:ext cx="1780642" cy="155556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54610" tIns="54610" rIns="54610" bIns="54610" rtlCol="0">
          <a:noAutofit/>
        </a:bodyPr>
        <a:lstStyle xmlns:a="http://schemas.openxmlformats.org/drawingml/2006/main"/>
        <a:p xmlns:a="http://schemas.openxmlformats.org/drawingml/2006/main">
          <a:pPr>
            <a:spcAft>
              <a:spcPts val="600"/>
            </a:spcAft>
          </a:pPr>
          <a:r>
            <a:rPr lang="en-US" sz="1500" dirty="0">
              <a:solidFill>
                <a:schemeClr val="tx2"/>
              </a:solidFill>
            </a:rPr>
            <a:t>N/A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42595</cdr:x>
      <cdr:y>0.21424</cdr:y>
    </cdr:from>
    <cdr:to>
      <cdr:x>1</cdr:x>
      <cdr:y>1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D0BA3EDB-298B-497C-B1C7-1C36AA492D82}"/>
            </a:ext>
          </a:extLst>
        </cdr:cNvPr>
        <cdr:cNvSpPr txBox="1"/>
      </cdr:nvSpPr>
      <cdr:spPr>
        <a:xfrm xmlns:a="http://schemas.openxmlformats.org/drawingml/2006/main">
          <a:off x="1321275" y="424118"/>
          <a:ext cx="1780642" cy="155556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54610" tIns="54610" rIns="54610" bIns="54610" rtlCol="0">
          <a:noAutofit/>
        </a:bodyPr>
        <a:lstStyle xmlns:a="http://schemas.openxmlformats.org/drawingml/2006/main"/>
        <a:p xmlns:a="http://schemas.openxmlformats.org/drawingml/2006/main">
          <a:pPr>
            <a:spcAft>
              <a:spcPts val="600"/>
            </a:spcAft>
          </a:pPr>
          <a:r>
            <a:rPr lang="en-US" sz="1500" dirty="0">
              <a:solidFill>
                <a:schemeClr val="tx2"/>
              </a:solidFill>
            </a:rPr>
            <a:t>N/A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42595</cdr:x>
      <cdr:y>0.21424</cdr:y>
    </cdr:from>
    <cdr:to>
      <cdr:x>1</cdr:x>
      <cdr:y>1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D0BA3EDB-298B-497C-B1C7-1C36AA492D82}"/>
            </a:ext>
          </a:extLst>
        </cdr:cNvPr>
        <cdr:cNvSpPr txBox="1"/>
      </cdr:nvSpPr>
      <cdr:spPr>
        <a:xfrm xmlns:a="http://schemas.openxmlformats.org/drawingml/2006/main">
          <a:off x="1321275" y="424118"/>
          <a:ext cx="1780642" cy="155556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54610" tIns="54610" rIns="54610" bIns="54610" rtlCol="0">
          <a:noAutofit/>
        </a:bodyPr>
        <a:lstStyle xmlns:a="http://schemas.openxmlformats.org/drawingml/2006/main"/>
        <a:p xmlns:a="http://schemas.openxmlformats.org/drawingml/2006/main">
          <a:pPr>
            <a:spcAft>
              <a:spcPts val="600"/>
            </a:spcAft>
          </a:pPr>
          <a:r>
            <a:rPr lang="en-US" sz="1500" dirty="0">
              <a:solidFill>
                <a:schemeClr val="tx2"/>
              </a:solidFill>
            </a:rPr>
            <a:t>N/A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5B59CB-CD02-4F30-B072-4A02D91372B3}" type="datetimeFigureOut">
              <a:rPr lang="en-GB" smtClean="0"/>
              <a:t>09/06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A1435C-5875-4605-9CDB-794BBC31547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19143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01802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956027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92486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813083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040607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24704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577998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0031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94191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699397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29890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679497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919512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007160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722267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BE4F34-8E7D-4BCD-AD53-54F851255E5F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39481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99136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04766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71899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58201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98259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00005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67181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6 -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26400" y="1346400"/>
            <a:ext cx="8256000" cy="3510000"/>
          </a:xfrm>
        </p:spPr>
        <p:txBody>
          <a:bodyPr anchor="t" anchorCtr="0"/>
          <a:lstStyle>
            <a:lvl1pPr algn="l">
              <a:defRPr sz="1100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6 – </a:t>
            </a:r>
            <a:br>
              <a:rPr lang="en-GB"/>
            </a:br>
            <a:r>
              <a:rPr lang="en-GB"/>
              <a:t>no image</a:t>
            </a:r>
            <a:endParaRPr lang="en-US"/>
          </a:p>
        </p:txBody>
      </p:sp>
      <p:sp>
        <p:nvSpPr>
          <p:cNvPr id="4" name="object 3"/>
          <p:cNvSpPr/>
          <p:nvPr userDrawn="1"/>
        </p:nvSpPr>
        <p:spPr>
          <a:xfrm>
            <a:off x="1" y="0"/>
            <a:ext cx="2116975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>
            <a:noAutofit/>
          </a:bodyPr>
          <a:lstStyle/>
          <a:p>
            <a:endParaRPr sz="1800">
              <a:latin typeface="Arial" panose="020B0604020202020204" pitchFamily="34" charset="0"/>
            </a:endParaRPr>
          </a:p>
        </p:txBody>
      </p:sp>
      <p:sp>
        <p:nvSpPr>
          <p:cNvPr id="6" name="Freeform 19"/>
          <p:cNvSpPr>
            <a:spLocks noEditPoints="1"/>
          </p:cNvSpPr>
          <p:nvPr userDrawn="1"/>
        </p:nvSpPr>
        <p:spPr bwMode="auto">
          <a:xfrm>
            <a:off x="2752133" y="784800"/>
            <a:ext cx="1036800" cy="316800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52133" y="5036400"/>
            <a:ext cx="8230267" cy="216000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87233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06133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209601"/>
            <a:ext cx="10185600" cy="45942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49311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IV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2099425"/>
            <a:ext cx="1876800" cy="3704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080400" y="2099425"/>
            <a:ext cx="1876800" cy="3704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157600" y="2099425"/>
            <a:ext cx="1876800" cy="3704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34800" y="2099425"/>
            <a:ext cx="1876800" cy="3704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994833" y="1222512"/>
            <a:ext cx="1876800" cy="604800"/>
          </a:xfrm>
          <a:prstGeom prst="homePlate">
            <a:avLst>
              <a:gd name="adj" fmla="val 31970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074125" y="1222512"/>
            <a:ext cx="1876800" cy="604800"/>
          </a:xfrm>
          <a:prstGeom prst="chevron">
            <a:avLst>
              <a:gd name="adj" fmla="val 31101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153417" y="1222512"/>
            <a:ext cx="1876800" cy="604800"/>
          </a:xfrm>
          <a:prstGeom prst="chevron">
            <a:avLst>
              <a:gd name="adj" fmla="val 31101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32709" y="1222512"/>
            <a:ext cx="1876800" cy="604800"/>
          </a:xfrm>
          <a:prstGeom prst="chevron">
            <a:avLst>
              <a:gd name="adj" fmla="val 31101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9312000" y="1222512"/>
            <a:ext cx="1876800" cy="604800"/>
          </a:xfrm>
          <a:prstGeom prst="chevron">
            <a:avLst>
              <a:gd name="adj" fmla="val 31101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9312000" y="2099425"/>
            <a:ext cx="1876800" cy="3704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75981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OU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2099425"/>
            <a:ext cx="2347200" cy="3704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616000" y="2099425"/>
            <a:ext cx="2347200" cy="3704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228800" y="2099425"/>
            <a:ext cx="2347200" cy="3704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841600" y="2099425"/>
            <a:ext cx="2347200" cy="3704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994833" y="1222512"/>
            <a:ext cx="2347200" cy="604800"/>
          </a:xfrm>
          <a:prstGeom prst="homePlate">
            <a:avLst>
              <a:gd name="adj" fmla="val 31970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610423" y="1222512"/>
            <a:ext cx="2347200" cy="604800"/>
          </a:xfrm>
          <a:prstGeom prst="chevron">
            <a:avLst>
              <a:gd name="adj" fmla="val 31101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226012" y="1222512"/>
            <a:ext cx="2347200" cy="604800"/>
          </a:xfrm>
          <a:prstGeom prst="chevron">
            <a:avLst>
              <a:gd name="adj" fmla="val 31101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841600" y="1222512"/>
            <a:ext cx="2347200" cy="604800"/>
          </a:xfrm>
          <a:prstGeom prst="chevron">
            <a:avLst>
              <a:gd name="adj" fmla="val 31101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38659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WITH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1"/>
          </p:nvPr>
        </p:nvSpPr>
        <p:spPr bwMode="gray">
          <a:xfrm>
            <a:off x="5276752" y="2906131"/>
            <a:ext cx="1588800" cy="119205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54000" tIns="54000" rIns="54000" bIns="54000" anchor="ctr" anchorCtr="1">
            <a:noAutofit/>
          </a:bodyPr>
          <a:lstStyle>
            <a:lvl1pPr algn="ctr">
              <a:defRPr sz="14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1003347" y="1209600"/>
            <a:ext cx="3847695" cy="388800"/>
          </a:xfrm>
          <a:prstGeom prst="rect">
            <a:avLst/>
          </a:prstGeom>
          <a:solidFill>
            <a:schemeClr val="tx2"/>
          </a:solidFill>
          <a:ln w="12700">
            <a:solidFill>
              <a:srgbClr val="00338D"/>
            </a:solidFill>
          </a:ln>
        </p:spPr>
        <p:txBody>
          <a:bodyPr vert="horz" lIns="54000" tIns="54000" rIns="54000" bIns="54000" rtlCol="0" anchor="ctr" anchorCtr="0">
            <a:noAutofit/>
          </a:bodyPr>
          <a:lstStyle>
            <a:lvl1pPr>
              <a:defRPr lang="en-US" sz="14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4" name="AutoShape 20"/>
          <p:cNvSpPr>
            <a:spLocks noChangeArrowheads="1"/>
          </p:cNvSpPr>
          <p:nvPr userDrawn="1"/>
        </p:nvSpPr>
        <p:spPr bwMode="gray">
          <a:xfrm rot="2700000" flipH="1" flipV="1">
            <a:off x="6683988" y="3949401"/>
            <a:ext cx="396053" cy="479796"/>
          </a:xfrm>
          <a:prstGeom prst="rightArrow">
            <a:avLst>
              <a:gd name="adj1" fmla="val 63333"/>
              <a:gd name="adj2" fmla="val 49582"/>
            </a:avLst>
          </a:prstGeom>
          <a:solidFill>
            <a:srgbClr val="00338D"/>
          </a:soli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>
            <a:noAutofit/>
          </a:bodyPr>
          <a:lstStyle/>
          <a:p>
            <a:endParaRPr lang="en-CA" sz="1400">
              <a:solidFill>
                <a:srgbClr val="483698"/>
              </a:solidFill>
              <a:latin typeface="+mn-lt"/>
            </a:endParaRPr>
          </a:p>
        </p:txBody>
      </p:sp>
      <p:sp>
        <p:nvSpPr>
          <p:cNvPr id="25" name="AutoShape 20"/>
          <p:cNvSpPr>
            <a:spLocks noChangeArrowheads="1"/>
          </p:cNvSpPr>
          <p:nvPr userDrawn="1"/>
        </p:nvSpPr>
        <p:spPr bwMode="gray">
          <a:xfrm rot="18900000" flipV="1">
            <a:off x="4999460" y="4014666"/>
            <a:ext cx="544073" cy="349264"/>
          </a:xfrm>
          <a:prstGeom prst="rightArrow">
            <a:avLst>
              <a:gd name="adj1" fmla="val 63333"/>
              <a:gd name="adj2" fmla="val 49582"/>
            </a:avLst>
          </a:prstGeom>
          <a:solidFill>
            <a:schemeClr val="tx2"/>
          </a:soli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>
            <a:noAutofit/>
          </a:bodyPr>
          <a:lstStyle/>
          <a:p>
            <a:endParaRPr lang="en-CA" sz="1400">
              <a:solidFill>
                <a:srgbClr val="483698"/>
              </a:solidFill>
              <a:latin typeface="+mn-lt"/>
            </a:endParaRPr>
          </a:p>
        </p:txBody>
      </p:sp>
      <p:sp>
        <p:nvSpPr>
          <p:cNvPr id="26" name="Text Placeholder 20"/>
          <p:cNvSpPr>
            <a:spLocks noGrp="1"/>
          </p:cNvSpPr>
          <p:nvPr>
            <p:ph type="body" sz="quarter" idx="48"/>
          </p:nvPr>
        </p:nvSpPr>
        <p:spPr bwMode="gray">
          <a:xfrm>
            <a:off x="1003347" y="3970800"/>
            <a:ext cx="3847695" cy="388800"/>
          </a:xfrm>
          <a:prstGeom prst="rect">
            <a:avLst/>
          </a:prstGeom>
          <a:solidFill>
            <a:schemeClr val="tx2"/>
          </a:solidFill>
          <a:ln w="12700">
            <a:solidFill>
              <a:srgbClr val="00338D"/>
            </a:solidFill>
          </a:ln>
        </p:spPr>
        <p:txBody>
          <a:bodyPr vert="horz" lIns="54000" tIns="54000" rIns="54000" bIns="54000" rtlCol="0" anchor="ctr" anchorCtr="0">
            <a:noAutofit/>
          </a:bodyPr>
          <a:lstStyle>
            <a:lvl1pPr>
              <a:defRPr lang="en-US" sz="14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7" name="Text Placeholder 20"/>
          <p:cNvSpPr>
            <a:spLocks noGrp="1"/>
          </p:cNvSpPr>
          <p:nvPr>
            <p:ph type="body" sz="quarter" idx="50"/>
          </p:nvPr>
        </p:nvSpPr>
        <p:spPr bwMode="gray">
          <a:xfrm>
            <a:off x="7344001" y="1209600"/>
            <a:ext cx="3847695" cy="388800"/>
          </a:xfrm>
          <a:prstGeom prst="rect">
            <a:avLst/>
          </a:prstGeom>
          <a:solidFill>
            <a:schemeClr val="tx2"/>
          </a:solidFill>
          <a:ln w="12700">
            <a:solidFill>
              <a:srgbClr val="00338D"/>
            </a:solidFill>
          </a:ln>
        </p:spPr>
        <p:txBody>
          <a:bodyPr vert="horz" lIns="54000" tIns="54000" rIns="54000" bIns="54000" rtlCol="0" anchor="ctr" anchorCtr="0">
            <a:noAutofit/>
          </a:bodyPr>
          <a:lstStyle>
            <a:lvl1pPr>
              <a:defRPr lang="en-US" sz="14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20"/>
          <p:cNvSpPr>
            <a:spLocks noGrp="1"/>
          </p:cNvSpPr>
          <p:nvPr>
            <p:ph type="body" sz="quarter" idx="52"/>
          </p:nvPr>
        </p:nvSpPr>
        <p:spPr bwMode="gray">
          <a:xfrm>
            <a:off x="7344001" y="3970800"/>
            <a:ext cx="3847695" cy="388800"/>
          </a:xfrm>
          <a:prstGeom prst="rect">
            <a:avLst/>
          </a:prstGeom>
          <a:solidFill>
            <a:srgbClr val="00338D"/>
          </a:solidFill>
          <a:ln w="12700">
            <a:solidFill>
              <a:srgbClr val="00338D"/>
            </a:solidFill>
          </a:ln>
        </p:spPr>
        <p:txBody>
          <a:bodyPr vert="horz" lIns="54000" tIns="54000" rIns="54000" bIns="54000" rtlCol="0" anchor="ctr" anchorCtr="0">
            <a:noAutofit/>
          </a:bodyPr>
          <a:lstStyle>
            <a:lvl1pPr>
              <a:defRPr lang="en-US" sz="14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9" name="AutoShape 20"/>
          <p:cNvSpPr>
            <a:spLocks noChangeArrowheads="1"/>
          </p:cNvSpPr>
          <p:nvPr userDrawn="1"/>
        </p:nvSpPr>
        <p:spPr bwMode="gray">
          <a:xfrm rot="2700000">
            <a:off x="5081005" y="2605156"/>
            <a:ext cx="382279" cy="502740"/>
          </a:xfrm>
          <a:prstGeom prst="rightArrow">
            <a:avLst>
              <a:gd name="adj1" fmla="val 63333"/>
              <a:gd name="adj2" fmla="val 49582"/>
            </a:avLst>
          </a:prstGeom>
          <a:solidFill>
            <a:schemeClr val="tx2"/>
          </a:soli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>
            <a:noAutofit/>
          </a:bodyPr>
          <a:lstStyle/>
          <a:p>
            <a:endParaRPr lang="en-CA" sz="1400">
              <a:solidFill>
                <a:srgbClr val="483698"/>
              </a:solidFill>
              <a:latin typeface="+mn-lt"/>
            </a:endParaRPr>
          </a:p>
        </p:txBody>
      </p:sp>
      <p:sp>
        <p:nvSpPr>
          <p:cNvPr id="30" name="AutoShape 20"/>
          <p:cNvSpPr>
            <a:spLocks noChangeArrowheads="1"/>
          </p:cNvSpPr>
          <p:nvPr userDrawn="1"/>
        </p:nvSpPr>
        <p:spPr bwMode="gray">
          <a:xfrm rot="18900000" flipH="1">
            <a:off x="6618791" y="2673544"/>
            <a:ext cx="525152" cy="365965"/>
          </a:xfrm>
          <a:prstGeom prst="rightArrow">
            <a:avLst>
              <a:gd name="adj1" fmla="val 63333"/>
              <a:gd name="adj2" fmla="val 49582"/>
            </a:avLst>
          </a:prstGeom>
          <a:solidFill>
            <a:schemeClr val="tx2"/>
          </a:soli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>
            <a:noAutofit/>
          </a:bodyPr>
          <a:lstStyle/>
          <a:p>
            <a:endParaRPr lang="en-CA" sz="1400">
              <a:solidFill>
                <a:srgbClr val="483698"/>
              </a:solidFill>
              <a:latin typeface="+mn-lt"/>
            </a:endParaRP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53"/>
          </p:nvPr>
        </p:nvSpPr>
        <p:spPr>
          <a:xfrm>
            <a:off x="1003347" y="1598400"/>
            <a:ext cx="3849600" cy="1447300"/>
          </a:xfrm>
          <a:ln w="12700">
            <a:solidFill>
              <a:schemeClr val="tx2"/>
            </a:solidFill>
          </a:ln>
        </p:spPr>
        <p:txBody>
          <a:bodyPr lIns="54000" tIns="54000" rIns="54000" bIns="54000">
            <a:noAutofit/>
          </a:bodyPr>
          <a:lstStyle>
            <a:lvl1pPr>
              <a:defRPr sz="1400"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54"/>
          </p:nvPr>
        </p:nvSpPr>
        <p:spPr>
          <a:xfrm>
            <a:off x="1003347" y="4355784"/>
            <a:ext cx="3849600" cy="1447300"/>
          </a:xfrm>
          <a:ln w="12700">
            <a:solidFill>
              <a:schemeClr val="tx2"/>
            </a:solidFill>
          </a:ln>
        </p:spPr>
        <p:txBody>
          <a:bodyPr lIns="54000" tIns="54000" rIns="54000" bIns="54000">
            <a:noAutofit/>
          </a:bodyPr>
          <a:lstStyle>
            <a:lvl1pPr>
              <a:defRPr sz="1400"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55"/>
          </p:nvPr>
        </p:nvSpPr>
        <p:spPr>
          <a:xfrm>
            <a:off x="7342095" y="1598400"/>
            <a:ext cx="3849600" cy="1447300"/>
          </a:xfrm>
          <a:ln w="12700">
            <a:solidFill>
              <a:schemeClr val="tx2"/>
            </a:solidFill>
          </a:ln>
        </p:spPr>
        <p:txBody>
          <a:bodyPr lIns="54000" tIns="54000" rIns="54000" bIns="54000">
            <a:noAutofit/>
          </a:bodyPr>
          <a:lstStyle>
            <a:lvl1pPr>
              <a:defRPr sz="1400"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56"/>
          </p:nvPr>
        </p:nvSpPr>
        <p:spPr>
          <a:xfrm>
            <a:off x="7342095" y="4355784"/>
            <a:ext cx="3849600" cy="1447300"/>
          </a:xfrm>
          <a:ln w="12700">
            <a:solidFill>
              <a:schemeClr val="tx2"/>
            </a:solidFill>
          </a:ln>
        </p:spPr>
        <p:txBody>
          <a:bodyPr lIns="54000" tIns="54000" rIns="54000" bIns="54000">
            <a:noAutofit/>
          </a:bodyPr>
          <a:lstStyle>
            <a:lvl1pPr>
              <a:defRPr sz="1400"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70724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1003200" y="1609825"/>
            <a:ext cx="4968000" cy="4194000"/>
          </a:xfrm>
          <a:ln w="12700">
            <a:solidFill>
              <a:schemeClr val="tx2"/>
            </a:solidFill>
          </a:ln>
        </p:spPr>
        <p:txBody>
          <a:bodyPr lIns="54000" tIns="54000" rIns="54000" bIns="54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1003200" y="1218880"/>
            <a:ext cx="4968000" cy="388800"/>
          </a:xfrm>
          <a:solidFill>
            <a:schemeClr val="tx2"/>
          </a:solidFill>
          <a:ln w="12700">
            <a:solidFill>
              <a:schemeClr val="tx2"/>
            </a:solidFill>
          </a:ln>
        </p:spPr>
        <p:txBody>
          <a:bodyPr lIns="54000" tIns="54000" rIns="54000" bIns="54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20800" y="1609825"/>
            <a:ext cx="4968000" cy="4194000"/>
          </a:xfrm>
          <a:ln w="12700">
            <a:solidFill>
              <a:schemeClr val="tx2"/>
            </a:solidFill>
          </a:ln>
        </p:spPr>
        <p:txBody>
          <a:bodyPr lIns="54000" tIns="54000" rIns="54000" bIns="54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220800" y="1218880"/>
            <a:ext cx="4968000" cy="388800"/>
          </a:xfrm>
          <a:solidFill>
            <a:schemeClr val="tx2"/>
          </a:solidFill>
          <a:ln w="12700">
            <a:solidFill>
              <a:schemeClr val="tx2"/>
            </a:solidFill>
          </a:ln>
        </p:spPr>
        <p:txBody>
          <a:bodyPr lIns="54000" tIns="54000" rIns="54000" bIns="54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5353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1003200" y="1609825"/>
            <a:ext cx="4968000" cy="1785600"/>
          </a:xfrm>
          <a:ln w="12700">
            <a:solidFill>
              <a:schemeClr val="tx2"/>
            </a:solidFill>
          </a:ln>
        </p:spPr>
        <p:txBody>
          <a:bodyPr lIns="54000" tIns="54000" rIns="54000" bIns="54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1003200" y="1218880"/>
            <a:ext cx="4968000" cy="388800"/>
          </a:xfrm>
          <a:solidFill>
            <a:schemeClr val="tx2"/>
          </a:solidFill>
          <a:ln w="12700">
            <a:solidFill>
              <a:schemeClr val="tx2"/>
            </a:solidFill>
          </a:ln>
        </p:spPr>
        <p:txBody>
          <a:bodyPr lIns="54000" tIns="54000" rIns="54000" bIns="54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20800" y="1609825"/>
            <a:ext cx="4968000" cy="1785600"/>
          </a:xfrm>
          <a:ln w="12700">
            <a:solidFill>
              <a:schemeClr val="tx2"/>
            </a:solidFill>
          </a:ln>
        </p:spPr>
        <p:txBody>
          <a:bodyPr lIns="54000" tIns="54000" rIns="54000" bIns="54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220800" y="1218880"/>
            <a:ext cx="4968000" cy="388800"/>
          </a:xfrm>
          <a:solidFill>
            <a:schemeClr val="tx2"/>
          </a:solidFill>
          <a:ln w="12700">
            <a:solidFill>
              <a:schemeClr val="tx2"/>
            </a:solidFill>
          </a:ln>
        </p:spPr>
        <p:txBody>
          <a:bodyPr lIns="54000" tIns="54000" rIns="54000" bIns="54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1003200" y="4019650"/>
            <a:ext cx="4968000" cy="1785600"/>
          </a:xfrm>
          <a:ln w="12700">
            <a:solidFill>
              <a:schemeClr val="tx2"/>
            </a:solidFill>
          </a:ln>
        </p:spPr>
        <p:txBody>
          <a:bodyPr lIns="54000" tIns="54000" rIns="54000" bIns="54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/>
          </p:nvPr>
        </p:nvSpPr>
        <p:spPr>
          <a:xfrm>
            <a:off x="1003200" y="3628705"/>
            <a:ext cx="4968000" cy="388800"/>
          </a:xfrm>
          <a:solidFill>
            <a:schemeClr val="tx2"/>
          </a:solidFill>
          <a:ln w="12700">
            <a:solidFill>
              <a:schemeClr val="tx2"/>
            </a:solidFill>
          </a:ln>
        </p:spPr>
        <p:txBody>
          <a:bodyPr lIns="54000" tIns="54000" rIns="54000" bIns="54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5"/>
          </p:nvPr>
        </p:nvSpPr>
        <p:spPr>
          <a:xfrm>
            <a:off x="6220800" y="4019650"/>
            <a:ext cx="4968000" cy="1785600"/>
          </a:xfrm>
          <a:ln w="12700">
            <a:solidFill>
              <a:schemeClr val="tx2"/>
            </a:solidFill>
          </a:ln>
        </p:spPr>
        <p:txBody>
          <a:bodyPr lIns="54000" tIns="54000" rIns="54000" bIns="54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6"/>
          </p:nvPr>
        </p:nvSpPr>
        <p:spPr>
          <a:xfrm>
            <a:off x="6220800" y="3628705"/>
            <a:ext cx="4968000" cy="388800"/>
          </a:xfrm>
          <a:solidFill>
            <a:schemeClr val="tx2"/>
          </a:solidFill>
          <a:ln w="12700">
            <a:solidFill>
              <a:schemeClr val="tx2"/>
            </a:solidFill>
          </a:ln>
        </p:spPr>
        <p:txBody>
          <a:bodyPr lIns="54000" tIns="54000" rIns="54000" bIns="54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556956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20" t="-1" r="11694" b="17937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7" name="Freeform 19"/>
          <p:cNvSpPr>
            <a:spLocks noEditPoints="1"/>
          </p:cNvSpPr>
          <p:nvPr userDrawn="1"/>
        </p:nvSpPr>
        <p:spPr bwMode="auto">
          <a:xfrm>
            <a:off x="996317" y="6320118"/>
            <a:ext cx="566400" cy="172800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40398268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26400" y="1346400"/>
            <a:ext cx="8256000" cy="3510000"/>
          </a:xfrm>
        </p:spPr>
        <p:txBody>
          <a:bodyPr anchor="t" anchorCtr="0"/>
          <a:lstStyle>
            <a:lvl1pPr algn="l">
              <a:defRPr sz="11000">
                <a:solidFill>
                  <a:schemeClr val="bg1"/>
                </a:solidFill>
              </a:defRPr>
            </a:lvl1pPr>
          </a:lstStyle>
          <a:p>
            <a:r>
              <a:rPr lang="en-GB"/>
              <a:t>Section divider one title style</a:t>
            </a:r>
            <a:endParaRPr lang="en-US"/>
          </a:p>
        </p:txBody>
      </p:sp>
      <p:sp>
        <p:nvSpPr>
          <p:cNvPr id="4" name="object 3"/>
          <p:cNvSpPr/>
          <p:nvPr userDrawn="1"/>
        </p:nvSpPr>
        <p:spPr>
          <a:xfrm>
            <a:off x="1" y="0"/>
            <a:ext cx="2116975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>
            <a:noAutofit/>
          </a:bodyPr>
          <a:lstStyle/>
          <a:p>
            <a:endParaRPr sz="1800">
              <a:latin typeface="Arial" panose="020B0604020202020204" pitchFamily="34" charset="0"/>
            </a:endParaRPr>
          </a:p>
        </p:txBody>
      </p:sp>
      <p:sp>
        <p:nvSpPr>
          <p:cNvPr id="6" name="Freeform 19"/>
          <p:cNvSpPr>
            <a:spLocks noEditPoints="1"/>
          </p:cNvSpPr>
          <p:nvPr userDrawn="1"/>
        </p:nvSpPr>
        <p:spPr bwMode="auto">
          <a:xfrm>
            <a:off x="2752133" y="784800"/>
            <a:ext cx="1036800" cy="316800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52133" y="5036400"/>
            <a:ext cx="8230267" cy="216000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869611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26400" y="1346400"/>
            <a:ext cx="8256000" cy="3510000"/>
          </a:xfrm>
        </p:spPr>
        <p:txBody>
          <a:bodyPr anchor="t" anchorCtr="0"/>
          <a:lstStyle>
            <a:lvl1pPr algn="l">
              <a:defRPr sz="11000">
                <a:solidFill>
                  <a:schemeClr val="bg1"/>
                </a:solidFill>
              </a:defRPr>
            </a:lvl1pPr>
          </a:lstStyle>
          <a:p>
            <a:r>
              <a:rPr lang="en-GB"/>
              <a:t>Section divider two title style</a:t>
            </a:r>
            <a:endParaRPr lang="en-US"/>
          </a:p>
        </p:txBody>
      </p:sp>
      <p:sp>
        <p:nvSpPr>
          <p:cNvPr id="4" name="object 3"/>
          <p:cNvSpPr/>
          <p:nvPr userDrawn="1"/>
        </p:nvSpPr>
        <p:spPr>
          <a:xfrm>
            <a:off x="1" y="0"/>
            <a:ext cx="2116975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A3A1"/>
          </a:solidFill>
        </p:spPr>
        <p:txBody>
          <a:bodyPr wrap="square" lIns="0" tIns="0" rIns="0" bIns="0" rtlCol="0">
            <a:noAutofit/>
          </a:bodyPr>
          <a:lstStyle/>
          <a:p>
            <a:endParaRPr sz="1800">
              <a:latin typeface="Arial" panose="020B0604020202020204" pitchFamily="34" charset="0"/>
            </a:endParaRPr>
          </a:p>
        </p:txBody>
      </p:sp>
      <p:sp>
        <p:nvSpPr>
          <p:cNvPr id="6" name="Freeform 19"/>
          <p:cNvSpPr>
            <a:spLocks noEditPoints="1"/>
          </p:cNvSpPr>
          <p:nvPr userDrawn="1"/>
        </p:nvSpPr>
        <p:spPr bwMode="auto">
          <a:xfrm>
            <a:off x="2752133" y="784800"/>
            <a:ext cx="1036800" cy="316800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52133" y="5036400"/>
            <a:ext cx="8230267" cy="216000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27710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67071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26400" y="1346400"/>
            <a:ext cx="8256000" cy="3510000"/>
          </a:xfrm>
        </p:spPr>
        <p:txBody>
          <a:bodyPr anchor="t" anchorCtr="0"/>
          <a:lstStyle>
            <a:lvl1pPr algn="l">
              <a:defRPr sz="11000">
                <a:solidFill>
                  <a:schemeClr val="bg1"/>
                </a:solidFill>
              </a:defRPr>
            </a:lvl1pPr>
          </a:lstStyle>
          <a:p>
            <a:r>
              <a:rPr lang="en-GB"/>
              <a:t>Section divider three title style</a:t>
            </a:r>
            <a:endParaRPr lang="en-US"/>
          </a:p>
        </p:txBody>
      </p:sp>
      <p:sp>
        <p:nvSpPr>
          <p:cNvPr id="4" name="object 3"/>
          <p:cNvSpPr/>
          <p:nvPr userDrawn="1"/>
        </p:nvSpPr>
        <p:spPr>
          <a:xfrm>
            <a:off x="1" y="0"/>
            <a:ext cx="2116975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>
            <a:noAutofit/>
          </a:bodyPr>
          <a:lstStyle/>
          <a:p>
            <a:endParaRPr sz="1800">
              <a:latin typeface="Arial" panose="020B0604020202020204" pitchFamily="34" charset="0"/>
            </a:endParaRPr>
          </a:p>
        </p:txBody>
      </p:sp>
      <p:sp>
        <p:nvSpPr>
          <p:cNvPr id="6" name="Freeform 19"/>
          <p:cNvSpPr>
            <a:spLocks noEditPoints="1"/>
          </p:cNvSpPr>
          <p:nvPr userDrawn="1"/>
        </p:nvSpPr>
        <p:spPr bwMode="auto">
          <a:xfrm>
            <a:off x="2752133" y="784800"/>
            <a:ext cx="1036800" cy="316800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52133" y="5036400"/>
            <a:ext cx="8230267" cy="216000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814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26400" y="1346400"/>
            <a:ext cx="8256000" cy="3510000"/>
          </a:xfrm>
        </p:spPr>
        <p:txBody>
          <a:bodyPr anchor="t" anchorCtr="0"/>
          <a:lstStyle>
            <a:lvl1pPr algn="l">
              <a:defRPr sz="11000">
                <a:solidFill>
                  <a:schemeClr val="bg1"/>
                </a:solidFill>
              </a:defRPr>
            </a:lvl1pPr>
          </a:lstStyle>
          <a:p>
            <a:r>
              <a:rPr lang="en-GB"/>
              <a:t>Section divider four title style</a:t>
            </a:r>
            <a:endParaRPr lang="en-US"/>
          </a:p>
        </p:txBody>
      </p:sp>
      <p:sp>
        <p:nvSpPr>
          <p:cNvPr id="4" name="object 3"/>
          <p:cNvSpPr/>
          <p:nvPr userDrawn="1"/>
        </p:nvSpPr>
        <p:spPr>
          <a:xfrm>
            <a:off x="1" y="0"/>
            <a:ext cx="2116975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470A68"/>
          </a:solidFill>
        </p:spPr>
        <p:txBody>
          <a:bodyPr wrap="square" lIns="0" tIns="0" rIns="0" bIns="0" rtlCol="0">
            <a:noAutofit/>
          </a:bodyPr>
          <a:lstStyle/>
          <a:p>
            <a:endParaRPr sz="1800">
              <a:latin typeface="Arial" panose="020B0604020202020204" pitchFamily="34" charset="0"/>
            </a:endParaRPr>
          </a:p>
        </p:txBody>
      </p:sp>
      <p:sp>
        <p:nvSpPr>
          <p:cNvPr id="6" name="Freeform 19"/>
          <p:cNvSpPr>
            <a:spLocks noEditPoints="1"/>
          </p:cNvSpPr>
          <p:nvPr userDrawn="1"/>
        </p:nvSpPr>
        <p:spPr bwMode="auto">
          <a:xfrm>
            <a:off x="2752133" y="784800"/>
            <a:ext cx="1036800" cy="316800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52133" y="5036400"/>
            <a:ext cx="8230267" cy="216000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11532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OLOR PAL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3200" y="432000"/>
            <a:ext cx="10185600" cy="5184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olors</a:t>
            </a:r>
          </a:p>
        </p:txBody>
      </p:sp>
      <p:grpSp>
        <p:nvGrpSpPr>
          <p:cNvPr id="52" name="Group 51"/>
          <p:cNvGrpSpPr/>
          <p:nvPr userDrawn="1"/>
        </p:nvGrpSpPr>
        <p:grpSpPr>
          <a:xfrm>
            <a:off x="1003200" y="1430719"/>
            <a:ext cx="10185600" cy="4323905"/>
            <a:chOff x="752400" y="1211263"/>
            <a:chExt cx="7647063" cy="4594225"/>
          </a:xfrm>
        </p:grpSpPr>
        <p:sp>
          <p:nvSpPr>
            <p:cNvPr id="53" name="TextBox 52"/>
            <p:cNvSpPr txBox="1"/>
            <p:nvPr userDrawn="1"/>
          </p:nvSpPr>
          <p:spPr>
            <a:xfrm>
              <a:off x="752400" y="1211263"/>
              <a:ext cx="828675" cy="504825"/>
            </a:xfrm>
            <a:prstGeom prst="rect">
              <a:avLst/>
            </a:prstGeom>
            <a:noFill/>
          </p:spPr>
          <p:txBody>
            <a:bodyPr wrap="square" lIns="0" tIns="0" rIns="54007" bIns="0" rtlCol="0">
              <a:noAutofit/>
            </a:bodyPr>
            <a:lstStyle/>
            <a:p>
              <a:r>
                <a:rPr lang="en-GB" sz="1000" b="1">
                  <a:solidFill>
                    <a:schemeClr val="tx2"/>
                  </a:solidFill>
                </a:rPr>
                <a:t>Primary</a:t>
              </a:r>
            </a:p>
          </p:txBody>
        </p:sp>
        <p:sp>
          <p:nvSpPr>
            <p:cNvPr id="54" name="TextBox 53"/>
            <p:cNvSpPr txBox="1"/>
            <p:nvPr userDrawn="1"/>
          </p:nvSpPr>
          <p:spPr>
            <a:xfrm>
              <a:off x="752400" y="2257893"/>
              <a:ext cx="898425" cy="504825"/>
            </a:xfrm>
            <a:prstGeom prst="rect">
              <a:avLst/>
            </a:prstGeom>
            <a:noFill/>
          </p:spPr>
          <p:txBody>
            <a:bodyPr wrap="square" lIns="0" tIns="0" rIns="54007" bIns="0" rtlCol="0">
              <a:noAutofit/>
            </a:bodyPr>
            <a:lstStyle/>
            <a:p>
              <a:r>
                <a:rPr lang="en-GB" sz="1000" b="1">
                  <a:solidFill>
                    <a:schemeClr val="tx2"/>
                  </a:solidFill>
                </a:rPr>
                <a:t>Secondary</a:t>
              </a:r>
            </a:p>
          </p:txBody>
        </p:sp>
        <p:sp>
          <p:nvSpPr>
            <p:cNvPr id="55" name="TextBox 54"/>
            <p:cNvSpPr txBox="1"/>
            <p:nvPr userDrawn="1"/>
          </p:nvSpPr>
          <p:spPr>
            <a:xfrm>
              <a:off x="752400" y="3304523"/>
              <a:ext cx="898425" cy="504825"/>
            </a:xfrm>
            <a:prstGeom prst="rect">
              <a:avLst/>
            </a:prstGeom>
            <a:noFill/>
          </p:spPr>
          <p:txBody>
            <a:bodyPr wrap="square" lIns="0" tIns="0" rIns="54007" bIns="0" rtlCol="0">
              <a:noAutofit/>
            </a:bodyPr>
            <a:lstStyle/>
            <a:p>
              <a:r>
                <a:rPr lang="en-GB" sz="1000" b="1">
                  <a:solidFill>
                    <a:schemeClr val="tx2"/>
                  </a:solidFill>
                </a:rPr>
                <a:t>Tertiary</a:t>
              </a:r>
            </a:p>
          </p:txBody>
        </p:sp>
        <p:sp>
          <p:nvSpPr>
            <p:cNvPr id="56" name="Rectangle 55"/>
            <p:cNvSpPr/>
            <p:nvPr userDrawn="1"/>
          </p:nvSpPr>
          <p:spPr>
            <a:xfrm>
              <a:off x="1566545" y="1211263"/>
              <a:ext cx="900000" cy="72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KPMG Blue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0 / 51 / 141</a:t>
              </a:r>
            </a:p>
          </p:txBody>
        </p:sp>
        <p:sp>
          <p:nvSpPr>
            <p:cNvPr id="57" name="Rectangle 56"/>
            <p:cNvSpPr/>
            <p:nvPr userDrawn="1"/>
          </p:nvSpPr>
          <p:spPr>
            <a:xfrm>
              <a:off x="2555365" y="1211263"/>
              <a:ext cx="900000" cy="720000"/>
            </a:xfrm>
            <a:prstGeom prst="rect">
              <a:avLst/>
            </a:prstGeom>
            <a:solidFill>
              <a:srgbClr val="005E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Medium Blue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0 / 94 / 184</a:t>
              </a:r>
            </a:p>
          </p:txBody>
        </p:sp>
        <p:sp>
          <p:nvSpPr>
            <p:cNvPr id="58" name="Rectangle 57"/>
            <p:cNvSpPr/>
            <p:nvPr userDrawn="1"/>
          </p:nvSpPr>
          <p:spPr>
            <a:xfrm>
              <a:off x="3544185" y="1211263"/>
              <a:ext cx="900000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Light Blue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0 / 145 / 218</a:t>
              </a:r>
            </a:p>
          </p:txBody>
        </p:sp>
        <p:sp>
          <p:nvSpPr>
            <p:cNvPr id="59" name="Rectangle 58"/>
            <p:cNvSpPr/>
            <p:nvPr userDrawn="1"/>
          </p:nvSpPr>
          <p:spPr>
            <a:xfrm>
              <a:off x="1566545" y="2257893"/>
              <a:ext cx="900000" cy="720000"/>
            </a:xfrm>
            <a:prstGeom prst="rect">
              <a:avLst/>
            </a:prstGeom>
            <a:solidFill>
              <a:srgbClr val="4836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Violet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72 / 54 / 152</a:t>
              </a:r>
            </a:p>
          </p:txBody>
        </p:sp>
        <p:sp>
          <p:nvSpPr>
            <p:cNvPr id="60" name="Rectangle 59"/>
            <p:cNvSpPr/>
            <p:nvPr userDrawn="1"/>
          </p:nvSpPr>
          <p:spPr>
            <a:xfrm>
              <a:off x="2555365" y="2257893"/>
              <a:ext cx="900000" cy="720000"/>
            </a:xfrm>
            <a:prstGeom prst="rect">
              <a:avLst/>
            </a:prstGeom>
            <a:solidFill>
              <a:srgbClr val="470A6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Purple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71 / 10 / 104</a:t>
              </a:r>
            </a:p>
          </p:txBody>
        </p:sp>
        <p:sp>
          <p:nvSpPr>
            <p:cNvPr id="61" name="Rectangle 60"/>
            <p:cNvSpPr/>
            <p:nvPr userDrawn="1"/>
          </p:nvSpPr>
          <p:spPr>
            <a:xfrm>
              <a:off x="3544185" y="2257893"/>
              <a:ext cx="900000" cy="720000"/>
            </a:xfrm>
            <a:prstGeom prst="rect">
              <a:avLst/>
            </a:prstGeom>
            <a:solidFill>
              <a:srgbClr val="6D207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Light Purple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109 / 32 / 119</a:t>
              </a:r>
            </a:p>
          </p:txBody>
        </p:sp>
        <p:sp>
          <p:nvSpPr>
            <p:cNvPr id="62" name="Rectangle 61"/>
            <p:cNvSpPr/>
            <p:nvPr userDrawn="1"/>
          </p:nvSpPr>
          <p:spPr>
            <a:xfrm>
              <a:off x="4533005" y="2257893"/>
              <a:ext cx="900000" cy="720000"/>
            </a:xfrm>
            <a:prstGeom prst="rect">
              <a:avLst/>
            </a:prstGeom>
            <a:solidFill>
              <a:srgbClr val="00A3A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Green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0 / 163 / 161</a:t>
              </a:r>
            </a:p>
          </p:txBody>
        </p:sp>
        <p:sp>
          <p:nvSpPr>
            <p:cNvPr id="63" name="Rectangle 62"/>
            <p:cNvSpPr/>
            <p:nvPr userDrawn="1"/>
          </p:nvSpPr>
          <p:spPr>
            <a:xfrm>
              <a:off x="1566545" y="3304523"/>
              <a:ext cx="900000" cy="720000"/>
            </a:xfrm>
            <a:prstGeom prst="rect">
              <a:avLst/>
            </a:prstGeom>
            <a:solidFill>
              <a:srgbClr val="009A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Dark Green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0 / 154 / 68</a:t>
              </a:r>
            </a:p>
          </p:txBody>
        </p:sp>
        <p:sp>
          <p:nvSpPr>
            <p:cNvPr id="64" name="Rectangle 63"/>
            <p:cNvSpPr/>
            <p:nvPr userDrawn="1"/>
          </p:nvSpPr>
          <p:spPr>
            <a:xfrm>
              <a:off x="2555365" y="3304523"/>
              <a:ext cx="900000" cy="720000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Light Green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67 / 176 / 42</a:t>
              </a:r>
            </a:p>
          </p:txBody>
        </p:sp>
        <p:sp>
          <p:nvSpPr>
            <p:cNvPr id="65" name="Rectangle 64"/>
            <p:cNvSpPr/>
            <p:nvPr userDrawn="1"/>
          </p:nvSpPr>
          <p:spPr>
            <a:xfrm>
              <a:off x="3544185" y="3304523"/>
              <a:ext cx="900000" cy="720000"/>
            </a:xfrm>
            <a:prstGeom prst="rect">
              <a:avLst/>
            </a:prstGeom>
            <a:solidFill>
              <a:srgbClr val="EAA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Yellow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234 / 170 / 0</a:t>
              </a:r>
            </a:p>
          </p:txBody>
        </p:sp>
        <p:sp>
          <p:nvSpPr>
            <p:cNvPr id="66" name="Rectangle 65"/>
            <p:cNvSpPr/>
            <p:nvPr userDrawn="1"/>
          </p:nvSpPr>
          <p:spPr>
            <a:xfrm>
              <a:off x="4533005" y="3304523"/>
              <a:ext cx="900000" cy="720000"/>
            </a:xfrm>
            <a:prstGeom prst="rect">
              <a:avLst/>
            </a:prstGeom>
            <a:solidFill>
              <a:srgbClr val="F68D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Orange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246 / 141 / 46</a:t>
              </a:r>
            </a:p>
          </p:txBody>
        </p:sp>
        <p:sp>
          <p:nvSpPr>
            <p:cNvPr id="67" name="Rectangle 66"/>
            <p:cNvSpPr/>
            <p:nvPr userDrawn="1"/>
          </p:nvSpPr>
          <p:spPr>
            <a:xfrm>
              <a:off x="5521825" y="3304523"/>
              <a:ext cx="900000" cy="720000"/>
            </a:xfrm>
            <a:prstGeom prst="rect">
              <a:avLst/>
            </a:prstGeom>
            <a:solidFill>
              <a:srgbClr val="BC20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Red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188 / 32 / 75</a:t>
              </a:r>
            </a:p>
          </p:txBody>
        </p:sp>
        <p:sp>
          <p:nvSpPr>
            <p:cNvPr id="68" name="Rectangle 67"/>
            <p:cNvSpPr/>
            <p:nvPr userDrawn="1"/>
          </p:nvSpPr>
          <p:spPr>
            <a:xfrm>
              <a:off x="6510645" y="3304523"/>
              <a:ext cx="900000" cy="720000"/>
            </a:xfrm>
            <a:prstGeom prst="rect">
              <a:avLst/>
            </a:prstGeom>
            <a:solidFill>
              <a:srgbClr val="C600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Pink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198 / 0 / 126</a:t>
              </a:r>
            </a:p>
          </p:txBody>
        </p:sp>
        <p:sp>
          <p:nvSpPr>
            <p:cNvPr id="69" name="Rectangle 68"/>
            <p:cNvSpPr/>
            <p:nvPr userDrawn="1"/>
          </p:nvSpPr>
          <p:spPr>
            <a:xfrm>
              <a:off x="1566545" y="4285386"/>
              <a:ext cx="900000" cy="72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KPMG Blue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0 / 51 / 141</a:t>
              </a:r>
            </a:p>
          </p:txBody>
        </p:sp>
        <p:sp>
          <p:nvSpPr>
            <p:cNvPr id="70" name="Rectangle 69"/>
            <p:cNvSpPr/>
            <p:nvPr userDrawn="1"/>
          </p:nvSpPr>
          <p:spPr>
            <a:xfrm>
              <a:off x="4533005" y="4285386"/>
              <a:ext cx="900000" cy="720000"/>
            </a:xfrm>
            <a:prstGeom prst="rect">
              <a:avLst/>
            </a:prstGeom>
            <a:solidFill>
              <a:srgbClr val="005E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Medium Blue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0 / 94 / 184</a:t>
              </a:r>
            </a:p>
          </p:txBody>
        </p:sp>
        <p:sp>
          <p:nvSpPr>
            <p:cNvPr id="71" name="Rectangle 70"/>
            <p:cNvSpPr/>
            <p:nvPr userDrawn="1"/>
          </p:nvSpPr>
          <p:spPr>
            <a:xfrm>
              <a:off x="2555365" y="4285386"/>
              <a:ext cx="900000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Light Blue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0 / 145 / 218</a:t>
              </a:r>
            </a:p>
          </p:txBody>
        </p:sp>
        <p:sp>
          <p:nvSpPr>
            <p:cNvPr id="72" name="Rectangle 71"/>
            <p:cNvSpPr/>
            <p:nvPr userDrawn="1"/>
          </p:nvSpPr>
          <p:spPr>
            <a:xfrm>
              <a:off x="3544185" y="4285386"/>
              <a:ext cx="900000" cy="720000"/>
            </a:xfrm>
            <a:prstGeom prst="rect">
              <a:avLst/>
            </a:prstGeom>
            <a:solidFill>
              <a:srgbClr val="6D207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Light Purple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109 / 32 / 119</a:t>
              </a:r>
            </a:p>
          </p:txBody>
        </p:sp>
        <p:sp>
          <p:nvSpPr>
            <p:cNvPr id="73" name="Rectangle 72"/>
            <p:cNvSpPr/>
            <p:nvPr userDrawn="1"/>
          </p:nvSpPr>
          <p:spPr>
            <a:xfrm>
              <a:off x="5521825" y="4285386"/>
              <a:ext cx="900000" cy="720000"/>
            </a:xfrm>
            <a:prstGeom prst="rect">
              <a:avLst/>
            </a:prstGeom>
            <a:solidFill>
              <a:srgbClr val="00A3A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Green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0 / 163 / 161</a:t>
              </a:r>
            </a:p>
          </p:txBody>
        </p:sp>
        <p:sp>
          <p:nvSpPr>
            <p:cNvPr id="74" name="Rectangle 73"/>
            <p:cNvSpPr/>
            <p:nvPr userDrawn="1"/>
          </p:nvSpPr>
          <p:spPr>
            <a:xfrm>
              <a:off x="7499463" y="4285386"/>
              <a:ext cx="900000" cy="720000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Light Green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67 / 176 / 42</a:t>
              </a:r>
            </a:p>
          </p:txBody>
        </p:sp>
        <p:sp>
          <p:nvSpPr>
            <p:cNvPr id="75" name="Rectangle 74"/>
            <p:cNvSpPr/>
            <p:nvPr userDrawn="1"/>
          </p:nvSpPr>
          <p:spPr>
            <a:xfrm>
              <a:off x="6510645" y="4285386"/>
              <a:ext cx="900000" cy="720000"/>
            </a:xfrm>
            <a:prstGeom prst="rect">
              <a:avLst/>
            </a:prstGeom>
            <a:solidFill>
              <a:srgbClr val="EAA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Yellow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234 / 170 / 0</a:t>
              </a:r>
            </a:p>
          </p:txBody>
        </p:sp>
        <p:sp>
          <p:nvSpPr>
            <p:cNvPr id="76" name="Rectangle 75"/>
            <p:cNvSpPr/>
            <p:nvPr userDrawn="1"/>
          </p:nvSpPr>
          <p:spPr>
            <a:xfrm>
              <a:off x="1566545" y="5085488"/>
              <a:ext cx="900000" cy="720000"/>
            </a:xfrm>
            <a:prstGeom prst="rect">
              <a:avLst/>
            </a:prstGeom>
            <a:solidFill>
              <a:srgbClr val="C600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Pink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198 / 0 / 126</a:t>
              </a:r>
            </a:p>
          </p:txBody>
        </p:sp>
        <p:sp>
          <p:nvSpPr>
            <p:cNvPr id="77" name="Rectangle 76"/>
            <p:cNvSpPr/>
            <p:nvPr userDrawn="1"/>
          </p:nvSpPr>
          <p:spPr>
            <a:xfrm>
              <a:off x="2555365" y="5085488"/>
              <a:ext cx="900000" cy="720000"/>
            </a:xfrm>
            <a:prstGeom prst="rect">
              <a:avLst/>
            </a:prstGeom>
            <a:solidFill>
              <a:srgbClr val="753F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Dark</a:t>
              </a:r>
              <a:r>
                <a:rPr lang="en-GB" sz="900" baseline="0">
                  <a:solidFill>
                    <a:schemeClr val="bg1"/>
                  </a:solidFill>
                </a:rPr>
                <a:t> Brown</a:t>
              </a:r>
            </a:p>
            <a:p>
              <a:pPr algn="ctr"/>
              <a:r>
                <a:rPr lang="en-GB" sz="900" baseline="0">
                  <a:solidFill>
                    <a:schemeClr val="bg1"/>
                  </a:solidFill>
                </a:rPr>
                <a:t>117 / 63 / 25</a:t>
              </a:r>
              <a:endParaRPr lang="en-GB" sz="900">
                <a:solidFill>
                  <a:schemeClr val="bg1"/>
                </a:solidFill>
              </a:endParaRPr>
            </a:p>
          </p:txBody>
        </p:sp>
        <p:sp>
          <p:nvSpPr>
            <p:cNvPr id="78" name="Rectangle 77"/>
            <p:cNvSpPr/>
            <p:nvPr userDrawn="1"/>
          </p:nvSpPr>
          <p:spPr>
            <a:xfrm>
              <a:off x="3544185" y="5085488"/>
              <a:ext cx="900000" cy="720000"/>
            </a:xfrm>
            <a:prstGeom prst="rect">
              <a:avLst/>
            </a:prstGeom>
            <a:solidFill>
              <a:srgbClr val="9B64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Light </a:t>
              </a:r>
              <a:r>
                <a:rPr lang="en-GB" sz="900" baseline="0">
                  <a:solidFill>
                    <a:schemeClr val="bg1"/>
                  </a:solidFill>
                </a:rPr>
                <a:t>Brown</a:t>
              </a:r>
            </a:p>
            <a:p>
              <a:pPr algn="ctr"/>
              <a:r>
                <a:rPr lang="en-GB" sz="900" baseline="0">
                  <a:solidFill>
                    <a:schemeClr val="bg1"/>
                  </a:solidFill>
                </a:rPr>
                <a:t>155 / 100 / 46</a:t>
              </a:r>
              <a:endParaRPr lang="en-GB" sz="900">
                <a:solidFill>
                  <a:schemeClr val="bg1"/>
                </a:solidFill>
              </a:endParaRPr>
            </a:p>
          </p:txBody>
        </p:sp>
        <p:sp>
          <p:nvSpPr>
            <p:cNvPr id="79" name="Rectangle 78"/>
            <p:cNvSpPr/>
            <p:nvPr userDrawn="1"/>
          </p:nvSpPr>
          <p:spPr>
            <a:xfrm>
              <a:off x="5521825" y="5085488"/>
              <a:ext cx="900000" cy="720000"/>
            </a:xfrm>
            <a:prstGeom prst="rect">
              <a:avLst/>
            </a:prstGeom>
            <a:solidFill>
              <a:srgbClr val="E3BC9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Beige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227 / 188 / 159</a:t>
              </a:r>
            </a:p>
          </p:txBody>
        </p:sp>
        <p:sp>
          <p:nvSpPr>
            <p:cNvPr id="80" name="Rectangle 79"/>
            <p:cNvSpPr/>
            <p:nvPr userDrawn="1"/>
          </p:nvSpPr>
          <p:spPr>
            <a:xfrm>
              <a:off x="4533005" y="5085488"/>
              <a:ext cx="900000" cy="720000"/>
            </a:xfrm>
            <a:prstGeom prst="rect">
              <a:avLst/>
            </a:prstGeom>
            <a:solidFill>
              <a:srgbClr val="9D937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Olive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157 / 147 / 117</a:t>
              </a:r>
            </a:p>
          </p:txBody>
        </p:sp>
        <p:sp>
          <p:nvSpPr>
            <p:cNvPr id="81" name="Rectangle 80"/>
            <p:cNvSpPr/>
            <p:nvPr userDrawn="1"/>
          </p:nvSpPr>
          <p:spPr>
            <a:xfrm>
              <a:off x="6510645" y="5085488"/>
              <a:ext cx="900000" cy="720000"/>
            </a:xfrm>
            <a:prstGeom prst="rect">
              <a:avLst/>
            </a:prstGeom>
            <a:solidFill>
              <a:srgbClr val="E3687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900">
                  <a:solidFill>
                    <a:schemeClr val="bg1"/>
                  </a:solidFill>
                </a:rPr>
                <a:t>Light Pink</a:t>
              </a:r>
            </a:p>
            <a:p>
              <a:pPr algn="ctr"/>
              <a:r>
                <a:rPr lang="en-GB" sz="900">
                  <a:solidFill>
                    <a:schemeClr val="bg1"/>
                  </a:solidFill>
                </a:rPr>
                <a:t>227 / 104 /</a:t>
              </a:r>
              <a:r>
                <a:rPr lang="en-GB" sz="900" baseline="0">
                  <a:solidFill>
                    <a:schemeClr val="bg1"/>
                  </a:solidFill>
                </a:rPr>
                <a:t> 119</a:t>
              </a:r>
              <a:endParaRPr lang="en-GB" sz="900">
                <a:solidFill>
                  <a:schemeClr val="bg1"/>
                </a:solidFill>
              </a:endParaRPr>
            </a:p>
          </p:txBody>
        </p:sp>
        <p:sp>
          <p:nvSpPr>
            <p:cNvPr id="82" name="TextBox 81"/>
            <p:cNvSpPr txBox="1"/>
            <p:nvPr userDrawn="1"/>
          </p:nvSpPr>
          <p:spPr>
            <a:xfrm>
              <a:off x="752400" y="4285386"/>
              <a:ext cx="814145" cy="504825"/>
            </a:xfrm>
            <a:prstGeom prst="rect">
              <a:avLst/>
            </a:prstGeom>
            <a:noFill/>
          </p:spPr>
          <p:txBody>
            <a:bodyPr wrap="square" lIns="0" tIns="0" rIns="54007" bIns="0" rtlCol="0">
              <a:noAutofit/>
            </a:bodyPr>
            <a:lstStyle/>
            <a:p>
              <a:r>
                <a:rPr lang="en-GB" sz="1000" b="1">
                  <a:solidFill>
                    <a:schemeClr val="tx2"/>
                  </a:solidFill>
                </a:rPr>
                <a:t>Colour</a:t>
              </a:r>
              <a:r>
                <a:rPr lang="en-GB" sz="1000" b="1" baseline="0">
                  <a:solidFill>
                    <a:schemeClr val="tx2"/>
                  </a:solidFill>
                </a:rPr>
                <a:t> o</a:t>
              </a:r>
              <a:r>
                <a:rPr lang="en-GB" sz="1000" b="1">
                  <a:solidFill>
                    <a:schemeClr val="tx2"/>
                  </a:solidFill>
                </a:rPr>
                <a:t>rder for graph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288333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3"/>
          <p:cNvSpPr/>
          <p:nvPr userDrawn="1"/>
        </p:nvSpPr>
        <p:spPr>
          <a:xfrm>
            <a:off x="1" y="0"/>
            <a:ext cx="996951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>
            <a:noAutofit/>
          </a:bodyPr>
          <a:lstStyle/>
          <a:p>
            <a:endParaRPr sz="140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Freeform 19"/>
          <p:cNvSpPr>
            <a:spLocks noEditPoints="1"/>
          </p:cNvSpPr>
          <p:nvPr userDrawn="1"/>
        </p:nvSpPr>
        <p:spPr bwMode="auto">
          <a:xfrm>
            <a:off x="2112000" y="784800"/>
            <a:ext cx="1036800" cy="316800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112001" y="4587244"/>
            <a:ext cx="9087284" cy="846000"/>
          </a:xfrm>
        </p:spPr>
        <p:txBody>
          <a:bodyPr/>
          <a:lstStyle>
            <a:lvl1pPr>
              <a:buFontTx/>
              <a:buNone/>
              <a:defRPr sz="1100" b="0">
                <a:solidFill>
                  <a:schemeClr val="bg1">
                    <a:lumMod val="65000"/>
                  </a:schemeClr>
                </a:solidFill>
              </a:defRPr>
            </a:lvl1pPr>
            <a:lvl2pPr>
              <a:buFontTx/>
              <a:buNone/>
              <a:defRPr sz="11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2112001" y="5634831"/>
            <a:ext cx="9087284" cy="169277"/>
          </a:xfrm>
        </p:spPr>
        <p:txBody>
          <a:bodyPr>
            <a:noAutofit/>
          </a:bodyPr>
          <a:lstStyle>
            <a:lvl1pPr>
              <a:buFontTx/>
              <a:buNone/>
              <a:defRPr sz="1100" b="0">
                <a:solidFill>
                  <a:schemeClr val="bg1">
                    <a:lumMod val="65000"/>
                  </a:schemeClr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112001" y="3539658"/>
            <a:ext cx="9087284" cy="846000"/>
          </a:xfrm>
        </p:spPr>
        <p:txBody>
          <a:bodyPr/>
          <a:lstStyle>
            <a:lvl1pPr>
              <a:buFontTx/>
              <a:buNone/>
              <a:defRPr sz="1100" b="0">
                <a:solidFill>
                  <a:schemeClr val="bg1">
                    <a:lumMod val="65000"/>
                  </a:schemeClr>
                </a:solidFill>
              </a:defRPr>
            </a:lvl1pPr>
            <a:lvl2pPr>
              <a:buFontTx/>
              <a:buNone/>
              <a:defRPr sz="11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2112000" y="3187907"/>
            <a:ext cx="3215651" cy="119064"/>
          </a:xfrm>
        </p:spPr>
        <p:txBody>
          <a:bodyPr/>
          <a:lstStyle>
            <a:lvl1pPr>
              <a:buFontTx/>
              <a:buNone/>
              <a:defRPr sz="1200" b="1">
                <a:solidFill>
                  <a:schemeClr val="tx2"/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kpmg.ca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2461623" y="6690919"/>
            <a:ext cx="7257143" cy="9305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ocument Classification: KPMG Confidential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112000" y="2600834"/>
            <a:ext cx="2590800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727365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03200" y="365126"/>
            <a:ext cx="10185600" cy="734804"/>
          </a:xfrm>
          <a:prstGeom prst="rect">
            <a:avLst/>
          </a:prstGeom>
        </p:spPr>
        <p:txBody>
          <a:bodyPr lIns="0" tIns="0" rIns="0" bIns="0" anchor="t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lang="en-US" sz="5400" kern="1200" dirty="0">
                <a:solidFill>
                  <a:srgbClr val="00338D"/>
                </a:solidFill>
                <a:latin typeface="KPMG Extralight" panose="020B0303030202040204" pitchFamily="34" charset="0"/>
                <a:ea typeface="+mj-ea"/>
                <a:cs typeface="KPMG Extralight" panose="020B0303030202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48726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 userDrawn="1">
          <p15:clr>
            <a:srgbClr val="FBAE40"/>
          </p15:clr>
        </p15:guide>
        <p15:guide id="2" orient="horz" pos="3657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5 - Singula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2E9618BF-4417-4CA3-9AFC-D0DDA38C67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385" y="1"/>
            <a:ext cx="12192000" cy="6858000"/>
          </a:xfrm>
          <a:prstGeom prst="rect">
            <a:avLst/>
          </a:prstGeom>
        </p:spPr>
      </p:pic>
      <p:pic>
        <p:nvPicPr>
          <p:cNvPr id="5" name="Picture 4" descr="A picture containing dark, sitting, light, holding&#10;&#10;Description automatically generated">
            <a:extLst>
              <a:ext uri="{FF2B5EF4-FFF2-40B4-BE49-F238E27FC236}">
                <a16:creationId xmlns:a16="http://schemas.microsoft.com/office/drawing/2014/main" id="{921B9F6E-2733-4DF1-8D6A-25DD1A209AE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7922"/>
            <a:ext cx="12192000" cy="6891322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990600" y="1828800"/>
            <a:ext cx="8382000" cy="3510000"/>
          </a:xfrm>
        </p:spPr>
        <p:txBody>
          <a:bodyPr anchor="t" anchorCtr="0"/>
          <a:lstStyle>
            <a:lvl1pPr algn="l">
              <a:defRPr sz="82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 slide 5</a:t>
            </a:r>
            <a:br>
              <a:rPr lang="en-US"/>
            </a:br>
            <a:endParaRPr lang="en-US"/>
          </a:p>
        </p:txBody>
      </p:sp>
      <p:sp>
        <p:nvSpPr>
          <p:cNvPr id="16" name="Freeform 19"/>
          <p:cNvSpPr>
            <a:spLocks noChangeAspect="1" noEditPoints="1"/>
          </p:cNvSpPr>
          <p:nvPr userDrawn="1"/>
        </p:nvSpPr>
        <p:spPr bwMode="auto">
          <a:xfrm>
            <a:off x="1009901" y="1079300"/>
            <a:ext cx="1079151" cy="439654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8304634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308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5711F86-66A1-4133-A108-8C5209C9CA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" r="2256" b="2505"/>
          <a:stretch/>
        </p:blipFill>
        <p:spPr>
          <a:xfrm>
            <a:off x="1" y="2"/>
            <a:ext cx="12192000" cy="6857999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90724" y="181834"/>
            <a:ext cx="10185600" cy="518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08231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5 - Singula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2E9618BF-4417-4CA3-9AFC-D0DDA38C67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323" t="1" r="18309" b="52631"/>
          <a:stretch/>
        </p:blipFill>
        <p:spPr>
          <a:xfrm>
            <a:off x="-1385" y="1"/>
            <a:ext cx="12192000" cy="6858000"/>
          </a:xfrm>
          <a:prstGeom prst="rect">
            <a:avLst/>
          </a:prstGeom>
        </p:spPr>
      </p:pic>
      <p:pic>
        <p:nvPicPr>
          <p:cNvPr id="5" name="Picture 4" descr="A picture containing dark, sitting, light, holding&#10;&#10;Description automatically generated">
            <a:extLst>
              <a:ext uri="{FF2B5EF4-FFF2-40B4-BE49-F238E27FC236}">
                <a16:creationId xmlns:a16="http://schemas.microsoft.com/office/drawing/2014/main" id="{921B9F6E-2733-4DF1-8D6A-25DD1A209AE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7922"/>
            <a:ext cx="12192001" cy="6891322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39056" y="449944"/>
            <a:ext cx="7369629" cy="1045028"/>
          </a:xfrm>
        </p:spPr>
        <p:txBody>
          <a:bodyPr anchor="t" anchorCtr="0"/>
          <a:lstStyle>
            <a:lvl1pPr algn="l">
              <a:defRPr sz="48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 slide 5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24802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308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209601"/>
            <a:ext cx="10185600" cy="45942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43585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209601"/>
            <a:ext cx="4968000" cy="45942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20800" y="1209601"/>
            <a:ext cx="4968000" cy="45942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09967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IMAGE O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209601"/>
            <a:ext cx="4968000" cy="45942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6220800" y="1209600"/>
            <a:ext cx="4968000" cy="45936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88539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6220800" y="1209600"/>
            <a:ext cx="4968000" cy="45936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1003200" y="1209600"/>
            <a:ext cx="4968000" cy="45936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08272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3607200"/>
            <a:ext cx="10185600" cy="21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1003200" y="1209600"/>
            <a:ext cx="10185600" cy="219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86615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550400" y="1209600"/>
            <a:ext cx="3139200" cy="21852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1003200" y="1209600"/>
            <a:ext cx="3187200" cy="21852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3607200"/>
            <a:ext cx="3187200" cy="21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8049600" y="1209600"/>
            <a:ext cx="3139200" cy="21852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502400" y="3607200"/>
            <a:ext cx="3187200" cy="21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001600" y="3607200"/>
            <a:ext cx="3187200" cy="21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13369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003200" y="1209600"/>
            <a:ext cx="10185600" cy="45936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66858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02686" y="242421"/>
            <a:ext cx="10185600" cy="518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03200" y="1209600"/>
            <a:ext cx="10185600" cy="4582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Freeform 19"/>
          <p:cNvSpPr>
            <a:spLocks noEditPoints="1"/>
          </p:cNvSpPr>
          <p:nvPr userDrawn="1"/>
        </p:nvSpPr>
        <p:spPr bwMode="auto">
          <a:xfrm>
            <a:off x="202686" y="6320118"/>
            <a:ext cx="366433" cy="149412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0203668" y="6415742"/>
            <a:ext cx="1601613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00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9718766" y="273051"/>
            <a:ext cx="1976085" cy="268488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000" b="1">
                <a:solidFill>
                  <a:schemeClr val="bg1"/>
                </a:solidFill>
              </a:rPr>
              <a:t>INTERNAL</a:t>
            </a:r>
            <a:r>
              <a:rPr lang="en-US" sz="1000" b="1" baseline="0">
                <a:solidFill>
                  <a:schemeClr val="bg1"/>
                </a:solidFill>
              </a:rPr>
              <a:t> USE ONLY</a:t>
            </a:r>
            <a:endParaRPr lang="en-US" sz="10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1449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66" r:id="rId2"/>
    <p:sldLayoutId id="2147483664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701" r:id="rId12"/>
    <p:sldLayoutId id="2147483697" r:id="rId13"/>
    <p:sldLayoutId id="2147483703" r:id="rId14"/>
    <p:sldLayoutId id="2147483699" r:id="rId15"/>
    <p:sldLayoutId id="2147483700" r:id="rId16"/>
    <p:sldLayoutId id="2147483662" r:id="rId17"/>
    <p:sldLayoutId id="2147483682" r:id="rId18"/>
    <p:sldLayoutId id="2147483683" r:id="rId19"/>
    <p:sldLayoutId id="2147483684" r:id="rId20"/>
    <p:sldLayoutId id="2147483685" r:id="rId21"/>
    <p:sldLayoutId id="2147483702" r:id="rId22"/>
    <p:sldLayoutId id="2147483667" r:id="rId23"/>
    <p:sldLayoutId id="2147483704" r:id="rId24"/>
    <p:sldLayoutId id="2147483707" r:id="rId25"/>
    <p:sldLayoutId id="2147483708" r:id="rId26"/>
    <p:sldLayoutId id="2147483709" r:id="rId27"/>
  </p:sldLayoutIdLst>
  <p:txStyles>
    <p:titleStyle>
      <a:lvl1pPr algn="l" defTabSz="914400" rtl="0" eaLnBrk="1" latinLnBrk="0" hangingPunct="1">
        <a:lnSpc>
          <a:spcPct val="70000"/>
        </a:lnSpc>
        <a:spcBef>
          <a:spcPct val="0"/>
        </a:spcBef>
        <a:buNone/>
        <a:defRPr sz="5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5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500" kern="1200">
          <a:solidFill>
            <a:schemeClr val="tx2"/>
          </a:solidFill>
          <a:latin typeface="+mn-lt"/>
          <a:ea typeface="+mn-ea"/>
          <a:cs typeface="+mn-cs"/>
        </a:defRPr>
      </a:lvl2pPr>
      <a:lvl3pPr marL="284400" indent="-2844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500" kern="1200">
          <a:solidFill>
            <a:schemeClr val="tx2"/>
          </a:solidFill>
          <a:latin typeface="+mn-lt"/>
          <a:ea typeface="+mn-ea"/>
          <a:cs typeface="+mn-cs"/>
        </a:defRPr>
      </a:lvl3pPr>
      <a:lvl4pPr marL="576000" indent="-2304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4pPr>
      <a:lvl5pPr marL="824400" indent="-2844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98000" indent="-2304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6pPr>
      <a:lvl7pPr marL="1371600" indent="-2844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500" kern="1200">
          <a:solidFill>
            <a:schemeClr val="tx2"/>
          </a:solidFill>
          <a:latin typeface="+mn-lt"/>
          <a:ea typeface="+mn-ea"/>
          <a:cs typeface="+mn-cs"/>
        </a:defRPr>
      </a:lvl7pPr>
      <a:lvl8pPr marL="1645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657" userDrawn="1">
          <p15:clr>
            <a:srgbClr val="F26B43"/>
          </p15:clr>
        </p15:guide>
        <p15:guide id="2" pos="627" userDrawn="1">
          <p15:clr>
            <a:srgbClr val="F26B43"/>
          </p15:clr>
        </p15:guide>
        <p15:guide id="3" pos="7055" userDrawn="1">
          <p15:clr>
            <a:srgbClr val="F26B43"/>
          </p15:clr>
        </p15:guide>
        <p15:guide id="4" orient="horz" pos="763" userDrawn="1">
          <p15:clr>
            <a:srgbClr val="F26B43"/>
          </p15:clr>
        </p15:guide>
        <p15:guide id="5" orient="horz" pos="608" userDrawn="1">
          <p15:clr>
            <a:srgbClr val="F26B43"/>
          </p15:clr>
        </p15:guide>
        <p15:guide id="6" orient="horz" pos="27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slideLayout" Target="../slideLayouts/slideLayout3.xml"/><Relationship Id="rId7" Type="http://schemas.openxmlformats.org/officeDocument/2006/relationships/chart" Target="../charts/chart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0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0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0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slideLayout" Target="../slideLayouts/slideLayout3.xml"/><Relationship Id="rId7" Type="http://schemas.openxmlformats.org/officeDocument/2006/relationships/chart" Target="../charts/chart8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1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1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1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3" Type="http://schemas.openxmlformats.org/officeDocument/2006/relationships/slideLayout" Target="../slideLayouts/slideLayout3.xml"/><Relationship Id="rId7" Type="http://schemas.openxmlformats.org/officeDocument/2006/relationships/chart" Target="../charts/chart10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6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3.xml"/><Relationship Id="rId3" Type="http://schemas.openxmlformats.org/officeDocument/2006/relationships/slideLayout" Target="../slideLayouts/slideLayout3.xml"/><Relationship Id="rId7" Type="http://schemas.openxmlformats.org/officeDocument/2006/relationships/chart" Target="../charts/chart1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0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5.xml"/><Relationship Id="rId3" Type="http://schemas.openxmlformats.org/officeDocument/2006/relationships/slideLayout" Target="../slideLayouts/slideLayout3.xml"/><Relationship Id="rId7" Type="http://schemas.openxmlformats.org/officeDocument/2006/relationships/chart" Target="../charts/chart14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1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7.xml"/><Relationship Id="rId3" Type="http://schemas.openxmlformats.org/officeDocument/2006/relationships/slideLayout" Target="../slideLayouts/slideLayout3.xml"/><Relationship Id="rId7" Type="http://schemas.openxmlformats.org/officeDocument/2006/relationships/chart" Target="../charts/chart16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slideLayout" Target="../slideLayouts/slideLayout3.xml"/><Relationship Id="rId7" Type="http://schemas.openxmlformats.org/officeDocument/2006/relationships/chart" Target="../charts/chart4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9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9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ctrTitle"/>
          </p:nvPr>
        </p:nvSpPr>
        <p:spPr>
          <a:xfrm>
            <a:off x="985657" y="1745698"/>
            <a:ext cx="8229600" cy="3137910"/>
          </a:xfrm>
          <a:prstGeom prst="rect">
            <a:avLst/>
          </a:prstGeom>
        </p:spPr>
        <p:txBody>
          <a:bodyPr vert="horz" wrap="square" lIns="0" tIns="318135" rIns="0" bIns="0" rtlCol="0" anchor="t" anchorCtr="0">
            <a:spAutoFit/>
          </a:bodyPr>
          <a:lstStyle/>
          <a:p>
            <a:pPr marL="9525" marR="3810">
              <a:spcBef>
                <a:spcPts val="2505"/>
              </a:spcBef>
              <a:tabLst>
                <a:tab pos="1665446" algn="l"/>
              </a:tabLst>
            </a:pPr>
            <a:r>
              <a:rPr lang="en-GB" sz="7000"/>
              <a:t>DLH Projects Status Report</a:t>
            </a:r>
            <a:br>
              <a:rPr lang="en-GB" sz="7000"/>
            </a:br>
            <a:br>
              <a:rPr lang="en-GB" sz="7000"/>
            </a:br>
            <a:r>
              <a:rPr lang="en-GB" sz="4000"/>
              <a:t>PMO Weekly Report 		</a:t>
            </a:r>
            <a:br>
              <a:rPr lang="en-US" sz="6600"/>
            </a:br>
            <a:br>
              <a:rPr lang="en-US" sz="6600"/>
            </a:br>
            <a:r>
              <a:rPr lang="en-US" sz="1500" i="1"/>
              <a:t>from:     </a:t>
            </a:r>
            <a:r>
              <a:rPr lang="en-US" sz="1500" b="1" i="1"/>
              <a:t>05\06\22     </a:t>
            </a:r>
            <a:r>
              <a:rPr lang="en-US" sz="1500" i="1"/>
              <a:t>to      </a:t>
            </a:r>
            <a:r>
              <a:rPr lang="en-US" sz="1500" b="1" i="1"/>
              <a:t>09\06\22</a:t>
            </a:r>
            <a:endParaRPr lang="en-US" sz="6600" b="1" i="1"/>
          </a:p>
        </p:txBody>
      </p:sp>
      <p:sp>
        <p:nvSpPr>
          <p:cNvPr id="3" name="Text Box 2">
            <a:extLst>
              <a:ext uri="{FF2B5EF4-FFF2-40B4-BE49-F238E27FC236}">
                <a16:creationId xmlns:a16="http://schemas.microsoft.com/office/drawing/2014/main" id="{27C5AD21-0925-41B0-8137-A194EF599C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26110" y="5787723"/>
            <a:ext cx="3255822" cy="738985"/>
          </a:xfrm>
          <a:prstGeom prst="rect">
            <a:avLst/>
          </a:prstGeom>
          <a:solidFill>
            <a:schemeClr val="accent5">
              <a:alpha val="58000"/>
            </a:schemeClr>
          </a:solidFill>
          <a:ln>
            <a:solidFill>
              <a:schemeClr val="accent5">
                <a:shade val="50000"/>
                <a:alpha val="0"/>
              </a:schemeClr>
            </a:solidFill>
            <a:headEnd/>
            <a:tailEnd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vert="horz" wrap="square" lIns="91440" tIns="45720" rIns="91440" bIns="45720" anchor="t" anchorCtr="0">
            <a:spAutoFit/>
          </a:bodyPr>
          <a:lstStyle/>
          <a:p>
            <a:pPr>
              <a:lnSpc>
                <a:spcPct val="107000"/>
              </a:lnSpc>
            </a:pPr>
            <a:r>
              <a:rPr lang="en-AU" sz="1000">
                <a:solidFill>
                  <a:srgbClr val="FFFFFF"/>
                </a:solidFill>
                <a:latin typeface="Arial" panose="020B0604020202020204" pitchFamily="34" charset="0"/>
                <a:ea typeface="SimHei"/>
                <a:cs typeface="Arial" panose="020B0604020202020204" pitchFamily="34" charset="0"/>
              </a:rPr>
              <a:t>DOCUMENT USAGE: This document is for </a:t>
            </a:r>
            <a:r>
              <a:rPr lang="en-AU" sz="1000" b="1">
                <a:solidFill>
                  <a:srgbClr val="FFFFFF"/>
                </a:solidFill>
                <a:latin typeface="Arial" panose="020B0604020202020204" pitchFamily="34" charset="0"/>
                <a:ea typeface="SimHei"/>
                <a:cs typeface="Arial" panose="020B0604020202020204" pitchFamily="34" charset="0"/>
              </a:rPr>
              <a:t>internal use only</a:t>
            </a:r>
            <a:r>
              <a:rPr lang="en-AU" sz="1000">
                <a:solidFill>
                  <a:srgbClr val="FFFFFF"/>
                </a:solidFill>
                <a:latin typeface="Arial" panose="020B0604020202020204" pitchFamily="34" charset="0"/>
                <a:ea typeface="SimHei"/>
                <a:cs typeface="Arial" panose="020B0604020202020204" pitchFamily="34" charset="0"/>
              </a:rPr>
              <a:t>. This template may be customized according to specific project needs and when appropriate, based on needs. 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0" name="think-cell Slide" r:id="rId5" imgW="293" imgH="274" progId="TCLayout.ActiveDocument.1">
                  <p:embed/>
                </p:oleObj>
              </mc:Choice>
              <mc:Fallback>
                <p:oleObj name="think-cell Slide" r:id="rId5" imgW="293" imgH="274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2" name="Rectangle 381"/>
          <p:cNvSpPr/>
          <p:nvPr/>
        </p:nvSpPr>
        <p:spPr>
          <a:xfrm>
            <a:off x="154597" y="4305118"/>
            <a:ext cx="3182519" cy="23750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defTabSz="1058286"/>
            <a:endParaRPr lang="en-US" sz="1500" err="1">
              <a:solidFill>
                <a:prstClr val="white"/>
              </a:solidFill>
              <a:latin typeface="Arial"/>
            </a:endParaRPr>
          </a:p>
        </p:txBody>
      </p:sp>
      <p:sp>
        <p:nvSpPr>
          <p:cNvPr id="431" name="Title 5"/>
          <p:cNvSpPr txBox="1">
            <a:spLocks/>
          </p:cNvSpPr>
          <p:nvPr/>
        </p:nvSpPr>
        <p:spPr>
          <a:xfrm>
            <a:off x="0" y="-4772"/>
            <a:ext cx="12192000" cy="1081733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61427" y="266394"/>
            <a:ext cx="8154804" cy="416216"/>
          </a:xfrm>
          <a:noFill/>
        </p:spPr>
        <p:txBody>
          <a:bodyPr anchor="t"/>
          <a:lstStyle/>
          <a:p>
            <a:pPr algn="l"/>
            <a:r>
              <a:rPr lang="en-US" sz="4889" err="1">
                <a:solidFill>
                  <a:schemeClr val="bg1"/>
                </a:solidFill>
              </a:rPr>
              <a:t>MA’Aden</a:t>
            </a:r>
            <a:r>
              <a:rPr lang="en-US" sz="4889">
                <a:solidFill>
                  <a:schemeClr val="bg1"/>
                </a:solidFill>
              </a:rPr>
              <a:t> Project Health</a:t>
            </a:r>
          </a:p>
        </p:txBody>
      </p:sp>
      <p:sp>
        <p:nvSpPr>
          <p:cNvPr id="235" name="Title 5"/>
          <p:cNvSpPr txBox="1">
            <a:spLocks/>
          </p:cNvSpPr>
          <p:nvPr/>
        </p:nvSpPr>
        <p:spPr>
          <a:xfrm>
            <a:off x="3" y="-4772"/>
            <a:ext cx="60959" cy="1081733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cxnSp>
        <p:nvCxnSpPr>
          <p:cNvPr id="237" name="Straight Connector 236"/>
          <p:cNvCxnSpPr>
            <a:cxnSpLocks/>
          </p:cNvCxnSpPr>
          <p:nvPr/>
        </p:nvCxnSpPr>
        <p:spPr>
          <a:xfrm>
            <a:off x="308631" y="4305118"/>
            <a:ext cx="0" cy="231920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4" name="Round Same Side Corner Rectangle 243"/>
          <p:cNvSpPr/>
          <p:nvPr/>
        </p:nvSpPr>
        <p:spPr>
          <a:xfrm>
            <a:off x="154597" y="4289365"/>
            <a:ext cx="3182519" cy="331382"/>
          </a:xfrm>
          <a:prstGeom prst="round2Same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</p:spPr>
        <p:txBody>
          <a:bodyPr wrap="square" lIns="121920" tIns="0" bIns="60960" anchor="ctr">
            <a:noAutofit/>
          </a:bodyPr>
          <a:lstStyle/>
          <a:p>
            <a:pPr defTabSz="1058286"/>
            <a:r>
              <a:rPr lang="en-US" sz="1400" b="1">
                <a:solidFill>
                  <a:prstClr val="white"/>
                </a:solidFill>
                <a:latin typeface="Arial"/>
                <a:cs typeface="DIN Next LT Arabic"/>
              </a:rPr>
              <a:t>Other Key updates &amp; notes</a:t>
            </a:r>
          </a:p>
        </p:txBody>
      </p:sp>
      <p:sp>
        <p:nvSpPr>
          <p:cNvPr id="247" name="Rectangle 246"/>
          <p:cNvSpPr/>
          <p:nvPr/>
        </p:nvSpPr>
        <p:spPr>
          <a:xfrm>
            <a:off x="340381" y="4633350"/>
            <a:ext cx="3013378" cy="2349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90498" indent="-190498">
              <a:buFont typeface="Arial" panose="020B0604020202020204" pitchFamily="34" charset="0"/>
              <a:buChar char="•"/>
            </a:pPr>
            <a:r>
              <a:rPr lang="en-US" sz="1222"/>
              <a:t>Team is in process of finalizing the business case as well as steering committee material</a:t>
            </a:r>
          </a:p>
          <a:p>
            <a:pPr marL="190498" indent="-190498">
              <a:buFont typeface="Arial" panose="020B0604020202020204" pitchFamily="34" charset="0"/>
              <a:buChar char="•"/>
            </a:pPr>
            <a:r>
              <a:rPr lang="en-US" sz="1222"/>
              <a:t>Socialize next week findings with internal stakeholders</a:t>
            </a:r>
          </a:p>
          <a:p>
            <a:pPr marL="190498" indent="-190498">
              <a:buFont typeface="Arial" panose="020B0604020202020204" pitchFamily="34" charset="0"/>
              <a:buChar char="•"/>
            </a:pPr>
            <a:r>
              <a:rPr lang="en-US" sz="1222"/>
              <a:t>Finished the data maturity assessment</a:t>
            </a:r>
          </a:p>
          <a:p>
            <a:pPr marL="190498" indent="-190498">
              <a:buFont typeface="Arial" panose="020B0604020202020204" pitchFamily="34" charset="0"/>
              <a:buChar char="•"/>
            </a:pPr>
            <a:r>
              <a:rPr lang="en-US" sz="1222"/>
              <a:t>Staged target route was created</a:t>
            </a:r>
          </a:p>
          <a:p>
            <a:pPr marL="190498" indent="-190498">
              <a:buFont typeface="Arial" panose="020B0604020202020204" pitchFamily="34" charset="0"/>
              <a:buChar char="•"/>
            </a:pPr>
            <a:r>
              <a:rPr lang="en-US" sz="1222"/>
              <a:t>Team has finished putting a staged and target states to expedite value realization</a:t>
            </a:r>
          </a:p>
          <a:p>
            <a:pPr marL="190498" indent="-190498">
              <a:buFont typeface="Arial" panose="020B0604020202020204" pitchFamily="34" charset="0"/>
              <a:buChar char="•"/>
            </a:pPr>
            <a:endParaRPr lang="en-US" sz="1222"/>
          </a:p>
        </p:txBody>
      </p:sp>
      <p:grpSp>
        <p:nvGrpSpPr>
          <p:cNvPr id="383" name="Group 382"/>
          <p:cNvGrpSpPr/>
          <p:nvPr/>
        </p:nvGrpSpPr>
        <p:grpSpPr>
          <a:xfrm>
            <a:off x="172640" y="6624523"/>
            <a:ext cx="3164476" cy="104129"/>
            <a:chOff x="170119" y="2637607"/>
            <a:chExt cx="2373357" cy="130724"/>
          </a:xfrm>
        </p:grpSpPr>
        <p:sp>
          <p:nvSpPr>
            <p:cNvPr id="384" name="Right Triangle 383"/>
            <p:cNvSpPr/>
            <p:nvPr/>
          </p:nvSpPr>
          <p:spPr>
            <a:xfrm flipH="1" flipV="1">
              <a:off x="173559" y="2637607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85" name="Right Triangle 384"/>
            <p:cNvSpPr/>
            <p:nvPr/>
          </p:nvSpPr>
          <p:spPr>
            <a:xfrm flipV="1">
              <a:off x="170119" y="2637607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</p:grpSp>
      <p:sp>
        <p:nvSpPr>
          <p:cNvPr id="388" name="Rectangle 387"/>
          <p:cNvSpPr/>
          <p:nvPr/>
        </p:nvSpPr>
        <p:spPr>
          <a:xfrm>
            <a:off x="7518400" y="2655532"/>
            <a:ext cx="4579204" cy="26302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defTabSz="1058286"/>
            <a:endParaRPr lang="en-US" sz="1500" err="1">
              <a:solidFill>
                <a:prstClr val="white"/>
              </a:solidFill>
              <a:latin typeface="Arial"/>
            </a:endParaRPr>
          </a:p>
        </p:txBody>
      </p:sp>
      <p:grpSp>
        <p:nvGrpSpPr>
          <p:cNvPr id="389" name="Group 388"/>
          <p:cNvGrpSpPr/>
          <p:nvPr/>
        </p:nvGrpSpPr>
        <p:grpSpPr>
          <a:xfrm>
            <a:off x="7527930" y="6612634"/>
            <a:ext cx="4558976" cy="135134"/>
            <a:chOff x="170119" y="2402504"/>
            <a:chExt cx="2373357" cy="130725"/>
          </a:xfrm>
        </p:grpSpPr>
        <p:sp>
          <p:nvSpPr>
            <p:cNvPr id="390" name="Right Triangle 389"/>
            <p:cNvSpPr/>
            <p:nvPr/>
          </p:nvSpPr>
          <p:spPr>
            <a:xfrm flipH="1" flipV="1">
              <a:off x="173559" y="2402505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91" name="Right Triangle 390"/>
            <p:cNvSpPr/>
            <p:nvPr/>
          </p:nvSpPr>
          <p:spPr>
            <a:xfrm flipV="1">
              <a:off x="170119" y="2402504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</p:grpSp>
      <p:sp>
        <p:nvSpPr>
          <p:cNvPr id="582" name="Rectangle 581"/>
          <p:cNvSpPr/>
          <p:nvPr/>
        </p:nvSpPr>
        <p:spPr>
          <a:xfrm>
            <a:off x="7518400" y="3993261"/>
            <a:ext cx="4579204" cy="7858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</p:spPr>
        <p:txBody>
          <a:bodyPr wrap="square" lIns="121920" tIns="0" bIns="60960" anchor="ctr">
            <a:noAutofit/>
          </a:bodyPr>
          <a:lstStyle/>
          <a:p>
            <a:pPr algn="ctr" defTabSz="1058286"/>
            <a:endParaRPr lang="en-US" sz="1400" b="1" err="1">
              <a:solidFill>
                <a:prstClr val="white"/>
              </a:solidFill>
              <a:latin typeface="Arial"/>
              <a:cs typeface="DIN Next LT Arabic"/>
            </a:endParaRPr>
          </a:p>
        </p:txBody>
      </p:sp>
      <p:sp>
        <p:nvSpPr>
          <p:cNvPr id="403" name="Freeform 402"/>
          <p:cNvSpPr>
            <a:spLocks/>
          </p:cNvSpPr>
          <p:nvPr/>
        </p:nvSpPr>
        <p:spPr bwMode="auto">
          <a:xfrm>
            <a:off x="7647207" y="3629794"/>
            <a:ext cx="293866" cy="302299"/>
          </a:xfrm>
          <a:custGeom>
            <a:avLst/>
            <a:gdLst>
              <a:gd name="connsiteX0" fmla="*/ 189015 w 931448"/>
              <a:gd name="connsiteY0" fmla="*/ 777 h 970477"/>
              <a:gd name="connsiteX1" fmla="*/ 194858 w 931448"/>
              <a:gd name="connsiteY1" fmla="*/ 8026 h 970477"/>
              <a:gd name="connsiteX2" fmla="*/ 255296 w 931448"/>
              <a:gd name="connsiteY2" fmla="*/ 26885 h 970477"/>
              <a:gd name="connsiteX3" fmla="*/ 451720 w 931448"/>
              <a:gd name="connsiteY3" fmla="*/ 57059 h 970477"/>
              <a:gd name="connsiteX4" fmla="*/ 648144 w 931448"/>
              <a:gd name="connsiteY4" fmla="*/ 155125 h 970477"/>
              <a:gd name="connsiteX5" fmla="*/ 931448 w 931448"/>
              <a:gd name="connsiteY5" fmla="*/ 158897 h 970477"/>
              <a:gd name="connsiteX6" fmla="*/ 878565 w 931448"/>
              <a:gd name="connsiteY6" fmla="*/ 471953 h 970477"/>
              <a:gd name="connsiteX7" fmla="*/ 871010 w 931448"/>
              <a:gd name="connsiteY7" fmla="*/ 498355 h 970477"/>
              <a:gd name="connsiteX8" fmla="*/ 708582 w 931448"/>
              <a:gd name="connsiteY8" fmla="*/ 622823 h 970477"/>
              <a:gd name="connsiteX9" fmla="*/ 512158 w 931448"/>
              <a:gd name="connsiteY9" fmla="*/ 554932 h 970477"/>
              <a:gd name="connsiteX10" fmla="*/ 334621 w 931448"/>
              <a:gd name="connsiteY10" fmla="*/ 468181 h 970477"/>
              <a:gd name="connsiteX11" fmla="*/ 240187 w 931448"/>
              <a:gd name="connsiteY11" fmla="*/ 453094 h 970477"/>
              <a:gd name="connsiteX12" fmla="*/ 111756 w 931448"/>
              <a:gd name="connsiteY12" fmla="*/ 562475 h 970477"/>
              <a:gd name="connsiteX13" fmla="*/ 39114 w 931448"/>
              <a:gd name="connsiteY13" fmla="*/ 970477 h 970477"/>
              <a:gd name="connsiteX14" fmla="*/ 0 w 931448"/>
              <a:gd name="connsiteY14" fmla="*/ 938205 h 970477"/>
              <a:gd name="connsiteX15" fmla="*/ 149529 w 931448"/>
              <a:gd name="connsiteY15" fmla="*/ 79690 h 970477"/>
              <a:gd name="connsiteX16" fmla="*/ 160862 w 931448"/>
              <a:gd name="connsiteY16" fmla="*/ 19341 h 970477"/>
              <a:gd name="connsiteX17" fmla="*/ 189015 w 931448"/>
              <a:gd name="connsiteY17" fmla="*/ 777 h 9704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931448" h="970477">
                <a:moveTo>
                  <a:pt x="189015" y="777"/>
                </a:moveTo>
                <a:cubicBezTo>
                  <a:pt x="191789" y="1897"/>
                  <a:pt x="193914" y="4254"/>
                  <a:pt x="194858" y="8026"/>
                </a:cubicBezTo>
                <a:cubicBezTo>
                  <a:pt x="206190" y="57059"/>
                  <a:pt x="232632" y="30657"/>
                  <a:pt x="255296" y="26885"/>
                </a:cubicBezTo>
                <a:cubicBezTo>
                  <a:pt x="323289" y="15570"/>
                  <a:pt x="391282" y="26885"/>
                  <a:pt x="451720" y="57059"/>
                </a:cubicBezTo>
                <a:cubicBezTo>
                  <a:pt x="519713" y="87233"/>
                  <a:pt x="583929" y="124951"/>
                  <a:pt x="648144" y="155125"/>
                </a:cubicBezTo>
                <a:cubicBezTo>
                  <a:pt x="738802" y="196614"/>
                  <a:pt x="829459" y="211701"/>
                  <a:pt x="931448" y="158897"/>
                </a:cubicBezTo>
                <a:cubicBezTo>
                  <a:pt x="912561" y="268278"/>
                  <a:pt x="893674" y="370115"/>
                  <a:pt x="878565" y="471953"/>
                </a:cubicBezTo>
                <a:cubicBezTo>
                  <a:pt x="874787" y="479496"/>
                  <a:pt x="874787" y="490812"/>
                  <a:pt x="871010" y="498355"/>
                </a:cubicBezTo>
                <a:cubicBezTo>
                  <a:pt x="855900" y="600193"/>
                  <a:pt x="814349" y="630367"/>
                  <a:pt x="708582" y="622823"/>
                </a:cubicBezTo>
                <a:cubicBezTo>
                  <a:pt x="640589" y="615280"/>
                  <a:pt x="576374" y="588877"/>
                  <a:pt x="512158" y="554932"/>
                </a:cubicBezTo>
                <a:cubicBezTo>
                  <a:pt x="455498" y="524757"/>
                  <a:pt x="398837" y="490812"/>
                  <a:pt x="334621" y="468181"/>
                </a:cubicBezTo>
                <a:cubicBezTo>
                  <a:pt x="304402" y="460637"/>
                  <a:pt x="274183" y="453094"/>
                  <a:pt x="240187" y="453094"/>
                </a:cubicBezTo>
                <a:cubicBezTo>
                  <a:pt x="145752" y="449322"/>
                  <a:pt x="126865" y="464409"/>
                  <a:pt x="111756" y="562475"/>
                </a:cubicBezTo>
                <a:lnTo>
                  <a:pt x="39114" y="970477"/>
                </a:lnTo>
                <a:lnTo>
                  <a:pt x="0" y="938205"/>
                </a:lnTo>
                <a:lnTo>
                  <a:pt x="149529" y="79690"/>
                </a:lnTo>
                <a:cubicBezTo>
                  <a:pt x="153307" y="60831"/>
                  <a:pt x="153307" y="38200"/>
                  <a:pt x="160862" y="19341"/>
                </a:cubicBezTo>
                <a:cubicBezTo>
                  <a:pt x="166528" y="5198"/>
                  <a:pt x="180693" y="-2582"/>
                  <a:pt x="189015" y="777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Autofit/>
          </a:bodyPr>
          <a:lstStyle/>
          <a:p>
            <a:pPr defTabSz="914391"/>
            <a:endParaRPr lang="en-US" sz="2533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5" name="Freeform 404"/>
          <p:cNvSpPr>
            <a:spLocks/>
          </p:cNvSpPr>
          <p:nvPr/>
        </p:nvSpPr>
        <p:spPr bwMode="auto">
          <a:xfrm flipH="1">
            <a:off x="11685154" y="3703426"/>
            <a:ext cx="293869" cy="302299"/>
          </a:xfrm>
          <a:custGeom>
            <a:avLst/>
            <a:gdLst>
              <a:gd name="connsiteX0" fmla="*/ 189015 w 931448"/>
              <a:gd name="connsiteY0" fmla="*/ 777 h 970477"/>
              <a:gd name="connsiteX1" fmla="*/ 194858 w 931448"/>
              <a:gd name="connsiteY1" fmla="*/ 8026 h 970477"/>
              <a:gd name="connsiteX2" fmla="*/ 255296 w 931448"/>
              <a:gd name="connsiteY2" fmla="*/ 26885 h 970477"/>
              <a:gd name="connsiteX3" fmla="*/ 451720 w 931448"/>
              <a:gd name="connsiteY3" fmla="*/ 57059 h 970477"/>
              <a:gd name="connsiteX4" fmla="*/ 648144 w 931448"/>
              <a:gd name="connsiteY4" fmla="*/ 155125 h 970477"/>
              <a:gd name="connsiteX5" fmla="*/ 931448 w 931448"/>
              <a:gd name="connsiteY5" fmla="*/ 158897 h 970477"/>
              <a:gd name="connsiteX6" fmla="*/ 878565 w 931448"/>
              <a:gd name="connsiteY6" fmla="*/ 471953 h 970477"/>
              <a:gd name="connsiteX7" fmla="*/ 871010 w 931448"/>
              <a:gd name="connsiteY7" fmla="*/ 498355 h 970477"/>
              <a:gd name="connsiteX8" fmla="*/ 708582 w 931448"/>
              <a:gd name="connsiteY8" fmla="*/ 622823 h 970477"/>
              <a:gd name="connsiteX9" fmla="*/ 512158 w 931448"/>
              <a:gd name="connsiteY9" fmla="*/ 554932 h 970477"/>
              <a:gd name="connsiteX10" fmla="*/ 334621 w 931448"/>
              <a:gd name="connsiteY10" fmla="*/ 468181 h 970477"/>
              <a:gd name="connsiteX11" fmla="*/ 240187 w 931448"/>
              <a:gd name="connsiteY11" fmla="*/ 453094 h 970477"/>
              <a:gd name="connsiteX12" fmla="*/ 111756 w 931448"/>
              <a:gd name="connsiteY12" fmla="*/ 562475 h 970477"/>
              <a:gd name="connsiteX13" fmla="*/ 39114 w 931448"/>
              <a:gd name="connsiteY13" fmla="*/ 970477 h 970477"/>
              <a:gd name="connsiteX14" fmla="*/ 0 w 931448"/>
              <a:gd name="connsiteY14" fmla="*/ 938205 h 970477"/>
              <a:gd name="connsiteX15" fmla="*/ 149529 w 931448"/>
              <a:gd name="connsiteY15" fmla="*/ 79690 h 970477"/>
              <a:gd name="connsiteX16" fmla="*/ 160862 w 931448"/>
              <a:gd name="connsiteY16" fmla="*/ 19341 h 970477"/>
              <a:gd name="connsiteX17" fmla="*/ 189015 w 931448"/>
              <a:gd name="connsiteY17" fmla="*/ 777 h 9704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931448" h="970477">
                <a:moveTo>
                  <a:pt x="189015" y="777"/>
                </a:moveTo>
                <a:cubicBezTo>
                  <a:pt x="191789" y="1897"/>
                  <a:pt x="193914" y="4254"/>
                  <a:pt x="194858" y="8026"/>
                </a:cubicBezTo>
                <a:cubicBezTo>
                  <a:pt x="206190" y="57059"/>
                  <a:pt x="232632" y="30657"/>
                  <a:pt x="255296" y="26885"/>
                </a:cubicBezTo>
                <a:cubicBezTo>
                  <a:pt x="323289" y="15570"/>
                  <a:pt x="391282" y="26885"/>
                  <a:pt x="451720" y="57059"/>
                </a:cubicBezTo>
                <a:cubicBezTo>
                  <a:pt x="519713" y="87233"/>
                  <a:pt x="583929" y="124951"/>
                  <a:pt x="648144" y="155125"/>
                </a:cubicBezTo>
                <a:cubicBezTo>
                  <a:pt x="738802" y="196614"/>
                  <a:pt x="829459" y="211701"/>
                  <a:pt x="931448" y="158897"/>
                </a:cubicBezTo>
                <a:cubicBezTo>
                  <a:pt x="912561" y="268278"/>
                  <a:pt x="893674" y="370115"/>
                  <a:pt x="878565" y="471953"/>
                </a:cubicBezTo>
                <a:cubicBezTo>
                  <a:pt x="874787" y="479496"/>
                  <a:pt x="874787" y="490812"/>
                  <a:pt x="871010" y="498355"/>
                </a:cubicBezTo>
                <a:cubicBezTo>
                  <a:pt x="855900" y="600193"/>
                  <a:pt x="814349" y="630367"/>
                  <a:pt x="708582" y="622823"/>
                </a:cubicBezTo>
                <a:cubicBezTo>
                  <a:pt x="640589" y="615280"/>
                  <a:pt x="576374" y="588877"/>
                  <a:pt x="512158" y="554932"/>
                </a:cubicBezTo>
                <a:cubicBezTo>
                  <a:pt x="455498" y="524757"/>
                  <a:pt x="398837" y="490812"/>
                  <a:pt x="334621" y="468181"/>
                </a:cubicBezTo>
                <a:cubicBezTo>
                  <a:pt x="304402" y="460637"/>
                  <a:pt x="274183" y="453094"/>
                  <a:pt x="240187" y="453094"/>
                </a:cubicBezTo>
                <a:cubicBezTo>
                  <a:pt x="145752" y="449322"/>
                  <a:pt x="126865" y="464409"/>
                  <a:pt x="111756" y="562475"/>
                </a:cubicBezTo>
                <a:lnTo>
                  <a:pt x="39114" y="970477"/>
                </a:lnTo>
                <a:lnTo>
                  <a:pt x="0" y="938205"/>
                </a:lnTo>
                <a:lnTo>
                  <a:pt x="149529" y="79690"/>
                </a:lnTo>
                <a:cubicBezTo>
                  <a:pt x="153307" y="60831"/>
                  <a:pt x="153307" y="38200"/>
                  <a:pt x="160862" y="19341"/>
                </a:cubicBezTo>
                <a:cubicBezTo>
                  <a:pt x="166528" y="5198"/>
                  <a:pt x="180693" y="-2582"/>
                  <a:pt x="189015" y="777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Autofit/>
          </a:bodyPr>
          <a:lstStyle/>
          <a:p>
            <a:pPr defTabSz="914391"/>
            <a:endParaRPr lang="en-US" sz="2533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10591584" y="3450103"/>
            <a:ext cx="95070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127"/>
            <a:r>
              <a:rPr lang="en-US" sz="1200">
                <a:solidFill>
                  <a:prstClr val="white">
                    <a:lumMod val="50000"/>
                  </a:prstClr>
                </a:solidFill>
                <a:latin typeface="Arial"/>
                <a:cs typeface="Arial" panose="020B0604020202020204" pitchFamily="34" charset="0"/>
              </a:rPr>
              <a:t>END DATE</a:t>
            </a:r>
          </a:p>
        </p:txBody>
      </p:sp>
      <p:sp>
        <p:nvSpPr>
          <p:cNvPr id="406" name="Rectangle 405"/>
          <p:cNvSpPr/>
          <p:nvPr/>
        </p:nvSpPr>
        <p:spPr>
          <a:xfrm>
            <a:off x="10581190" y="3687170"/>
            <a:ext cx="92685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127"/>
            <a:r>
              <a:rPr lang="en-US" sz="1200" b="1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June 2024</a:t>
            </a:r>
          </a:p>
        </p:txBody>
      </p:sp>
      <p:sp>
        <p:nvSpPr>
          <p:cNvPr id="408" name="Rectangle 407"/>
          <p:cNvSpPr/>
          <p:nvPr/>
        </p:nvSpPr>
        <p:spPr>
          <a:xfrm>
            <a:off x="7898338" y="3450103"/>
            <a:ext cx="111492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127"/>
            <a:r>
              <a:rPr lang="en-US" sz="1200">
                <a:solidFill>
                  <a:prstClr val="white">
                    <a:lumMod val="50000"/>
                  </a:prstClr>
                </a:solidFill>
                <a:latin typeface="Arial"/>
                <a:cs typeface="Arial" panose="020B0604020202020204" pitchFamily="34" charset="0"/>
              </a:rPr>
              <a:t>START DATE</a:t>
            </a:r>
          </a:p>
        </p:txBody>
      </p:sp>
      <p:sp>
        <p:nvSpPr>
          <p:cNvPr id="409" name="Rectangle 408"/>
          <p:cNvSpPr/>
          <p:nvPr/>
        </p:nvSpPr>
        <p:spPr>
          <a:xfrm>
            <a:off x="7898340" y="3687170"/>
            <a:ext cx="90120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127"/>
            <a:r>
              <a:rPr lang="en-US" sz="1200" b="1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 Nov 2021</a:t>
            </a:r>
          </a:p>
        </p:txBody>
      </p:sp>
      <p:sp>
        <p:nvSpPr>
          <p:cNvPr id="410" name="Round Same Side Corner Rectangle 409"/>
          <p:cNvSpPr/>
          <p:nvPr/>
        </p:nvSpPr>
        <p:spPr>
          <a:xfrm>
            <a:off x="7592024" y="4294033"/>
            <a:ext cx="4443494" cy="290140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chemeClr val="tx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</a:gradFill>
          <a:ln>
            <a:solidFill>
              <a:schemeClr val="accent3"/>
            </a:solidFill>
          </a:ln>
        </p:spPr>
        <p:txBody>
          <a:bodyPr wrap="square" lIns="121920">
            <a:noAutofit/>
          </a:bodyPr>
          <a:lstStyle/>
          <a:p>
            <a:pPr defTabSz="1058286"/>
            <a:endParaRPr lang="en-US" sz="1400" b="1">
              <a:solidFill>
                <a:prstClr val="white"/>
              </a:solidFill>
              <a:latin typeface="Arial"/>
              <a:cs typeface="DIN Next LT Arabic"/>
            </a:endParaRPr>
          </a:p>
        </p:txBody>
      </p:sp>
      <p:graphicFrame>
        <p:nvGraphicFramePr>
          <p:cNvPr id="44" name="Table 43"/>
          <p:cNvGraphicFramePr>
            <a:graphicFrameLocks noGrp="1"/>
          </p:cNvGraphicFramePr>
          <p:nvPr/>
        </p:nvGraphicFramePr>
        <p:xfrm>
          <a:off x="7595578" y="4312867"/>
          <a:ext cx="4439944" cy="2773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42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71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71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77333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Apr</a:t>
                      </a:r>
                    </a:p>
                  </a:txBody>
                  <a:tcPr marL="18000" marR="18000" marT="54000" marB="54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May</a:t>
                      </a:r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Jun</a:t>
                      </a:r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Jul.</a:t>
                      </a:r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Aug</a:t>
                      </a:r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Sep</a:t>
                      </a:r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Oct</a:t>
                      </a:r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427" name="Table 426"/>
          <p:cNvGraphicFramePr>
            <a:graphicFrameLocks noGrp="1"/>
          </p:cNvGraphicFramePr>
          <p:nvPr/>
        </p:nvGraphicFramePr>
        <p:xfrm>
          <a:off x="7595578" y="4583797"/>
          <a:ext cx="4439944" cy="17735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42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71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71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1773579">
                <a:tc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16" name="Rounded Rectangle 415"/>
          <p:cNvSpPr/>
          <p:nvPr/>
        </p:nvSpPr>
        <p:spPr>
          <a:xfrm>
            <a:off x="7853699" y="4683626"/>
            <a:ext cx="1038687" cy="18442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 w="10172">
            <a:noFill/>
          </a:ln>
        </p:spPr>
        <p:txBody>
          <a:bodyPr wrap="square" lIns="121920" tIns="121920" rIns="121920" bIns="121920" rtlCol="0" anchor="ctr"/>
          <a:lstStyle/>
          <a:p>
            <a:pPr algn="ctr" defTabSz="1219176"/>
            <a:r>
              <a:rPr lang="en-US" sz="889" b="1">
                <a:solidFill>
                  <a:schemeClr val="bg1"/>
                </a:solidFill>
                <a:latin typeface="Arial"/>
                <a:ea typeface="Univers for KPMG Light" charset="0"/>
                <a:cs typeface="Univers for KPMG Light" charset="0"/>
              </a:rPr>
              <a:t>Activity 1</a:t>
            </a:r>
          </a:p>
        </p:txBody>
      </p:sp>
      <p:sp>
        <p:nvSpPr>
          <p:cNvPr id="418" name="Rounded Rectangle 417"/>
          <p:cNvSpPr/>
          <p:nvPr/>
        </p:nvSpPr>
        <p:spPr>
          <a:xfrm>
            <a:off x="8712458" y="5082583"/>
            <a:ext cx="939542" cy="18442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0172">
            <a:noFill/>
          </a:ln>
        </p:spPr>
        <p:txBody>
          <a:bodyPr wrap="square" lIns="121920" tIns="121920" rIns="121920" bIns="121920" rtlCol="0" anchor="ctr"/>
          <a:lstStyle/>
          <a:p>
            <a:pPr algn="ctr" defTabSz="1219176">
              <a:defRPr/>
            </a:pPr>
            <a:r>
              <a:rPr lang="en-US" sz="889" b="1">
                <a:solidFill>
                  <a:schemeClr val="bg1"/>
                </a:solidFill>
                <a:latin typeface="Arial"/>
                <a:ea typeface="Univers for KPMG Light" charset="0"/>
                <a:cs typeface="Univers for KPMG Light" charset="0"/>
              </a:rPr>
              <a:t>Activity 2</a:t>
            </a:r>
          </a:p>
        </p:txBody>
      </p:sp>
      <p:sp>
        <p:nvSpPr>
          <p:cNvPr id="420" name="Rounded Rectangle 419"/>
          <p:cNvSpPr/>
          <p:nvPr/>
        </p:nvSpPr>
        <p:spPr>
          <a:xfrm>
            <a:off x="9067706" y="5422530"/>
            <a:ext cx="1884777" cy="18442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10172">
            <a:noFill/>
          </a:ln>
        </p:spPr>
        <p:txBody>
          <a:bodyPr wrap="square" lIns="121920" tIns="121920" rIns="121920" bIns="121920" rtlCol="0" anchor="ctr"/>
          <a:lstStyle/>
          <a:p>
            <a:pPr algn="ctr" defTabSz="1219176">
              <a:defRPr/>
            </a:pPr>
            <a:r>
              <a:rPr lang="en-US" sz="889" b="1">
                <a:solidFill>
                  <a:schemeClr val="bg1"/>
                </a:solidFill>
                <a:latin typeface="Arial"/>
                <a:ea typeface="Univers for KPMG Light" charset="0"/>
                <a:cs typeface="Univers for KPMG Light" charset="0"/>
              </a:rPr>
              <a:t>Activity 3</a:t>
            </a:r>
          </a:p>
        </p:txBody>
      </p:sp>
      <p:grpSp>
        <p:nvGrpSpPr>
          <p:cNvPr id="132" name="Group 131"/>
          <p:cNvGrpSpPr/>
          <p:nvPr/>
        </p:nvGrpSpPr>
        <p:grpSpPr>
          <a:xfrm>
            <a:off x="7527930" y="3097452"/>
            <a:ext cx="4558976" cy="135133"/>
            <a:chOff x="5645947" y="4054307"/>
            <a:chExt cx="3419232" cy="146922"/>
          </a:xfrm>
        </p:grpSpPr>
        <p:sp>
          <p:nvSpPr>
            <p:cNvPr id="435" name="Right Triangle 434"/>
            <p:cNvSpPr/>
            <p:nvPr/>
          </p:nvSpPr>
          <p:spPr>
            <a:xfrm flipH="1" flipV="1">
              <a:off x="5650903" y="4054307"/>
              <a:ext cx="3414276" cy="146922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436" name="Right Triangle 435"/>
            <p:cNvSpPr/>
            <p:nvPr/>
          </p:nvSpPr>
          <p:spPr>
            <a:xfrm flipV="1">
              <a:off x="5645947" y="4054307"/>
              <a:ext cx="3414276" cy="146922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</p:grpSp>
      <p:sp>
        <p:nvSpPr>
          <p:cNvPr id="437" name="Rectangle 436"/>
          <p:cNvSpPr/>
          <p:nvPr/>
        </p:nvSpPr>
        <p:spPr>
          <a:xfrm>
            <a:off x="7518400" y="1127265"/>
            <a:ext cx="4579204" cy="13745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defTabSz="1058286"/>
            <a:endParaRPr lang="en-US" sz="1500" err="1">
              <a:solidFill>
                <a:prstClr val="white"/>
              </a:solidFill>
              <a:latin typeface="Arial"/>
            </a:endParaRPr>
          </a:p>
        </p:txBody>
      </p:sp>
      <p:sp>
        <p:nvSpPr>
          <p:cNvPr id="439" name="Rectangle 438"/>
          <p:cNvSpPr/>
          <p:nvPr/>
        </p:nvSpPr>
        <p:spPr>
          <a:xfrm>
            <a:off x="7829747" y="1158904"/>
            <a:ext cx="1335622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27"/>
            <a:r>
              <a:rPr lang="en-US" sz="1333" b="1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Project Health</a:t>
            </a:r>
          </a:p>
        </p:txBody>
      </p:sp>
      <p:sp>
        <p:nvSpPr>
          <p:cNvPr id="440" name="Rectangle 439"/>
          <p:cNvSpPr/>
          <p:nvPr/>
        </p:nvSpPr>
        <p:spPr>
          <a:xfrm>
            <a:off x="10403346" y="1158904"/>
            <a:ext cx="925253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27"/>
            <a:r>
              <a:rPr lang="en-US" sz="1333" b="1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Progress</a:t>
            </a:r>
          </a:p>
        </p:txBody>
      </p:sp>
      <p:cxnSp>
        <p:nvCxnSpPr>
          <p:cNvPr id="444" name="Straight Connector 443"/>
          <p:cNvCxnSpPr/>
          <p:nvPr/>
        </p:nvCxnSpPr>
        <p:spPr>
          <a:xfrm>
            <a:off x="10152800" y="2452170"/>
            <a:ext cx="1426344" cy="0"/>
          </a:xfrm>
          <a:prstGeom prst="line">
            <a:avLst/>
          </a:prstGeom>
          <a:ln w="3175">
            <a:solidFill>
              <a:schemeClr val="bg1">
                <a:alpha val="2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7" name="Oval 446"/>
          <p:cNvSpPr/>
          <p:nvPr/>
        </p:nvSpPr>
        <p:spPr>
          <a:xfrm>
            <a:off x="10190609" y="1699559"/>
            <a:ext cx="1264898" cy="1264896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91"/>
            <a:endParaRPr lang="en-IN" sz="2154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57" name="Straight Connector 56"/>
          <p:cNvCxnSpPr/>
          <p:nvPr/>
        </p:nvCxnSpPr>
        <p:spPr>
          <a:xfrm>
            <a:off x="7661463" y="1451278"/>
            <a:ext cx="167219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8" name="Straight Connector 447"/>
          <p:cNvCxnSpPr/>
          <p:nvPr/>
        </p:nvCxnSpPr>
        <p:spPr>
          <a:xfrm>
            <a:off x="9910209" y="1451278"/>
            <a:ext cx="197021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0" name="Group 449"/>
          <p:cNvGrpSpPr/>
          <p:nvPr/>
        </p:nvGrpSpPr>
        <p:grpSpPr>
          <a:xfrm>
            <a:off x="8249008" y="1724075"/>
            <a:ext cx="605432" cy="944212"/>
            <a:chOff x="722750" y="906549"/>
            <a:chExt cx="553597" cy="863372"/>
          </a:xfrm>
        </p:grpSpPr>
        <p:grpSp>
          <p:nvGrpSpPr>
            <p:cNvPr id="451" name="Group 450"/>
            <p:cNvGrpSpPr/>
            <p:nvPr/>
          </p:nvGrpSpPr>
          <p:grpSpPr>
            <a:xfrm>
              <a:off x="722750" y="906549"/>
              <a:ext cx="553597" cy="863372"/>
              <a:chOff x="5997254" y="2460747"/>
              <a:chExt cx="1616607" cy="2521202"/>
            </a:xfrm>
          </p:grpSpPr>
          <p:sp>
            <p:nvSpPr>
              <p:cNvPr id="470" name="Rectangle 469"/>
              <p:cNvSpPr/>
              <p:nvPr/>
            </p:nvSpPr>
            <p:spPr>
              <a:xfrm>
                <a:off x="6718885" y="4188898"/>
                <a:ext cx="177760" cy="793051"/>
              </a:xfrm>
              <a:prstGeom prst="rect">
                <a:avLst/>
              </a:prstGeom>
              <a:gradFill>
                <a:gsLst>
                  <a:gs pos="0">
                    <a:sysClr val="windowText" lastClr="000000">
                      <a:lumMod val="75000"/>
                      <a:lumOff val="25000"/>
                      <a:shade val="30000"/>
                      <a:satMod val="115000"/>
                    </a:sysClr>
                  </a:gs>
                  <a:gs pos="50000">
                    <a:sysClr val="window" lastClr="FFFFFF"/>
                  </a:gs>
                  <a:gs pos="100000">
                    <a:sysClr val="windowText" lastClr="000000">
                      <a:lumMod val="75000"/>
                      <a:lumOff val="25000"/>
                      <a:shade val="100000"/>
                      <a:satMod val="115000"/>
                    </a:sysClr>
                  </a:gs>
                </a:gsLst>
                <a:lin ang="0" scaled="0"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060737">
                  <a:defRPr/>
                </a:pPr>
                <a:endParaRPr lang="en-US" sz="2088" kern="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471" name="Freeform 26"/>
              <p:cNvSpPr>
                <a:spLocks noEditPoints="1"/>
              </p:cNvSpPr>
              <p:nvPr/>
            </p:nvSpPr>
            <p:spPr bwMode="auto">
              <a:xfrm>
                <a:off x="5997254" y="2460747"/>
                <a:ext cx="1616607" cy="1618702"/>
              </a:xfrm>
              <a:custGeom>
                <a:avLst/>
                <a:gdLst>
                  <a:gd name="T0" fmla="*/ 323 w 326"/>
                  <a:gd name="T1" fmla="*/ 157 h 326"/>
                  <a:gd name="T2" fmla="*/ 169 w 326"/>
                  <a:gd name="T3" fmla="*/ 2 h 326"/>
                  <a:gd name="T4" fmla="*/ 163 w 326"/>
                  <a:gd name="T5" fmla="*/ 0 h 326"/>
                  <a:gd name="T6" fmla="*/ 157 w 326"/>
                  <a:gd name="T7" fmla="*/ 2 h 326"/>
                  <a:gd name="T8" fmla="*/ 3 w 326"/>
                  <a:gd name="T9" fmla="*/ 157 h 326"/>
                  <a:gd name="T10" fmla="*/ 0 w 326"/>
                  <a:gd name="T11" fmla="*/ 163 h 326"/>
                  <a:gd name="T12" fmla="*/ 3 w 326"/>
                  <a:gd name="T13" fmla="*/ 169 h 326"/>
                  <a:gd name="T14" fmla="*/ 157 w 326"/>
                  <a:gd name="T15" fmla="*/ 323 h 326"/>
                  <a:gd name="T16" fmla="*/ 163 w 326"/>
                  <a:gd name="T17" fmla="*/ 326 h 326"/>
                  <a:gd name="T18" fmla="*/ 169 w 326"/>
                  <a:gd name="T19" fmla="*/ 323 h 326"/>
                  <a:gd name="T20" fmla="*/ 323 w 326"/>
                  <a:gd name="T21" fmla="*/ 169 h 326"/>
                  <a:gd name="T22" fmla="*/ 326 w 326"/>
                  <a:gd name="T23" fmla="*/ 163 h 326"/>
                  <a:gd name="T24" fmla="*/ 323 w 326"/>
                  <a:gd name="T25" fmla="*/ 157 h 326"/>
                  <a:gd name="T26" fmla="*/ 306 w 326"/>
                  <a:gd name="T27" fmla="*/ 168 h 326"/>
                  <a:gd name="T28" fmla="*/ 168 w 326"/>
                  <a:gd name="T29" fmla="*/ 306 h 326"/>
                  <a:gd name="T30" fmla="*/ 163 w 326"/>
                  <a:gd name="T31" fmla="*/ 308 h 326"/>
                  <a:gd name="T32" fmla="*/ 157 w 326"/>
                  <a:gd name="T33" fmla="*/ 306 h 326"/>
                  <a:gd name="T34" fmla="*/ 20 w 326"/>
                  <a:gd name="T35" fmla="*/ 168 h 326"/>
                  <a:gd name="T36" fmla="*/ 17 w 326"/>
                  <a:gd name="T37" fmla="*/ 163 h 326"/>
                  <a:gd name="T38" fmla="*/ 20 w 326"/>
                  <a:gd name="T39" fmla="*/ 157 h 326"/>
                  <a:gd name="T40" fmla="*/ 157 w 326"/>
                  <a:gd name="T41" fmla="*/ 19 h 326"/>
                  <a:gd name="T42" fmla="*/ 163 w 326"/>
                  <a:gd name="T43" fmla="*/ 17 h 326"/>
                  <a:gd name="T44" fmla="*/ 168 w 326"/>
                  <a:gd name="T45" fmla="*/ 19 h 326"/>
                  <a:gd name="T46" fmla="*/ 306 w 326"/>
                  <a:gd name="T47" fmla="*/ 157 h 326"/>
                  <a:gd name="T48" fmla="*/ 309 w 326"/>
                  <a:gd name="T49" fmla="*/ 163 h 326"/>
                  <a:gd name="T50" fmla="*/ 306 w 326"/>
                  <a:gd name="T51" fmla="*/ 168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6" h="326">
                    <a:moveTo>
                      <a:pt x="323" y="157"/>
                    </a:moveTo>
                    <a:cubicBezTo>
                      <a:pt x="169" y="2"/>
                      <a:pt x="169" y="2"/>
                      <a:pt x="169" y="2"/>
                    </a:cubicBezTo>
                    <a:cubicBezTo>
                      <a:pt x="167" y="0"/>
                      <a:pt x="164" y="0"/>
                      <a:pt x="163" y="0"/>
                    </a:cubicBezTo>
                    <a:cubicBezTo>
                      <a:pt x="162" y="0"/>
                      <a:pt x="159" y="0"/>
                      <a:pt x="157" y="2"/>
                    </a:cubicBezTo>
                    <a:cubicBezTo>
                      <a:pt x="3" y="157"/>
                      <a:pt x="3" y="157"/>
                      <a:pt x="3" y="157"/>
                    </a:cubicBezTo>
                    <a:cubicBezTo>
                      <a:pt x="1" y="158"/>
                      <a:pt x="0" y="160"/>
                      <a:pt x="0" y="163"/>
                    </a:cubicBezTo>
                    <a:cubicBezTo>
                      <a:pt x="0" y="165"/>
                      <a:pt x="1" y="167"/>
                      <a:pt x="3" y="169"/>
                    </a:cubicBezTo>
                    <a:cubicBezTo>
                      <a:pt x="157" y="323"/>
                      <a:pt x="157" y="323"/>
                      <a:pt x="157" y="323"/>
                    </a:cubicBezTo>
                    <a:cubicBezTo>
                      <a:pt x="159" y="325"/>
                      <a:pt x="162" y="326"/>
                      <a:pt x="163" y="326"/>
                    </a:cubicBezTo>
                    <a:cubicBezTo>
                      <a:pt x="164" y="326"/>
                      <a:pt x="167" y="325"/>
                      <a:pt x="169" y="323"/>
                    </a:cubicBezTo>
                    <a:cubicBezTo>
                      <a:pt x="323" y="169"/>
                      <a:pt x="323" y="169"/>
                      <a:pt x="323" y="169"/>
                    </a:cubicBezTo>
                    <a:cubicBezTo>
                      <a:pt x="325" y="167"/>
                      <a:pt x="326" y="164"/>
                      <a:pt x="326" y="163"/>
                    </a:cubicBezTo>
                    <a:cubicBezTo>
                      <a:pt x="326" y="161"/>
                      <a:pt x="325" y="159"/>
                      <a:pt x="323" y="157"/>
                    </a:cubicBezTo>
                    <a:close/>
                    <a:moveTo>
                      <a:pt x="306" y="168"/>
                    </a:moveTo>
                    <a:cubicBezTo>
                      <a:pt x="168" y="306"/>
                      <a:pt x="168" y="306"/>
                      <a:pt x="168" y="306"/>
                    </a:cubicBezTo>
                    <a:cubicBezTo>
                      <a:pt x="167" y="308"/>
                      <a:pt x="164" y="308"/>
                      <a:pt x="163" y="308"/>
                    </a:cubicBezTo>
                    <a:cubicBezTo>
                      <a:pt x="162" y="308"/>
                      <a:pt x="159" y="308"/>
                      <a:pt x="157" y="306"/>
                    </a:cubicBezTo>
                    <a:cubicBezTo>
                      <a:pt x="20" y="168"/>
                      <a:pt x="20" y="168"/>
                      <a:pt x="20" y="168"/>
                    </a:cubicBezTo>
                    <a:cubicBezTo>
                      <a:pt x="18" y="167"/>
                      <a:pt x="17" y="165"/>
                      <a:pt x="17" y="163"/>
                    </a:cubicBezTo>
                    <a:cubicBezTo>
                      <a:pt x="17" y="161"/>
                      <a:pt x="18" y="159"/>
                      <a:pt x="20" y="157"/>
                    </a:cubicBezTo>
                    <a:cubicBezTo>
                      <a:pt x="157" y="19"/>
                      <a:pt x="157" y="19"/>
                      <a:pt x="157" y="19"/>
                    </a:cubicBezTo>
                    <a:cubicBezTo>
                      <a:pt x="159" y="17"/>
                      <a:pt x="162" y="17"/>
                      <a:pt x="163" y="17"/>
                    </a:cubicBezTo>
                    <a:cubicBezTo>
                      <a:pt x="164" y="17"/>
                      <a:pt x="167" y="17"/>
                      <a:pt x="168" y="19"/>
                    </a:cubicBezTo>
                    <a:cubicBezTo>
                      <a:pt x="306" y="157"/>
                      <a:pt x="306" y="157"/>
                      <a:pt x="306" y="157"/>
                    </a:cubicBezTo>
                    <a:cubicBezTo>
                      <a:pt x="308" y="159"/>
                      <a:pt x="309" y="161"/>
                      <a:pt x="309" y="163"/>
                    </a:cubicBezTo>
                    <a:cubicBezTo>
                      <a:pt x="309" y="164"/>
                      <a:pt x="308" y="166"/>
                      <a:pt x="306" y="16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106072" tIns="53034" rIns="106072" bIns="53034" numCol="1" anchor="t" anchorCtr="0" compatLnSpc="1">
                <a:prstTxWarp prst="textNoShape">
                  <a:avLst/>
                </a:prstTxWarp>
              </a:bodyPr>
              <a:lstStyle/>
              <a:p>
                <a:pPr defTabSz="1060737">
                  <a:defRPr/>
                </a:pPr>
                <a:endParaRPr lang="en-US" sz="2088" kern="0">
                  <a:solidFill>
                    <a:prstClr val="black"/>
                  </a:solidFill>
                  <a:latin typeface="Arial"/>
                </a:endParaRPr>
              </a:p>
            </p:txBody>
          </p:sp>
        </p:grpSp>
        <p:grpSp>
          <p:nvGrpSpPr>
            <p:cNvPr id="452" name="Group 37"/>
            <p:cNvGrpSpPr/>
            <p:nvPr/>
          </p:nvGrpSpPr>
          <p:grpSpPr>
            <a:xfrm>
              <a:off x="758945" y="928520"/>
              <a:ext cx="476130" cy="740410"/>
              <a:chOff x="1903412" y="1676400"/>
              <a:chExt cx="1776606" cy="2835299"/>
            </a:xfrm>
          </p:grpSpPr>
          <p:sp>
            <p:nvSpPr>
              <p:cNvPr id="453" name="Freeform 7"/>
              <p:cNvSpPr>
                <a:spLocks/>
              </p:cNvSpPr>
              <p:nvPr/>
            </p:nvSpPr>
            <p:spPr bwMode="auto">
              <a:xfrm>
                <a:off x="2239650" y="1690031"/>
                <a:ext cx="1114733" cy="2809552"/>
              </a:xfrm>
              <a:custGeom>
                <a:avLst/>
                <a:gdLst/>
                <a:ahLst/>
                <a:cxnLst>
                  <a:cxn ang="0">
                    <a:pos x="79" y="0"/>
                  </a:cxn>
                  <a:cxn ang="0">
                    <a:pos x="657" y="0"/>
                  </a:cxn>
                  <a:cxn ang="0">
                    <a:pos x="675" y="2"/>
                  </a:cxn>
                  <a:cxn ang="0">
                    <a:pos x="691" y="8"/>
                  </a:cxn>
                  <a:cxn ang="0">
                    <a:pos x="706" y="17"/>
                  </a:cxn>
                  <a:cxn ang="0">
                    <a:pos x="718" y="29"/>
                  </a:cxn>
                  <a:cxn ang="0">
                    <a:pos x="728" y="44"/>
                  </a:cxn>
                  <a:cxn ang="0">
                    <a:pos x="733" y="60"/>
                  </a:cxn>
                  <a:cxn ang="0">
                    <a:pos x="736" y="79"/>
                  </a:cxn>
                  <a:cxn ang="0">
                    <a:pos x="736" y="1776"/>
                  </a:cxn>
                  <a:cxn ang="0">
                    <a:pos x="733" y="1794"/>
                  </a:cxn>
                  <a:cxn ang="0">
                    <a:pos x="728" y="1811"/>
                  </a:cxn>
                  <a:cxn ang="0">
                    <a:pos x="718" y="1825"/>
                  </a:cxn>
                  <a:cxn ang="0">
                    <a:pos x="706" y="1838"/>
                  </a:cxn>
                  <a:cxn ang="0">
                    <a:pos x="691" y="1847"/>
                  </a:cxn>
                  <a:cxn ang="0">
                    <a:pos x="675" y="1853"/>
                  </a:cxn>
                  <a:cxn ang="0">
                    <a:pos x="657" y="1855"/>
                  </a:cxn>
                  <a:cxn ang="0">
                    <a:pos x="79" y="1855"/>
                  </a:cxn>
                  <a:cxn ang="0">
                    <a:pos x="61" y="1853"/>
                  </a:cxn>
                  <a:cxn ang="0">
                    <a:pos x="44" y="1847"/>
                  </a:cxn>
                  <a:cxn ang="0">
                    <a:pos x="30" y="1838"/>
                  </a:cxn>
                  <a:cxn ang="0">
                    <a:pos x="17" y="1825"/>
                  </a:cxn>
                  <a:cxn ang="0">
                    <a:pos x="8" y="1811"/>
                  </a:cxn>
                  <a:cxn ang="0">
                    <a:pos x="2" y="1794"/>
                  </a:cxn>
                  <a:cxn ang="0">
                    <a:pos x="0" y="1776"/>
                  </a:cxn>
                  <a:cxn ang="0">
                    <a:pos x="0" y="79"/>
                  </a:cxn>
                  <a:cxn ang="0">
                    <a:pos x="2" y="60"/>
                  </a:cxn>
                  <a:cxn ang="0">
                    <a:pos x="8" y="44"/>
                  </a:cxn>
                  <a:cxn ang="0">
                    <a:pos x="17" y="29"/>
                  </a:cxn>
                  <a:cxn ang="0">
                    <a:pos x="30" y="17"/>
                  </a:cxn>
                  <a:cxn ang="0">
                    <a:pos x="44" y="8"/>
                  </a:cxn>
                  <a:cxn ang="0">
                    <a:pos x="61" y="2"/>
                  </a:cxn>
                  <a:cxn ang="0">
                    <a:pos x="79" y="0"/>
                  </a:cxn>
                </a:cxnLst>
                <a:rect l="0" t="0" r="r" b="b"/>
                <a:pathLst>
                  <a:path w="736" h="1855">
                    <a:moveTo>
                      <a:pt x="79" y="0"/>
                    </a:moveTo>
                    <a:lnTo>
                      <a:pt x="657" y="0"/>
                    </a:lnTo>
                    <a:lnTo>
                      <a:pt x="675" y="2"/>
                    </a:lnTo>
                    <a:lnTo>
                      <a:pt x="691" y="8"/>
                    </a:lnTo>
                    <a:lnTo>
                      <a:pt x="706" y="17"/>
                    </a:lnTo>
                    <a:lnTo>
                      <a:pt x="718" y="29"/>
                    </a:lnTo>
                    <a:lnTo>
                      <a:pt x="728" y="44"/>
                    </a:lnTo>
                    <a:lnTo>
                      <a:pt x="733" y="60"/>
                    </a:lnTo>
                    <a:lnTo>
                      <a:pt x="736" y="79"/>
                    </a:lnTo>
                    <a:lnTo>
                      <a:pt x="736" y="1776"/>
                    </a:lnTo>
                    <a:lnTo>
                      <a:pt x="733" y="1794"/>
                    </a:lnTo>
                    <a:lnTo>
                      <a:pt x="728" y="1811"/>
                    </a:lnTo>
                    <a:lnTo>
                      <a:pt x="718" y="1825"/>
                    </a:lnTo>
                    <a:lnTo>
                      <a:pt x="706" y="1838"/>
                    </a:lnTo>
                    <a:lnTo>
                      <a:pt x="691" y="1847"/>
                    </a:lnTo>
                    <a:lnTo>
                      <a:pt x="675" y="1853"/>
                    </a:lnTo>
                    <a:lnTo>
                      <a:pt x="657" y="1855"/>
                    </a:lnTo>
                    <a:lnTo>
                      <a:pt x="79" y="1855"/>
                    </a:lnTo>
                    <a:lnTo>
                      <a:pt x="61" y="1853"/>
                    </a:lnTo>
                    <a:lnTo>
                      <a:pt x="44" y="1847"/>
                    </a:lnTo>
                    <a:lnTo>
                      <a:pt x="30" y="1838"/>
                    </a:lnTo>
                    <a:lnTo>
                      <a:pt x="17" y="1825"/>
                    </a:lnTo>
                    <a:lnTo>
                      <a:pt x="8" y="1811"/>
                    </a:lnTo>
                    <a:lnTo>
                      <a:pt x="2" y="1794"/>
                    </a:lnTo>
                    <a:lnTo>
                      <a:pt x="0" y="1776"/>
                    </a:lnTo>
                    <a:lnTo>
                      <a:pt x="0" y="79"/>
                    </a:lnTo>
                    <a:lnTo>
                      <a:pt x="2" y="60"/>
                    </a:lnTo>
                    <a:lnTo>
                      <a:pt x="8" y="44"/>
                    </a:lnTo>
                    <a:lnTo>
                      <a:pt x="17" y="29"/>
                    </a:lnTo>
                    <a:lnTo>
                      <a:pt x="30" y="17"/>
                    </a:lnTo>
                    <a:lnTo>
                      <a:pt x="44" y="8"/>
                    </a:lnTo>
                    <a:lnTo>
                      <a:pt x="61" y="2"/>
                    </a:lnTo>
                    <a:lnTo>
                      <a:pt x="79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95000"/>
                      <a:lumOff val="5000"/>
                    </a:schemeClr>
                  </a:gs>
                  <a:gs pos="100000">
                    <a:schemeClr val="tx1">
                      <a:lumMod val="75000"/>
                      <a:lumOff val="2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4" name="Freeform 8"/>
              <p:cNvSpPr>
                <a:spLocks noEditPoints="1"/>
              </p:cNvSpPr>
              <p:nvPr/>
            </p:nvSpPr>
            <p:spPr bwMode="auto">
              <a:xfrm>
                <a:off x="2226018" y="1676400"/>
                <a:ext cx="1140482" cy="2835299"/>
              </a:xfrm>
              <a:custGeom>
                <a:avLst/>
                <a:gdLst/>
                <a:ahLst/>
                <a:cxnLst>
                  <a:cxn ang="0">
                    <a:pos x="72" y="19"/>
                  </a:cxn>
                  <a:cxn ang="0">
                    <a:pos x="44" y="33"/>
                  </a:cxn>
                  <a:cxn ang="0">
                    <a:pos x="25" y="56"/>
                  </a:cxn>
                  <a:cxn ang="0">
                    <a:pos x="18" y="88"/>
                  </a:cxn>
                  <a:cxn ang="0">
                    <a:pos x="20" y="1801"/>
                  </a:cxn>
                  <a:cxn ang="0">
                    <a:pos x="33" y="1829"/>
                  </a:cxn>
                  <a:cxn ang="0">
                    <a:pos x="57" y="1848"/>
                  </a:cxn>
                  <a:cxn ang="0">
                    <a:pos x="88" y="1855"/>
                  </a:cxn>
                  <a:cxn ang="0">
                    <a:pos x="682" y="1853"/>
                  </a:cxn>
                  <a:cxn ang="0">
                    <a:pos x="709" y="1840"/>
                  </a:cxn>
                  <a:cxn ang="0">
                    <a:pos x="729" y="1816"/>
                  </a:cxn>
                  <a:cxn ang="0">
                    <a:pos x="735" y="1785"/>
                  </a:cxn>
                  <a:cxn ang="0">
                    <a:pos x="734" y="72"/>
                  </a:cxn>
                  <a:cxn ang="0">
                    <a:pos x="720" y="44"/>
                  </a:cxn>
                  <a:cxn ang="0">
                    <a:pos x="697" y="25"/>
                  </a:cxn>
                  <a:cxn ang="0">
                    <a:pos x="666" y="18"/>
                  </a:cxn>
                  <a:cxn ang="0">
                    <a:pos x="88" y="0"/>
                  </a:cxn>
                  <a:cxn ang="0">
                    <a:pos x="686" y="3"/>
                  </a:cxn>
                  <a:cxn ang="0">
                    <a:pos x="720" y="19"/>
                  </a:cxn>
                  <a:cxn ang="0">
                    <a:pos x="744" y="49"/>
                  </a:cxn>
                  <a:cxn ang="0">
                    <a:pos x="753" y="88"/>
                  </a:cxn>
                  <a:cxn ang="0">
                    <a:pos x="751" y="1805"/>
                  </a:cxn>
                  <a:cxn ang="0">
                    <a:pos x="734" y="1840"/>
                  </a:cxn>
                  <a:cxn ang="0">
                    <a:pos x="704" y="1863"/>
                  </a:cxn>
                  <a:cxn ang="0">
                    <a:pos x="666" y="1872"/>
                  </a:cxn>
                  <a:cxn ang="0">
                    <a:pos x="68" y="1870"/>
                  </a:cxn>
                  <a:cxn ang="0">
                    <a:pos x="33" y="1853"/>
                  </a:cxn>
                  <a:cxn ang="0">
                    <a:pos x="10" y="1824"/>
                  </a:cxn>
                  <a:cxn ang="0">
                    <a:pos x="0" y="1785"/>
                  </a:cxn>
                  <a:cxn ang="0">
                    <a:pos x="3" y="67"/>
                  </a:cxn>
                  <a:cxn ang="0">
                    <a:pos x="20" y="33"/>
                  </a:cxn>
                  <a:cxn ang="0">
                    <a:pos x="50" y="9"/>
                  </a:cxn>
                  <a:cxn ang="0">
                    <a:pos x="88" y="0"/>
                  </a:cxn>
                </a:cxnLst>
                <a:rect l="0" t="0" r="r" b="b"/>
                <a:pathLst>
                  <a:path w="753" h="1872">
                    <a:moveTo>
                      <a:pt x="88" y="18"/>
                    </a:moveTo>
                    <a:lnTo>
                      <a:pt x="72" y="19"/>
                    </a:lnTo>
                    <a:lnTo>
                      <a:pt x="57" y="25"/>
                    </a:lnTo>
                    <a:lnTo>
                      <a:pt x="44" y="33"/>
                    </a:lnTo>
                    <a:lnTo>
                      <a:pt x="33" y="44"/>
                    </a:lnTo>
                    <a:lnTo>
                      <a:pt x="25" y="56"/>
                    </a:lnTo>
                    <a:lnTo>
                      <a:pt x="20" y="72"/>
                    </a:lnTo>
                    <a:lnTo>
                      <a:pt x="18" y="88"/>
                    </a:lnTo>
                    <a:lnTo>
                      <a:pt x="18" y="1785"/>
                    </a:lnTo>
                    <a:lnTo>
                      <a:pt x="20" y="1801"/>
                    </a:lnTo>
                    <a:lnTo>
                      <a:pt x="25" y="1816"/>
                    </a:lnTo>
                    <a:lnTo>
                      <a:pt x="33" y="1829"/>
                    </a:lnTo>
                    <a:lnTo>
                      <a:pt x="44" y="1840"/>
                    </a:lnTo>
                    <a:lnTo>
                      <a:pt x="57" y="1848"/>
                    </a:lnTo>
                    <a:lnTo>
                      <a:pt x="72" y="1853"/>
                    </a:lnTo>
                    <a:lnTo>
                      <a:pt x="88" y="1855"/>
                    </a:lnTo>
                    <a:lnTo>
                      <a:pt x="666" y="1855"/>
                    </a:lnTo>
                    <a:lnTo>
                      <a:pt x="682" y="1853"/>
                    </a:lnTo>
                    <a:lnTo>
                      <a:pt x="697" y="1848"/>
                    </a:lnTo>
                    <a:lnTo>
                      <a:pt x="709" y="1840"/>
                    </a:lnTo>
                    <a:lnTo>
                      <a:pt x="720" y="1829"/>
                    </a:lnTo>
                    <a:lnTo>
                      <a:pt x="729" y="1816"/>
                    </a:lnTo>
                    <a:lnTo>
                      <a:pt x="734" y="1801"/>
                    </a:lnTo>
                    <a:lnTo>
                      <a:pt x="735" y="1785"/>
                    </a:lnTo>
                    <a:lnTo>
                      <a:pt x="735" y="88"/>
                    </a:lnTo>
                    <a:lnTo>
                      <a:pt x="734" y="72"/>
                    </a:lnTo>
                    <a:lnTo>
                      <a:pt x="729" y="56"/>
                    </a:lnTo>
                    <a:lnTo>
                      <a:pt x="720" y="44"/>
                    </a:lnTo>
                    <a:lnTo>
                      <a:pt x="709" y="33"/>
                    </a:lnTo>
                    <a:lnTo>
                      <a:pt x="697" y="25"/>
                    </a:lnTo>
                    <a:lnTo>
                      <a:pt x="682" y="19"/>
                    </a:lnTo>
                    <a:lnTo>
                      <a:pt x="666" y="18"/>
                    </a:lnTo>
                    <a:lnTo>
                      <a:pt x="88" y="18"/>
                    </a:lnTo>
                    <a:close/>
                    <a:moveTo>
                      <a:pt x="88" y="0"/>
                    </a:moveTo>
                    <a:lnTo>
                      <a:pt x="666" y="0"/>
                    </a:lnTo>
                    <a:lnTo>
                      <a:pt x="686" y="3"/>
                    </a:lnTo>
                    <a:lnTo>
                      <a:pt x="704" y="9"/>
                    </a:lnTo>
                    <a:lnTo>
                      <a:pt x="720" y="19"/>
                    </a:lnTo>
                    <a:lnTo>
                      <a:pt x="734" y="33"/>
                    </a:lnTo>
                    <a:lnTo>
                      <a:pt x="744" y="49"/>
                    </a:lnTo>
                    <a:lnTo>
                      <a:pt x="751" y="67"/>
                    </a:lnTo>
                    <a:lnTo>
                      <a:pt x="753" y="88"/>
                    </a:lnTo>
                    <a:lnTo>
                      <a:pt x="753" y="1785"/>
                    </a:lnTo>
                    <a:lnTo>
                      <a:pt x="751" y="1805"/>
                    </a:lnTo>
                    <a:lnTo>
                      <a:pt x="744" y="1824"/>
                    </a:lnTo>
                    <a:lnTo>
                      <a:pt x="734" y="1840"/>
                    </a:lnTo>
                    <a:lnTo>
                      <a:pt x="720" y="1853"/>
                    </a:lnTo>
                    <a:lnTo>
                      <a:pt x="704" y="1863"/>
                    </a:lnTo>
                    <a:lnTo>
                      <a:pt x="686" y="1870"/>
                    </a:lnTo>
                    <a:lnTo>
                      <a:pt x="666" y="1872"/>
                    </a:lnTo>
                    <a:lnTo>
                      <a:pt x="88" y="1872"/>
                    </a:lnTo>
                    <a:lnTo>
                      <a:pt x="68" y="1870"/>
                    </a:lnTo>
                    <a:lnTo>
                      <a:pt x="50" y="1863"/>
                    </a:lnTo>
                    <a:lnTo>
                      <a:pt x="33" y="1853"/>
                    </a:lnTo>
                    <a:lnTo>
                      <a:pt x="20" y="1840"/>
                    </a:lnTo>
                    <a:lnTo>
                      <a:pt x="10" y="1824"/>
                    </a:lnTo>
                    <a:lnTo>
                      <a:pt x="3" y="1805"/>
                    </a:lnTo>
                    <a:lnTo>
                      <a:pt x="0" y="1785"/>
                    </a:lnTo>
                    <a:lnTo>
                      <a:pt x="0" y="88"/>
                    </a:lnTo>
                    <a:lnTo>
                      <a:pt x="3" y="67"/>
                    </a:lnTo>
                    <a:lnTo>
                      <a:pt x="10" y="49"/>
                    </a:lnTo>
                    <a:lnTo>
                      <a:pt x="20" y="33"/>
                    </a:lnTo>
                    <a:lnTo>
                      <a:pt x="33" y="19"/>
                    </a:lnTo>
                    <a:lnTo>
                      <a:pt x="50" y="9"/>
                    </a:lnTo>
                    <a:lnTo>
                      <a:pt x="68" y="3"/>
                    </a:lnTo>
                    <a:lnTo>
                      <a:pt x="88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  <a:shade val="30000"/>
                      <a:satMod val="115000"/>
                    </a:schemeClr>
                  </a:gs>
                  <a:gs pos="50000">
                    <a:schemeClr val="tx1">
                      <a:lumMod val="75000"/>
                      <a:lumOff val="25000"/>
                      <a:shade val="67500"/>
                      <a:satMod val="115000"/>
                    </a:schemeClr>
                  </a:gs>
                  <a:gs pos="100000">
                    <a:schemeClr val="tx1">
                      <a:lumMod val="75000"/>
                      <a:lumOff val="2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5" name="Freeform 24"/>
              <p:cNvSpPr>
                <a:spLocks/>
              </p:cNvSpPr>
              <p:nvPr/>
            </p:nvSpPr>
            <p:spPr bwMode="auto">
              <a:xfrm>
                <a:off x="1903412" y="1853606"/>
                <a:ext cx="322607" cy="75880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3" y="0"/>
                  </a:cxn>
                  <a:cxn ang="0">
                    <a:pos x="213" y="501"/>
                  </a:cxn>
                  <a:cxn ang="0">
                    <a:pos x="163" y="501"/>
                  </a:cxn>
                  <a:cxn ang="0">
                    <a:pos x="163" y="250"/>
                  </a:cxn>
                  <a:cxn ang="0">
                    <a:pos x="0" y="0"/>
                  </a:cxn>
                </a:cxnLst>
                <a:rect l="0" t="0" r="r" b="b"/>
                <a:pathLst>
                  <a:path w="213" h="501">
                    <a:moveTo>
                      <a:pt x="0" y="0"/>
                    </a:moveTo>
                    <a:lnTo>
                      <a:pt x="213" y="0"/>
                    </a:lnTo>
                    <a:lnTo>
                      <a:pt x="213" y="501"/>
                    </a:lnTo>
                    <a:lnTo>
                      <a:pt x="163" y="501"/>
                    </a:lnTo>
                    <a:lnTo>
                      <a:pt x="163" y="25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6" name="Freeform 25"/>
              <p:cNvSpPr>
                <a:spLocks/>
              </p:cNvSpPr>
              <p:nvPr/>
            </p:nvSpPr>
            <p:spPr bwMode="auto">
              <a:xfrm>
                <a:off x="1903412" y="2724491"/>
                <a:ext cx="322607" cy="75880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3" y="0"/>
                  </a:cxn>
                  <a:cxn ang="0">
                    <a:pos x="213" y="501"/>
                  </a:cxn>
                  <a:cxn ang="0">
                    <a:pos x="163" y="501"/>
                  </a:cxn>
                  <a:cxn ang="0">
                    <a:pos x="163" y="250"/>
                  </a:cxn>
                  <a:cxn ang="0">
                    <a:pos x="0" y="0"/>
                  </a:cxn>
                </a:cxnLst>
                <a:rect l="0" t="0" r="r" b="b"/>
                <a:pathLst>
                  <a:path w="213" h="501">
                    <a:moveTo>
                      <a:pt x="0" y="0"/>
                    </a:moveTo>
                    <a:lnTo>
                      <a:pt x="213" y="0"/>
                    </a:lnTo>
                    <a:lnTo>
                      <a:pt x="213" y="501"/>
                    </a:lnTo>
                    <a:lnTo>
                      <a:pt x="163" y="501"/>
                    </a:lnTo>
                    <a:lnTo>
                      <a:pt x="163" y="25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7" name="Freeform 26"/>
              <p:cNvSpPr>
                <a:spLocks/>
              </p:cNvSpPr>
              <p:nvPr/>
            </p:nvSpPr>
            <p:spPr bwMode="auto">
              <a:xfrm>
                <a:off x="1903412" y="3554483"/>
                <a:ext cx="322607" cy="75729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3" y="0"/>
                  </a:cxn>
                  <a:cxn ang="0">
                    <a:pos x="213" y="500"/>
                  </a:cxn>
                  <a:cxn ang="0">
                    <a:pos x="163" y="500"/>
                  </a:cxn>
                  <a:cxn ang="0">
                    <a:pos x="163" y="250"/>
                  </a:cxn>
                  <a:cxn ang="0">
                    <a:pos x="0" y="0"/>
                  </a:cxn>
                </a:cxnLst>
                <a:rect l="0" t="0" r="r" b="b"/>
                <a:pathLst>
                  <a:path w="213" h="500">
                    <a:moveTo>
                      <a:pt x="0" y="0"/>
                    </a:moveTo>
                    <a:lnTo>
                      <a:pt x="213" y="0"/>
                    </a:lnTo>
                    <a:lnTo>
                      <a:pt x="213" y="500"/>
                    </a:lnTo>
                    <a:lnTo>
                      <a:pt x="163" y="500"/>
                    </a:lnTo>
                    <a:lnTo>
                      <a:pt x="163" y="25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8" name="Freeform 27"/>
              <p:cNvSpPr>
                <a:spLocks/>
              </p:cNvSpPr>
              <p:nvPr/>
            </p:nvSpPr>
            <p:spPr bwMode="auto">
              <a:xfrm>
                <a:off x="3358926" y="1853606"/>
                <a:ext cx="321092" cy="75880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2" y="0"/>
                  </a:cxn>
                  <a:cxn ang="0">
                    <a:pos x="50" y="250"/>
                  </a:cxn>
                  <a:cxn ang="0">
                    <a:pos x="50" y="501"/>
                  </a:cxn>
                  <a:cxn ang="0">
                    <a:pos x="0" y="501"/>
                  </a:cxn>
                  <a:cxn ang="0">
                    <a:pos x="0" y="0"/>
                  </a:cxn>
                </a:cxnLst>
                <a:rect l="0" t="0" r="r" b="b"/>
                <a:pathLst>
                  <a:path w="212" h="501">
                    <a:moveTo>
                      <a:pt x="0" y="0"/>
                    </a:moveTo>
                    <a:lnTo>
                      <a:pt x="212" y="0"/>
                    </a:lnTo>
                    <a:lnTo>
                      <a:pt x="50" y="250"/>
                    </a:lnTo>
                    <a:lnTo>
                      <a:pt x="50" y="501"/>
                    </a:lnTo>
                    <a:lnTo>
                      <a:pt x="0" y="501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9" name="Freeform 28"/>
              <p:cNvSpPr>
                <a:spLocks/>
              </p:cNvSpPr>
              <p:nvPr/>
            </p:nvSpPr>
            <p:spPr bwMode="auto">
              <a:xfrm>
                <a:off x="3358926" y="2724491"/>
                <a:ext cx="321092" cy="75880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2" y="0"/>
                  </a:cxn>
                  <a:cxn ang="0">
                    <a:pos x="50" y="250"/>
                  </a:cxn>
                  <a:cxn ang="0">
                    <a:pos x="50" y="501"/>
                  </a:cxn>
                  <a:cxn ang="0">
                    <a:pos x="0" y="501"/>
                  </a:cxn>
                  <a:cxn ang="0">
                    <a:pos x="0" y="0"/>
                  </a:cxn>
                </a:cxnLst>
                <a:rect l="0" t="0" r="r" b="b"/>
                <a:pathLst>
                  <a:path w="212" h="501">
                    <a:moveTo>
                      <a:pt x="0" y="0"/>
                    </a:moveTo>
                    <a:lnTo>
                      <a:pt x="212" y="0"/>
                    </a:lnTo>
                    <a:lnTo>
                      <a:pt x="50" y="250"/>
                    </a:lnTo>
                    <a:lnTo>
                      <a:pt x="50" y="501"/>
                    </a:lnTo>
                    <a:lnTo>
                      <a:pt x="0" y="501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60" name="Freeform 29"/>
              <p:cNvSpPr>
                <a:spLocks/>
              </p:cNvSpPr>
              <p:nvPr/>
            </p:nvSpPr>
            <p:spPr bwMode="auto">
              <a:xfrm>
                <a:off x="3358926" y="3554483"/>
                <a:ext cx="321092" cy="75729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2" y="0"/>
                  </a:cxn>
                  <a:cxn ang="0">
                    <a:pos x="50" y="250"/>
                  </a:cxn>
                  <a:cxn ang="0">
                    <a:pos x="50" y="500"/>
                  </a:cxn>
                  <a:cxn ang="0">
                    <a:pos x="0" y="500"/>
                  </a:cxn>
                  <a:cxn ang="0">
                    <a:pos x="0" y="0"/>
                  </a:cxn>
                </a:cxnLst>
                <a:rect l="0" t="0" r="r" b="b"/>
                <a:pathLst>
                  <a:path w="212" h="500">
                    <a:moveTo>
                      <a:pt x="0" y="0"/>
                    </a:moveTo>
                    <a:lnTo>
                      <a:pt x="212" y="0"/>
                    </a:lnTo>
                    <a:lnTo>
                      <a:pt x="50" y="250"/>
                    </a:lnTo>
                    <a:lnTo>
                      <a:pt x="50" y="500"/>
                    </a:lnTo>
                    <a:lnTo>
                      <a:pt x="0" y="50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grpSp>
            <p:nvGrpSpPr>
              <p:cNvPr id="461" name="Group 33"/>
              <p:cNvGrpSpPr/>
              <p:nvPr/>
            </p:nvGrpSpPr>
            <p:grpSpPr>
              <a:xfrm>
                <a:off x="2442604" y="1894500"/>
                <a:ext cx="708825" cy="707311"/>
                <a:chOff x="5722938" y="1676401"/>
                <a:chExt cx="742950" cy="741363"/>
              </a:xfrm>
              <a:effectLst>
                <a:outerShdw blurRad="38100" dist="63500" dir="2700000" algn="tl" rotWithShape="0">
                  <a:prstClr val="black">
                    <a:alpha val="99000"/>
                  </a:prstClr>
                </a:outerShdw>
              </a:effectLst>
            </p:grpSpPr>
            <p:sp>
              <p:nvSpPr>
                <p:cNvPr id="468" name="Freeform 17"/>
                <p:cNvSpPr>
                  <a:spLocks/>
                </p:cNvSpPr>
                <p:nvPr/>
              </p:nvSpPr>
              <p:spPr bwMode="auto">
                <a:xfrm>
                  <a:off x="5722938" y="1676401"/>
                  <a:ext cx="742950" cy="741363"/>
                </a:xfrm>
                <a:custGeom>
                  <a:avLst/>
                  <a:gdLst/>
                  <a:ahLst/>
                  <a:cxnLst>
                    <a:cxn ang="0">
                      <a:pos x="234" y="0"/>
                    </a:cxn>
                    <a:cxn ang="0">
                      <a:pos x="266" y="2"/>
                    </a:cxn>
                    <a:cxn ang="0">
                      <a:pos x="296" y="8"/>
                    </a:cxn>
                    <a:cxn ang="0">
                      <a:pos x="325" y="18"/>
                    </a:cxn>
                    <a:cxn ang="0">
                      <a:pos x="352" y="32"/>
                    </a:cxn>
                    <a:cxn ang="0">
                      <a:pos x="377" y="48"/>
                    </a:cxn>
                    <a:cxn ang="0">
                      <a:pos x="400" y="68"/>
                    </a:cxn>
                    <a:cxn ang="0">
                      <a:pos x="420" y="90"/>
                    </a:cxn>
                    <a:cxn ang="0">
                      <a:pos x="436" y="115"/>
                    </a:cxn>
                    <a:cxn ang="0">
                      <a:pos x="450" y="142"/>
                    </a:cxn>
                    <a:cxn ang="0">
                      <a:pos x="460" y="171"/>
                    </a:cxn>
                    <a:cxn ang="0">
                      <a:pos x="466" y="201"/>
                    </a:cxn>
                    <a:cxn ang="0">
                      <a:pos x="468" y="233"/>
                    </a:cxn>
                    <a:cxn ang="0">
                      <a:pos x="466" y="265"/>
                    </a:cxn>
                    <a:cxn ang="0">
                      <a:pos x="460" y="295"/>
                    </a:cxn>
                    <a:cxn ang="0">
                      <a:pos x="450" y="324"/>
                    </a:cxn>
                    <a:cxn ang="0">
                      <a:pos x="436" y="351"/>
                    </a:cxn>
                    <a:cxn ang="0">
                      <a:pos x="420" y="376"/>
                    </a:cxn>
                    <a:cxn ang="0">
                      <a:pos x="400" y="399"/>
                    </a:cxn>
                    <a:cxn ang="0">
                      <a:pos x="377" y="418"/>
                    </a:cxn>
                    <a:cxn ang="0">
                      <a:pos x="352" y="435"/>
                    </a:cxn>
                    <a:cxn ang="0">
                      <a:pos x="325" y="449"/>
                    </a:cxn>
                    <a:cxn ang="0">
                      <a:pos x="296" y="459"/>
                    </a:cxn>
                    <a:cxn ang="0">
                      <a:pos x="266" y="465"/>
                    </a:cxn>
                    <a:cxn ang="0">
                      <a:pos x="234" y="467"/>
                    </a:cxn>
                    <a:cxn ang="0">
                      <a:pos x="202" y="465"/>
                    </a:cxn>
                    <a:cxn ang="0">
                      <a:pos x="171" y="459"/>
                    </a:cxn>
                    <a:cxn ang="0">
                      <a:pos x="142" y="449"/>
                    </a:cxn>
                    <a:cxn ang="0">
                      <a:pos x="116" y="435"/>
                    </a:cxn>
                    <a:cxn ang="0">
                      <a:pos x="91" y="418"/>
                    </a:cxn>
                    <a:cxn ang="0">
                      <a:pos x="68" y="399"/>
                    </a:cxn>
                    <a:cxn ang="0">
                      <a:pos x="49" y="376"/>
                    </a:cxn>
                    <a:cxn ang="0">
                      <a:pos x="32" y="351"/>
                    </a:cxn>
                    <a:cxn ang="0">
                      <a:pos x="18" y="324"/>
                    </a:cxn>
                    <a:cxn ang="0">
                      <a:pos x="8" y="295"/>
                    </a:cxn>
                    <a:cxn ang="0">
                      <a:pos x="2" y="265"/>
                    </a:cxn>
                    <a:cxn ang="0">
                      <a:pos x="0" y="233"/>
                    </a:cxn>
                    <a:cxn ang="0">
                      <a:pos x="2" y="201"/>
                    </a:cxn>
                    <a:cxn ang="0">
                      <a:pos x="8" y="171"/>
                    </a:cxn>
                    <a:cxn ang="0">
                      <a:pos x="18" y="142"/>
                    </a:cxn>
                    <a:cxn ang="0">
                      <a:pos x="32" y="115"/>
                    </a:cxn>
                    <a:cxn ang="0">
                      <a:pos x="49" y="90"/>
                    </a:cxn>
                    <a:cxn ang="0">
                      <a:pos x="68" y="68"/>
                    </a:cxn>
                    <a:cxn ang="0">
                      <a:pos x="91" y="48"/>
                    </a:cxn>
                    <a:cxn ang="0">
                      <a:pos x="116" y="32"/>
                    </a:cxn>
                    <a:cxn ang="0">
                      <a:pos x="142" y="18"/>
                    </a:cxn>
                    <a:cxn ang="0">
                      <a:pos x="171" y="8"/>
                    </a:cxn>
                    <a:cxn ang="0">
                      <a:pos x="202" y="2"/>
                    </a:cxn>
                    <a:cxn ang="0">
                      <a:pos x="234" y="0"/>
                    </a:cxn>
                  </a:cxnLst>
                  <a:rect l="0" t="0" r="r" b="b"/>
                  <a:pathLst>
                    <a:path w="468" h="467">
                      <a:moveTo>
                        <a:pt x="234" y="0"/>
                      </a:moveTo>
                      <a:lnTo>
                        <a:pt x="266" y="2"/>
                      </a:lnTo>
                      <a:lnTo>
                        <a:pt x="296" y="8"/>
                      </a:lnTo>
                      <a:lnTo>
                        <a:pt x="325" y="18"/>
                      </a:lnTo>
                      <a:lnTo>
                        <a:pt x="352" y="32"/>
                      </a:lnTo>
                      <a:lnTo>
                        <a:pt x="377" y="48"/>
                      </a:lnTo>
                      <a:lnTo>
                        <a:pt x="400" y="68"/>
                      </a:lnTo>
                      <a:lnTo>
                        <a:pt x="420" y="90"/>
                      </a:lnTo>
                      <a:lnTo>
                        <a:pt x="436" y="115"/>
                      </a:lnTo>
                      <a:lnTo>
                        <a:pt x="450" y="142"/>
                      </a:lnTo>
                      <a:lnTo>
                        <a:pt x="460" y="171"/>
                      </a:lnTo>
                      <a:lnTo>
                        <a:pt x="466" y="201"/>
                      </a:lnTo>
                      <a:lnTo>
                        <a:pt x="468" y="233"/>
                      </a:lnTo>
                      <a:lnTo>
                        <a:pt x="466" y="265"/>
                      </a:lnTo>
                      <a:lnTo>
                        <a:pt x="460" y="295"/>
                      </a:lnTo>
                      <a:lnTo>
                        <a:pt x="450" y="324"/>
                      </a:lnTo>
                      <a:lnTo>
                        <a:pt x="436" y="351"/>
                      </a:lnTo>
                      <a:lnTo>
                        <a:pt x="420" y="376"/>
                      </a:lnTo>
                      <a:lnTo>
                        <a:pt x="400" y="399"/>
                      </a:lnTo>
                      <a:lnTo>
                        <a:pt x="377" y="418"/>
                      </a:lnTo>
                      <a:lnTo>
                        <a:pt x="352" y="435"/>
                      </a:lnTo>
                      <a:lnTo>
                        <a:pt x="325" y="449"/>
                      </a:lnTo>
                      <a:lnTo>
                        <a:pt x="296" y="459"/>
                      </a:lnTo>
                      <a:lnTo>
                        <a:pt x="266" y="465"/>
                      </a:lnTo>
                      <a:lnTo>
                        <a:pt x="234" y="467"/>
                      </a:lnTo>
                      <a:lnTo>
                        <a:pt x="202" y="465"/>
                      </a:lnTo>
                      <a:lnTo>
                        <a:pt x="171" y="459"/>
                      </a:lnTo>
                      <a:lnTo>
                        <a:pt x="142" y="449"/>
                      </a:lnTo>
                      <a:lnTo>
                        <a:pt x="116" y="435"/>
                      </a:lnTo>
                      <a:lnTo>
                        <a:pt x="91" y="418"/>
                      </a:lnTo>
                      <a:lnTo>
                        <a:pt x="68" y="399"/>
                      </a:lnTo>
                      <a:lnTo>
                        <a:pt x="49" y="376"/>
                      </a:lnTo>
                      <a:lnTo>
                        <a:pt x="32" y="351"/>
                      </a:lnTo>
                      <a:lnTo>
                        <a:pt x="18" y="324"/>
                      </a:lnTo>
                      <a:lnTo>
                        <a:pt x="8" y="295"/>
                      </a:lnTo>
                      <a:lnTo>
                        <a:pt x="2" y="265"/>
                      </a:lnTo>
                      <a:lnTo>
                        <a:pt x="0" y="233"/>
                      </a:lnTo>
                      <a:lnTo>
                        <a:pt x="2" y="201"/>
                      </a:lnTo>
                      <a:lnTo>
                        <a:pt x="8" y="171"/>
                      </a:lnTo>
                      <a:lnTo>
                        <a:pt x="18" y="142"/>
                      </a:lnTo>
                      <a:lnTo>
                        <a:pt x="32" y="115"/>
                      </a:lnTo>
                      <a:lnTo>
                        <a:pt x="49" y="90"/>
                      </a:lnTo>
                      <a:lnTo>
                        <a:pt x="68" y="68"/>
                      </a:lnTo>
                      <a:lnTo>
                        <a:pt x="91" y="48"/>
                      </a:lnTo>
                      <a:lnTo>
                        <a:pt x="116" y="32"/>
                      </a:lnTo>
                      <a:lnTo>
                        <a:pt x="142" y="18"/>
                      </a:lnTo>
                      <a:lnTo>
                        <a:pt x="171" y="8"/>
                      </a:lnTo>
                      <a:lnTo>
                        <a:pt x="202" y="2"/>
                      </a:lnTo>
                      <a:lnTo>
                        <a:pt x="234" y="0"/>
                      </a:lnTo>
                      <a:close/>
                    </a:path>
                  </a:pathLst>
                </a:custGeom>
                <a:noFill/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128302" tIns="64151" rIns="128302" bIns="6415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710448"/>
                  <a:endParaRPr lang="en-US" sz="3368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469" name="Freeform 18"/>
                <p:cNvSpPr>
                  <a:spLocks/>
                </p:cNvSpPr>
                <p:nvPr/>
              </p:nvSpPr>
              <p:spPr bwMode="auto">
                <a:xfrm>
                  <a:off x="5746750" y="2032001"/>
                  <a:ext cx="695325" cy="36036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" y="31"/>
                    </a:cxn>
                    <a:cxn ang="0">
                      <a:pos x="12" y="61"/>
                    </a:cxn>
                    <a:cxn ang="0">
                      <a:pos x="23" y="89"/>
                    </a:cxn>
                    <a:cxn ang="0">
                      <a:pos x="38" y="115"/>
                    </a:cxn>
                    <a:cxn ang="0">
                      <a:pos x="56" y="138"/>
                    </a:cxn>
                    <a:cxn ang="0">
                      <a:pos x="78" y="159"/>
                    </a:cxn>
                    <a:cxn ang="0">
                      <a:pos x="102" y="176"/>
                    </a:cxn>
                    <a:cxn ang="0">
                      <a:pos x="128" y="190"/>
                    </a:cxn>
                    <a:cxn ang="0">
                      <a:pos x="157" y="200"/>
                    </a:cxn>
                    <a:cxn ang="0">
                      <a:pos x="187" y="207"/>
                    </a:cxn>
                    <a:cxn ang="0">
                      <a:pos x="219" y="209"/>
                    </a:cxn>
                    <a:cxn ang="0">
                      <a:pos x="250" y="207"/>
                    </a:cxn>
                    <a:cxn ang="0">
                      <a:pos x="280" y="200"/>
                    </a:cxn>
                    <a:cxn ang="0">
                      <a:pos x="309" y="190"/>
                    </a:cxn>
                    <a:cxn ang="0">
                      <a:pos x="335" y="176"/>
                    </a:cxn>
                    <a:cxn ang="0">
                      <a:pos x="360" y="159"/>
                    </a:cxn>
                    <a:cxn ang="0">
                      <a:pos x="381" y="138"/>
                    </a:cxn>
                    <a:cxn ang="0">
                      <a:pos x="399" y="115"/>
                    </a:cxn>
                    <a:cxn ang="0">
                      <a:pos x="414" y="89"/>
                    </a:cxn>
                    <a:cxn ang="0">
                      <a:pos x="426" y="61"/>
                    </a:cxn>
                    <a:cxn ang="0">
                      <a:pos x="433" y="31"/>
                    </a:cxn>
                    <a:cxn ang="0">
                      <a:pos x="437" y="0"/>
                    </a:cxn>
                    <a:cxn ang="0">
                      <a:pos x="437" y="3"/>
                    </a:cxn>
                    <a:cxn ang="0">
                      <a:pos x="438" y="6"/>
                    </a:cxn>
                    <a:cxn ang="0">
                      <a:pos x="438" y="8"/>
                    </a:cxn>
                    <a:cxn ang="0">
                      <a:pos x="436" y="41"/>
                    </a:cxn>
                    <a:cxn ang="0">
                      <a:pos x="429" y="71"/>
                    </a:cxn>
                    <a:cxn ang="0">
                      <a:pos x="417" y="100"/>
                    </a:cxn>
                    <a:cxn ang="0">
                      <a:pos x="403" y="127"/>
                    </a:cxn>
                    <a:cxn ang="0">
                      <a:pos x="384" y="152"/>
                    </a:cxn>
                    <a:cxn ang="0">
                      <a:pos x="363" y="173"/>
                    </a:cxn>
                    <a:cxn ang="0">
                      <a:pos x="338" y="192"/>
                    </a:cxn>
                    <a:cxn ang="0">
                      <a:pos x="311" y="206"/>
                    </a:cxn>
                    <a:cxn ang="0">
                      <a:pos x="282" y="218"/>
                    </a:cxn>
                    <a:cxn ang="0">
                      <a:pos x="251" y="225"/>
                    </a:cxn>
                    <a:cxn ang="0">
                      <a:pos x="219" y="227"/>
                    </a:cxn>
                    <a:cxn ang="0">
                      <a:pos x="186" y="225"/>
                    </a:cxn>
                    <a:cxn ang="0">
                      <a:pos x="155" y="218"/>
                    </a:cxn>
                    <a:cxn ang="0">
                      <a:pos x="127" y="206"/>
                    </a:cxn>
                    <a:cxn ang="0">
                      <a:pos x="100" y="192"/>
                    </a:cxn>
                    <a:cxn ang="0">
                      <a:pos x="76" y="173"/>
                    </a:cxn>
                    <a:cxn ang="0">
                      <a:pos x="53" y="152"/>
                    </a:cxn>
                    <a:cxn ang="0">
                      <a:pos x="35" y="127"/>
                    </a:cxn>
                    <a:cxn ang="0">
                      <a:pos x="21" y="100"/>
                    </a:cxn>
                    <a:cxn ang="0">
                      <a:pos x="9" y="71"/>
                    </a:cxn>
                    <a:cxn ang="0">
                      <a:pos x="2" y="41"/>
                    </a:cxn>
                    <a:cxn ang="0">
                      <a:pos x="0" y="8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38" h="227">
                      <a:moveTo>
                        <a:pt x="0" y="0"/>
                      </a:moveTo>
                      <a:lnTo>
                        <a:pt x="4" y="31"/>
                      </a:lnTo>
                      <a:lnTo>
                        <a:pt x="12" y="61"/>
                      </a:lnTo>
                      <a:lnTo>
                        <a:pt x="23" y="89"/>
                      </a:lnTo>
                      <a:lnTo>
                        <a:pt x="38" y="115"/>
                      </a:lnTo>
                      <a:lnTo>
                        <a:pt x="56" y="138"/>
                      </a:lnTo>
                      <a:lnTo>
                        <a:pt x="78" y="159"/>
                      </a:lnTo>
                      <a:lnTo>
                        <a:pt x="102" y="176"/>
                      </a:lnTo>
                      <a:lnTo>
                        <a:pt x="128" y="190"/>
                      </a:lnTo>
                      <a:lnTo>
                        <a:pt x="157" y="200"/>
                      </a:lnTo>
                      <a:lnTo>
                        <a:pt x="187" y="207"/>
                      </a:lnTo>
                      <a:lnTo>
                        <a:pt x="219" y="209"/>
                      </a:lnTo>
                      <a:lnTo>
                        <a:pt x="250" y="207"/>
                      </a:lnTo>
                      <a:lnTo>
                        <a:pt x="280" y="200"/>
                      </a:lnTo>
                      <a:lnTo>
                        <a:pt x="309" y="190"/>
                      </a:lnTo>
                      <a:lnTo>
                        <a:pt x="335" y="176"/>
                      </a:lnTo>
                      <a:lnTo>
                        <a:pt x="360" y="159"/>
                      </a:lnTo>
                      <a:lnTo>
                        <a:pt x="381" y="138"/>
                      </a:lnTo>
                      <a:lnTo>
                        <a:pt x="399" y="115"/>
                      </a:lnTo>
                      <a:lnTo>
                        <a:pt x="414" y="89"/>
                      </a:lnTo>
                      <a:lnTo>
                        <a:pt x="426" y="61"/>
                      </a:lnTo>
                      <a:lnTo>
                        <a:pt x="433" y="31"/>
                      </a:lnTo>
                      <a:lnTo>
                        <a:pt x="437" y="0"/>
                      </a:lnTo>
                      <a:lnTo>
                        <a:pt x="437" y="3"/>
                      </a:lnTo>
                      <a:lnTo>
                        <a:pt x="438" y="6"/>
                      </a:lnTo>
                      <a:lnTo>
                        <a:pt x="438" y="8"/>
                      </a:lnTo>
                      <a:lnTo>
                        <a:pt x="436" y="41"/>
                      </a:lnTo>
                      <a:lnTo>
                        <a:pt x="429" y="71"/>
                      </a:lnTo>
                      <a:lnTo>
                        <a:pt x="417" y="100"/>
                      </a:lnTo>
                      <a:lnTo>
                        <a:pt x="403" y="127"/>
                      </a:lnTo>
                      <a:lnTo>
                        <a:pt x="384" y="152"/>
                      </a:lnTo>
                      <a:lnTo>
                        <a:pt x="363" y="173"/>
                      </a:lnTo>
                      <a:lnTo>
                        <a:pt x="338" y="192"/>
                      </a:lnTo>
                      <a:lnTo>
                        <a:pt x="311" y="206"/>
                      </a:lnTo>
                      <a:lnTo>
                        <a:pt x="282" y="218"/>
                      </a:lnTo>
                      <a:lnTo>
                        <a:pt x="251" y="225"/>
                      </a:lnTo>
                      <a:lnTo>
                        <a:pt x="219" y="227"/>
                      </a:lnTo>
                      <a:lnTo>
                        <a:pt x="186" y="225"/>
                      </a:lnTo>
                      <a:lnTo>
                        <a:pt x="155" y="218"/>
                      </a:lnTo>
                      <a:lnTo>
                        <a:pt x="127" y="206"/>
                      </a:lnTo>
                      <a:lnTo>
                        <a:pt x="100" y="192"/>
                      </a:lnTo>
                      <a:lnTo>
                        <a:pt x="76" y="173"/>
                      </a:lnTo>
                      <a:lnTo>
                        <a:pt x="53" y="152"/>
                      </a:lnTo>
                      <a:lnTo>
                        <a:pt x="35" y="127"/>
                      </a:lnTo>
                      <a:lnTo>
                        <a:pt x="21" y="100"/>
                      </a:lnTo>
                      <a:lnTo>
                        <a:pt x="9" y="71"/>
                      </a:lnTo>
                      <a:lnTo>
                        <a:pt x="2" y="41"/>
                      </a:ln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>
                    <a:alpha val="33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128302" tIns="64151" rIns="128302" bIns="6415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710448"/>
                  <a:endParaRPr lang="en-US" sz="3368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462" name="Group 34"/>
              <p:cNvGrpSpPr/>
              <p:nvPr/>
            </p:nvGrpSpPr>
            <p:grpSpPr>
              <a:xfrm>
                <a:off x="2442610" y="2756294"/>
                <a:ext cx="708826" cy="707313"/>
                <a:chOff x="5722937" y="2579688"/>
                <a:chExt cx="742950" cy="741365"/>
              </a:xfrm>
              <a:effectLst>
                <a:outerShdw blurRad="38100" dist="63500" dir="2700000" algn="tl" rotWithShape="0">
                  <a:prstClr val="black">
                    <a:alpha val="99000"/>
                  </a:prstClr>
                </a:outerShdw>
              </a:effectLst>
            </p:grpSpPr>
            <p:sp>
              <p:nvSpPr>
                <p:cNvPr id="466" name="Freeform 13"/>
                <p:cNvSpPr>
                  <a:spLocks/>
                </p:cNvSpPr>
                <p:nvPr/>
              </p:nvSpPr>
              <p:spPr bwMode="auto">
                <a:xfrm>
                  <a:off x="5722937" y="2579688"/>
                  <a:ext cx="742950" cy="741365"/>
                </a:xfrm>
                <a:custGeom>
                  <a:avLst/>
                  <a:gdLst/>
                  <a:ahLst/>
                  <a:cxnLst>
                    <a:cxn ang="0">
                      <a:pos x="234" y="0"/>
                    </a:cxn>
                    <a:cxn ang="0">
                      <a:pos x="266" y="2"/>
                    </a:cxn>
                    <a:cxn ang="0">
                      <a:pos x="296" y="8"/>
                    </a:cxn>
                    <a:cxn ang="0">
                      <a:pos x="325" y="18"/>
                    </a:cxn>
                    <a:cxn ang="0">
                      <a:pos x="352" y="32"/>
                    </a:cxn>
                    <a:cxn ang="0">
                      <a:pos x="377" y="48"/>
                    </a:cxn>
                    <a:cxn ang="0">
                      <a:pos x="400" y="68"/>
                    </a:cxn>
                    <a:cxn ang="0">
                      <a:pos x="420" y="90"/>
                    </a:cxn>
                    <a:cxn ang="0">
                      <a:pos x="436" y="115"/>
                    </a:cxn>
                    <a:cxn ang="0">
                      <a:pos x="450" y="142"/>
                    </a:cxn>
                    <a:cxn ang="0">
                      <a:pos x="460" y="171"/>
                    </a:cxn>
                    <a:cxn ang="0">
                      <a:pos x="466" y="201"/>
                    </a:cxn>
                    <a:cxn ang="0">
                      <a:pos x="468" y="233"/>
                    </a:cxn>
                    <a:cxn ang="0">
                      <a:pos x="466" y="265"/>
                    </a:cxn>
                    <a:cxn ang="0">
                      <a:pos x="460" y="295"/>
                    </a:cxn>
                    <a:cxn ang="0">
                      <a:pos x="450" y="324"/>
                    </a:cxn>
                    <a:cxn ang="0">
                      <a:pos x="436" y="351"/>
                    </a:cxn>
                    <a:cxn ang="0">
                      <a:pos x="420" y="376"/>
                    </a:cxn>
                    <a:cxn ang="0">
                      <a:pos x="400" y="398"/>
                    </a:cxn>
                    <a:cxn ang="0">
                      <a:pos x="377" y="418"/>
                    </a:cxn>
                    <a:cxn ang="0">
                      <a:pos x="352" y="435"/>
                    </a:cxn>
                    <a:cxn ang="0">
                      <a:pos x="325" y="448"/>
                    </a:cxn>
                    <a:cxn ang="0">
                      <a:pos x="296" y="458"/>
                    </a:cxn>
                    <a:cxn ang="0">
                      <a:pos x="266" y="464"/>
                    </a:cxn>
                    <a:cxn ang="0">
                      <a:pos x="234" y="467"/>
                    </a:cxn>
                    <a:cxn ang="0">
                      <a:pos x="202" y="464"/>
                    </a:cxn>
                    <a:cxn ang="0">
                      <a:pos x="171" y="458"/>
                    </a:cxn>
                    <a:cxn ang="0">
                      <a:pos x="142" y="448"/>
                    </a:cxn>
                    <a:cxn ang="0">
                      <a:pos x="116" y="435"/>
                    </a:cxn>
                    <a:cxn ang="0">
                      <a:pos x="91" y="418"/>
                    </a:cxn>
                    <a:cxn ang="0">
                      <a:pos x="68" y="398"/>
                    </a:cxn>
                    <a:cxn ang="0">
                      <a:pos x="49" y="376"/>
                    </a:cxn>
                    <a:cxn ang="0">
                      <a:pos x="32" y="351"/>
                    </a:cxn>
                    <a:cxn ang="0">
                      <a:pos x="18" y="324"/>
                    </a:cxn>
                    <a:cxn ang="0">
                      <a:pos x="8" y="295"/>
                    </a:cxn>
                    <a:cxn ang="0">
                      <a:pos x="2" y="265"/>
                    </a:cxn>
                    <a:cxn ang="0">
                      <a:pos x="0" y="233"/>
                    </a:cxn>
                    <a:cxn ang="0">
                      <a:pos x="2" y="201"/>
                    </a:cxn>
                    <a:cxn ang="0">
                      <a:pos x="8" y="171"/>
                    </a:cxn>
                    <a:cxn ang="0">
                      <a:pos x="18" y="142"/>
                    </a:cxn>
                    <a:cxn ang="0">
                      <a:pos x="32" y="115"/>
                    </a:cxn>
                    <a:cxn ang="0">
                      <a:pos x="49" y="90"/>
                    </a:cxn>
                    <a:cxn ang="0">
                      <a:pos x="68" y="68"/>
                    </a:cxn>
                    <a:cxn ang="0">
                      <a:pos x="91" y="48"/>
                    </a:cxn>
                    <a:cxn ang="0">
                      <a:pos x="116" y="32"/>
                    </a:cxn>
                    <a:cxn ang="0">
                      <a:pos x="142" y="18"/>
                    </a:cxn>
                    <a:cxn ang="0">
                      <a:pos x="171" y="8"/>
                    </a:cxn>
                    <a:cxn ang="0">
                      <a:pos x="202" y="2"/>
                    </a:cxn>
                    <a:cxn ang="0">
                      <a:pos x="234" y="0"/>
                    </a:cxn>
                  </a:cxnLst>
                  <a:rect l="0" t="0" r="r" b="b"/>
                  <a:pathLst>
                    <a:path w="468" h="467">
                      <a:moveTo>
                        <a:pt x="234" y="0"/>
                      </a:moveTo>
                      <a:lnTo>
                        <a:pt x="266" y="2"/>
                      </a:lnTo>
                      <a:lnTo>
                        <a:pt x="296" y="8"/>
                      </a:lnTo>
                      <a:lnTo>
                        <a:pt x="325" y="18"/>
                      </a:lnTo>
                      <a:lnTo>
                        <a:pt x="352" y="32"/>
                      </a:lnTo>
                      <a:lnTo>
                        <a:pt x="377" y="48"/>
                      </a:lnTo>
                      <a:lnTo>
                        <a:pt x="400" y="68"/>
                      </a:lnTo>
                      <a:lnTo>
                        <a:pt x="420" y="90"/>
                      </a:lnTo>
                      <a:lnTo>
                        <a:pt x="436" y="115"/>
                      </a:lnTo>
                      <a:lnTo>
                        <a:pt x="450" y="142"/>
                      </a:lnTo>
                      <a:lnTo>
                        <a:pt x="460" y="171"/>
                      </a:lnTo>
                      <a:lnTo>
                        <a:pt x="466" y="201"/>
                      </a:lnTo>
                      <a:lnTo>
                        <a:pt x="468" y="233"/>
                      </a:lnTo>
                      <a:lnTo>
                        <a:pt x="466" y="265"/>
                      </a:lnTo>
                      <a:lnTo>
                        <a:pt x="460" y="295"/>
                      </a:lnTo>
                      <a:lnTo>
                        <a:pt x="450" y="324"/>
                      </a:lnTo>
                      <a:lnTo>
                        <a:pt x="436" y="351"/>
                      </a:lnTo>
                      <a:lnTo>
                        <a:pt x="420" y="376"/>
                      </a:lnTo>
                      <a:lnTo>
                        <a:pt x="400" y="398"/>
                      </a:lnTo>
                      <a:lnTo>
                        <a:pt x="377" y="418"/>
                      </a:lnTo>
                      <a:lnTo>
                        <a:pt x="352" y="435"/>
                      </a:lnTo>
                      <a:lnTo>
                        <a:pt x="325" y="448"/>
                      </a:lnTo>
                      <a:lnTo>
                        <a:pt x="296" y="458"/>
                      </a:lnTo>
                      <a:lnTo>
                        <a:pt x="266" y="464"/>
                      </a:lnTo>
                      <a:lnTo>
                        <a:pt x="234" y="467"/>
                      </a:lnTo>
                      <a:lnTo>
                        <a:pt x="202" y="464"/>
                      </a:lnTo>
                      <a:lnTo>
                        <a:pt x="171" y="458"/>
                      </a:lnTo>
                      <a:lnTo>
                        <a:pt x="142" y="448"/>
                      </a:lnTo>
                      <a:lnTo>
                        <a:pt x="116" y="435"/>
                      </a:lnTo>
                      <a:lnTo>
                        <a:pt x="91" y="418"/>
                      </a:lnTo>
                      <a:lnTo>
                        <a:pt x="68" y="398"/>
                      </a:lnTo>
                      <a:lnTo>
                        <a:pt x="49" y="376"/>
                      </a:lnTo>
                      <a:lnTo>
                        <a:pt x="32" y="351"/>
                      </a:lnTo>
                      <a:lnTo>
                        <a:pt x="18" y="324"/>
                      </a:lnTo>
                      <a:lnTo>
                        <a:pt x="8" y="295"/>
                      </a:lnTo>
                      <a:lnTo>
                        <a:pt x="2" y="265"/>
                      </a:lnTo>
                      <a:lnTo>
                        <a:pt x="0" y="233"/>
                      </a:lnTo>
                      <a:lnTo>
                        <a:pt x="2" y="201"/>
                      </a:lnTo>
                      <a:lnTo>
                        <a:pt x="8" y="171"/>
                      </a:lnTo>
                      <a:lnTo>
                        <a:pt x="18" y="142"/>
                      </a:lnTo>
                      <a:lnTo>
                        <a:pt x="32" y="115"/>
                      </a:lnTo>
                      <a:lnTo>
                        <a:pt x="49" y="90"/>
                      </a:lnTo>
                      <a:lnTo>
                        <a:pt x="68" y="68"/>
                      </a:lnTo>
                      <a:lnTo>
                        <a:pt x="91" y="48"/>
                      </a:lnTo>
                      <a:lnTo>
                        <a:pt x="116" y="32"/>
                      </a:lnTo>
                      <a:lnTo>
                        <a:pt x="142" y="18"/>
                      </a:lnTo>
                      <a:lnTo>
                        <a:pt x="171" y="8"/>
                      </a:lnTo>
                      <a:lnTo>
                        <a:pt x="202" y="2"/>
                      </a:lnTo>
                      <a:lnTo>
                        <a:pt x="234" y="0"/>
                      </a:lnTo>
                      <a:close/>
                    </a:path>
                  </a:pathLst>
                </a:custGeom>
                <a:solidFill>
                  <a:srgbClr val="FFC000"/>
                </a:solidFill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128302" tIns="64151" rIns="128302" bIns="6415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710448"/>
                  <a:endParaRPr lang="en-US" sz="3368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467" name="Freeform 14"/>
                <p:cNvSpPr>
                  <a:spLocks/>
                </p:cNvSpPr>
                <p:nvPr/>
              </p:nvSpPr>
              <p:spPr bwMode="auto">
                <a:xfrm>
                  <a:off x="5746750" y="2935288"/>
                  <a:ext cx="695325" cy="36036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" y="31"/>
                    </a:cxn>
                    <a:cxn ang="0">
                      <a:pos x="12" y="60"/>
                    </a:cxn>
                    <a:cxn ang="0">
                      <a:pos x="23" y="89"/>
                    </a:cxn>
                    <a:cxn ang="0">
                      <a:pos x="38" y="114"/>
                    </a:cxn>
                    <a:cxn ang="0">
                      <a:pos x="56" y="137"/>
                    </a:cxn>
                    <a:cxn ang="0">
                      <a:pos x="78" y="158"/>
                    </a:cxn>
                    <a:cxn ang="0">
                      <a:pos x="102" y="176"/>
                    </a:cxn>
                    <a:cxn ang="0">
                      <a:pos x="128" y="190"/>
                    </a:cxn>
                    <a:cxn ang="0">
                      <a:pos x="157" y="200"/>
                    </a:cxn>
                    <a:cxn ang="0">
                      <a:pos x="187" y="207"/>
                    </a:cxn>
                    <a:cxn ang="0">
                      <a:pos x="219" y="209"/>
                    </a:cxn>
                    <a:cxn ang="0">
                      <a:pos x="250" y="207"/>
                    </a:cxn>
                    <a:cxn ang="0">
                      <a:pos x="280" y="200"/>
                    </a:cxn>
                    <a:cxn ang="0">
                      <a:pos x="309" y="190"/>
                    </a:cxn>
                    <a:cxn ang="0">
                      <a:pos x="335" y="176"/>
                    </a:cxn>
                    <a:cxn ang="0">
                      <a:pos x="360" y="158"/>
                    </a:cxn>
                    <a:cxn ang="0">
                      <a:pos x="381" y="137"/>
                    </a:cxn>
                    <a:cxn ang="0">
                      <a:pos x="399" y="114"/>
                    </a:cxn>
                    <a:cxn ang="0">
                      <a:pos x="414" y="89"/>
                    </a:cxn>
                    <a:cxn ang="0">
                      <a:pos x="426" y="60"/>
                    </a:cxn>
                    <a:cxn ang="0">
                      <a:pos x="433" y="31"/>
                    </a:cxn>
                    <a:cxn ang="0">
                      <a:pos x="437" y="0"/>
                    </a:cxn>
                    <a:cxn ang="0">
                      <a:pos x="437" y="3"/>
                    </a:cxn>
                    <a:cxn ang="0">
                      <a:pos x="438" y="5"/>
                    </a:cxn>
                    <a:cxn ang="0">
                      <a:pos x="438" y="8"/>
                    </a:cxn>
                    <a:cxn ang="0">
                      <a:pos x="436" y="41"/>
                    </a:cxn>
                    <a:cxn ang="0">
                      <a:pos x="429" y="71"/>
                    </a:cxn>
                    <a:cxn ang="0">
                      <a:pos x="417" y="100"/>
                    </a:cxn>
                    <a:cxn ang="0">
                      <a:pos x="403" y="127"/>
                    </a:cxn>
                    <a:cxn ang="0">
                      <a:pos x="384" y="152"/>
                    </a:cxn>
                    <a:cxn ang="0">
                      <a:pos x="363" y="173"/>
                    </a:cxn>
                    <a:cxn ang="0">
                      <a:pos x="338" y="192"/>
                    </a:cxn>
                    <a:cxn ang="0">
                      <a:pos x="311" y="206"/>
                    </a:cxn>
                    <a:cxn ang="0">
                      <a:pos x="282" y="218"/>
                    </a:cxn>
                    <a:cxn ang="0">
                      <a:pos x="251" y="224"/>
                    </a:cxn>
                    <a:cxn ang="0">
                      <a:pos x="219" y="227"/>
                    </a:cxn>
                    <a:cxn ang="0">
                      <a:pos x="186" y="224"/>
                    </a:cxn>
                    <a:cxn ang="0">
                      <a:pos x="155" y="218"/>
                    </a:cxn>
                    <a:cxn ang="0">
                      <a:pos x="127" y="206"/>
                    </a:cxn>
                    <a:cxn ang="0">
                      <a:pos x="100" y="192"/>
                    </a:cxn>
                    <a:cxn ang="0">
                      <a:pos x="76" y="173"/>
                    </a:cxn>
                    <a:cxn ang="0">
                      <a:pos x="53" y="152"/>
                    </a:cxn>
                    <a:cxn ang="0">
                      <a:pos x="35" y="127"/>
                    </a:cxn>
                    <a:cxn ang="0">
                      <a:pos x="21" y="100"/>
                    </a:cxn>
                    <a:cxn ang="0">
                      <a:pos x="9" y="71"/>
                    </a:cxn>
                    <a:cxn ang="0">
                      <a:pos x="2" y="41"/>
                    </a:cxn>
                    <a:cxn ang="0">
                      <a:pos x="0" y="8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38" h="227">
                      <a:moveTo>
                        <a:pt x="0" y="0"/>
                      </a:moveTo>
                      <a:lnTo>
                        <a:pt x="4" y="31"/>
                      </a:lnTo>
                      <a:lnTo>
                        <a:pt x="12" y="60"/>
                      </a:lnTo>
                      <a:lnTo>
                        <a:pt x="23" y="89"/>
                      </a:lnTo>
                      <a:lnTo>
                        <a:pt x="38" y="114"/>
                      </a:lnTo>
                      <a:lnTo>
                        <a:pt x="56" y="137"/>
                      </a:lnTo>
                      <a:lnTo>
                        <a:pt x="78" y="158"/>
                      </a:lnTo>
                      <a:lnTo>
                        <a:pt x="102" y="176"/>
                      </a:lnTo>
                      <a:lnTo>
                        <a:pt x="128" y="190"/>
                      </a:lnTo>
                      <a:lnTo>
                        <a:pt x="157" y="200"/>
                      </a:lnTo>
                      <a:lnTo>
                        <a:pt x="187" y="207"/>
                      </a:lnTo>
                      <a:lnTo>
                        <a:pt x="219" y="209"/>
                      </a:lnTo>
                      <a:lnTo>
                        <a:pt x="250" y="207"/>
                      </a:lnTo>
                      <a:lnTo>
                        <a:pt x="280" y="200"/>
                      </a:lnTo>
                      <a:lnTo>
                        <a:pt x="309" y="190"/>
                      </a:lnTo>
                      <a:lnTo>
                        <a:pt x="335" y="176"/>
                      </a:lnTo>
                      <a:lnTo>
                        <a:pt x="360" y="158"/>
                      </a:lnTo>
                      <a:lnTo>
                        <a:pt x="381" y="137"/>
                      </a:lnTo>
                      <a:lnTo>
                        <a:pt x="399" y="114"/>
                      </a:lnTo>
                      <a:lnTo>
                        <a:pt x="414" y="89"/>
                      </a:lnTo>
                      <a:lnTo>
                        <a:pt x="426" y="60"/>
                      </a:lnTo>
                      <a:lnTo>
                        <a:pt x="433" y="31"/>
                      </a:lnTo>
                      <a:lnTo>
                        <a:pt x="437" y="0"/>
                      </a:lnTo>
                      <a:lnTo>
                        <a:pt x="437" y="3"/>
                      </a:lnTo>
                      <a:lnTo>
                        <a:pt x="438" y="5"/>
                      </a:lnTo>
                      <a:lnTo>
                        <a:pt x="438" y="8"/>
                      </a:lnTo>
                      <a:lnTo>
                        <a:pt x="436" y="41"/>
                      </a:lnTo>
                      <a:lnTo>
                        <a:pt x="429" y="71"/>
                      </a:lnTo>
                      <a:lnTo>
                        <a:pt x="417" y="100"/>
                      </a:lnTo>
                      <a:lnTo>
                        <a:pt x="403" y="127"/>
                      </a:lnTo>
                      <a:lnTo>
                        <a:pt x="384" y="152"/>
                      </a:lnTo>
                      <a:lnTo>
                        <a:pt x="363" y="173"/>
                      </a:lnTo>
                      <a:lnTo>
                        <a:pt x="338" y="192"/>
                      </a:lnTo>
                      <a:lnTo>
                        <a:pt x="311" y="206"/>
                      </a:lnTo>
                      <a:lnTo>
                        <a:pt x="282" y="218"/>
                      </a:lnTo>
                      <a:lnTo>
                        <a:pt x="251" y="224"/>
                      </a:lnTo>
                      <a:lnTo>
                        <a:pt x="219" y="227"/>
                      </a:lnTo>
                      <a:lnTo>
                        <a:pt x="186" y="224"/>
                      </a:lnTo>
                      <a:lnTo>
                        <a:pt x="155" y="218"/>
                      </a:lnTo>
                      <a:lnTo>
                        <a:pt x="127" y="206"/>
                      </a:lnTo>
                      <a:lnTo>
                        <a:pt x="100" y="192"/>
                      </a:lnTo>
                      <a:lnTo>
                        <a:pt x="76" y="173"/>
                      </a:lnTo>
                      <a:lnTo>
                        <a:pt x="53" y="152"/>
                      </a:lnTo>
                      <a:lnTo>
                        <a:pt x="35" y="127"/>
                      </a:lnTo>
                      <a:lnTo>
                        <a:pt x="21" y="100"/>
                      </a:lnTo>
                      <a:lnTo>
                        <a:pt x="9" y="71"/>
                      </a:lnTo>
                      <a:lnTo>
                        <a:pt x="2" y="41"/>
                      </a:ln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>
                    <a:alpha val="33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128302" tIns="64151" rIns="128302" bIns="6415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710448"/>
                  <a:endParaRPr lang="en-US" sz="3368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463" name="Group 35"/>
              <p:cNvGrpSpPr/>
              <p:nvPr/>
            </p:nvGrpSpPr>
            <p:grpSpPr>
              <a:xfrm>
                <a:off x="2442609" y="3616581"/>
                <a:ext cx="708825" cy="708825"/>
                <a:chOff x="5722943" y="3481390"/>
                <a:chExt cx="742950" cy="742950"/>
              </a:xfrm>
              <a:effectLst>
                <a:outerShdw blurRad="38100" dist="63500" dir="2700000" algn="tl" rotWithShape="0">
                  <a:prstClr val="black">
                    <a:alpha val="99000"/>
                  </a:prstClr>
                </a:outerShdw>
              </a:effectLst>
            </p:grpSpPr>
            <p:sp>
              <p:nvSpPr>
                <p:cNvPr id="464" name="Freeform 9"/>
                <p:cNvSpPr>
                  <a:spLocks/>
                </p:cNvSpPr>
                <p:nvPr/>
              </p:nvSpPr>
              <p:spPr bwMode="auto">
                <a:xfrm>
                  <a:off x="5722943" y="3481390"/>
                  <a:ext cx="742950" cy="742950"/>
                </a:xfrm>
                <a:custGeom>
                  <a:avLst/>
                  <a:gdLst/>
                  <a:ahLst/>
                  <a:cxnLst>
                    <a:cxn ang="0">
                      <a:pos x="234" y="0"/>
                    </a:cxn>
                    <a:cxn ang="0">
                      <a:pos x="266" y="3"/>
                    </a:cxn>
                    <a:cxn ang="0">
                      <a:pos x="296" y="9"/>
                    </a:cxn>
                    <a:cxn ang="0">
                      <a:pos x="325" y="19"/>
                    </a:cxn>
                    <a:cxn ang="0">
                      <a:pos x="352" y="32"/>
                    </a:cxn>
                    <a:cxn ang="0">
                      <a:pos x="377" y="49"/>
                    </a:cxn>
                    <a:cxn ang="0">
                      <a:pos x="400" y="69"/>
                    </a:cxn>
                    <a:cxn ang="0">
                      <a:pos x="420" y="91"/>
                    </a:cxn>
                    <a:cxn ang="0">
                      <a:pos x="436" y="116"/>
                    </a:cxn>
                    <a:cxn ang="0">
                      <a:pos x="450" y="142"/>
                    </a:cxn>
                    <a:cxn ang="0">
                      <a:pos x="460" y="171"/>
                    </a:cxn>
                    <a:cxn ang="0">
                      <a:pos x="466" y="202"/>
                    </a:cxn>
                    <a:cxn ang="0">
                      <a:pos x="468" y="234"/>
                    </a:cxn>
                    <a:cxn ang="0">
                      <a:pos x="466" y="266"/>
                    </a:cxn>
                    <a:cxn ang="0">
                      <a:pos x="460" y="296"/>
                    </a:cxn>
                    <a:cxn ang="0">
                      <a:pos x="450" y="325"/>
                    </a:cxn>
                    <a:cxn ang="0">
                      <a:pos x="436" y="351"/>
                    </a:cxn>
                    <a:cxn ang="0">
                      <a:pos x="420" y="376"/>
                    </a:cxn>
                    <a:cxn ang="0">
                      <a:pos x="400" y="399"/>
                    </a:cxn>
                    <a:cxn ang="0">
                      <a:pos x="377" y="419"/>
                    </a:cxn>
                    <a:cxn ang="0">
                      <a:pos x="352" y="436"/>
                    </a:cxn>
                    <a:cxn ang="0">
                      <a:pos x="325" y="449"/>
                    </a:cxn>
                    <a:cxn ang="0">
                      <a:pos x="296" y="459"/>
                    </a:cxn>
                    <a:cxn ang="0">
                      <a:pos x="266" y="465"/>
                    </a:cxn>
                    <a:cxn ang="0">
                      <a:pos x="234" y="468"/>
                    </a:cxn>
                    <a:cxn ang="0">
                      <a:pos x="202" y="465"/>
                    </a:cxn>
                    <a:cxn ang="0">
                      <a:pos x="171" y="459"/>
                    </a:cxn>
                    <a:cxn ang="0">
                      <a:pos x="142" y="449"/>
                    </a:cxn>
                    <a:cxn ang="0">
                      <a:pos x="116" y="436"/>
                    </a:cxn>
                    <a:cxn ang="0">
                      <a:pos x="91" y="419"/>
                    </a:cxn>
                    <a:cxn ang="0">
                      <a:pos x="68" y="399"/>
                    </a:cxn>
                    <a:cxn ang="0">
                      <a:pos x="49" y="376"/>
                    </a:cxn>
                    <a:cxn ang="0">
                      <a:pos x="32" y="351"/>
                    </a:cxn>
                    <a:cxn ang="0">
                      <a:pos x="18" y="325"/>
                    </a:cxn>
                    <a:cxn ang="0">
                      <a:pos x="8" y="296"/>
                    </a:cxn>
                    <a:cxn ang="0">
                      <a:pos x="2" y="266"/>
                    </a:cxn>
                    <a:cxn ang="0">
                      <a:pos x="0" y="234"/>
                    </a:cxn>
                    <a:cxn ang="0">
                      <a:pos x="2" y="202"/>
                    </a:cxn>
                    <a:cxn ang="0">
                      <a:pos x="8" y="171"/>
                    </a:cxn>
                    <a:cxn ang="0">
                      <a:pos x="18" y="142"/>
                    </a:cxn>
                    <a:cxn ang="0">
                      <a:pos x="32" y="116"/>
                    </a:cxn>
                    <a:cxn ang="0">
                      <a:pos x="49" y="91"/>
                    </a:cxn>
                    <a:cxn ang="0">
                      <a:pos x="68" y="69"/>
                    </a:cxn>
                    <a:cxn ang="0">
                      <a:pos x="91" y="49"/>
                    </a:cxn>
                    <a:cxn ang="0">
                      <a:pos x="116" y="32"/>
                    </a:cxn>
                    <a:cxn ang="0">
                      <a:pos x="142" y="19"/>
                    </a:cxn>
                    <a:cxn ang="0">
                      <a:pos x="171" y="9"/>
                    </a:cxn>
                    <a:cxn ang="0">
                      <a:pos x="202" y="3"/>
                    </a:cxn>
                    <a:cxn ang="0">
                      <a:pos x="234" y="0"/>
                    </a:cxn>
                  </a:cxnLst>
                  <a:rect l="0" t="0" r="r" b="b"/>
                  <a:pathLst>
                    <a:path w="468" h="468">
                      <a:moveTo>
                        <a:pt x="234" y="0"/>
                      </a:moveTo>
                      <a:lnTo>
                        <a:pt x="266" y="3"/>
                      </a:lnTo>
                      <a:lnTo>
                        <a:pt x="296" y="9"/>
                      </a:lnTo>
                      <a:lnTo>
                        <a:pt x="325" y="19"/>
                      </a:lnTo>
                      <a:lnTo>
                        <a:pt x="352" y="32"/>
                      </a:lnTo>
                      <a:lnTo>
                        <a:pt x="377" y="49"/>
                      </a:lnTo>
                      <a:lnTo>
                        <a:pt x="400" y="69"/>
                      </a:lnTo>
                      <a:lnTo>
                        <a:pt x="420" y="91"/>
                      </a:lnTo>
                      <a:lnTo>
                        <a:pt x="436" y="116"/>
                      </a:lnTo>
                      <a:lnTo>
                        <a:pt x="450" y="142"/>
                      </a:lnTo>
                      <a:lnTo>
                        <a:pt x="460" y="171"/>
                      </a:lnTo>
                      <a:lnTo>
                        <a:pt x="466" y="202"/>
                      </a:lnTo>
                      <a:lnTo>
                        <a:pt x="468" y="234"/>
                      </a:lnTo>
                      <a:lnTo>
                        <a:pt x="466" y="266"/>
                      </a:lnTo>
                      <a:lnTo>
                        <a:pt x="460" y="296"/>
                      </a:lnTo>
                      <a:lnTo>
                        <a:pt x="450" y="325"/>
                      </a:lnTo>
                      <a:lnTo>
                        <a:pt x="436" y="351"/>
                      </a:lnTo>
                      <a:lnTo>
                        <a:pt x="420" y="376"/>
                      </a:lnTo>
                      <a:lnTo>
                        <a:pt x="400" y="399"/>
                      </a:lnTo>
                      <a:lnTo>
                        <a:pt x="377" y="419"/>
                      </a:lnTo>
                      <a:lnTo>
                        <a:pt x="352" y="436"/>
                      </a:lnTo>
                      <a:lnTo>
                        <a:pt x="325" y="449"/>
                      </a:lnTo>
                      <a:lnTo>
                        <a:pt x="296" y="459"/>
                      </a:lnTo>
                      <a:lnTo>
                        <a:pt x="266" y="465"/>
                      </a:lnTo>
                      <a:lnTo>
                        <a:pt x="234" y="468"/>
                      </a:lnTo>
                      <a:lnTo>
                        <a:pt x="202" y="465"/>
                      </a:lnTo>
                      <a:lnTo>
                        <a:pt x="171" y="459"/>
                      </a:lnTo>
                      <a:lnTo>
                        <a:pt x="142" y="449"/>
                      </a:lnTo>
                      <a:lnTo>
                        <a:pt x="116" y="436"/>
                      </a:lnTo>
                      <a:lnTo>
                        <a:pt x="91" y="419"/>
                      </a:lnTo>
                      <a:lnTo>
                        <a:pt x="68" y="399"/>
                      </a:lnTo>
                      <a:lnTo>
                        <a:pt x="49" y="376"/>
                      </a:lnTo>
                      <a:lnTo>
                        <a:pt x="32" y="351"/>
                      </a:lnTo>
                      <a:lnTo>
                        <a:pt x="18" y="325"/>
                      </a:lnTo>
                      <a:lnTo>
                        <a:pt x="8" y="296"/>
                      </a:lnTo>
                      <a:lnTo>
                        <a:pt x="2" y="266"/>
                      </a:lnTo>
                      <a:lnTo>
                        <a:pt x="0" y="234"/>
                      </a:lnTo>
                      <a:lnTo>
                        <a:pt x="2" y="202"/>
                      </a:lnTo>
                      <a:lnTo>
                        <a:pt x="8" y="171"/>
                      </a:lnTo>
                      <a:lnTo>
                        <a:pt x="18" y="142"/>
                      </a:lnTo>
                      <a:lnTo>
                        <a:pt x="32" y="116"/>
                      </a:lnTo>
                      <a:lnTo>
                        <a:pt x="49" y="91"/>
                      </a:lnTo>
                      <a:lnTo>
                        <a:pt x="68" y="69"/>
                      </a:lnTo>
                      <a:lnTo>
                        <a:pt x="91" y="49"/>
                      </a:lnTo>
                      <a:lnTo>
                        <a:pt x="116" y="32"/>
                      </a:lnTo>
                      <a:lnTo>
                        <a:pt x="142" y="19"/>
                      </a:lnTo>
                      <a:lnTo>
                        <a:pt x="171" y="9"/>
                      </a:lnTo>
                      <a:lnTo>
                        <a:pt x="202" y="3"/>
                      </a:lnTo>
                      <a:lnTo>
                        <a:pt x="234" y="0"/>
                      </a:lnTo>
                      <a:close/>
                    </a:path>
                  </a:pathLst>
                </a:custGeom>
                <a:noFill/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128302" tIns="64151" rIns="128302" bIns="6415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710448"/>
                  <a:endParaRPr lang="en-US" sz="3368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465" name="Freeform 12"/>
                <p:cNvSpPr>
                  <a:spLocks/>
                </p:cNvSpPr>
                <p:nvPr/>
              </p:nvSpPr>
              <p:spPr bwMode="auto">
                <a:xfrm>
                  <a:off x="5746750" y="3838576"/>
                  <a:ext cx="695325" cy="36036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" y="31"/>
                    </a:cxn>
                    <a:cxn ang="0">
                      <a:pos x="12" y="60"/>
                    </a:cxn>
                    <a:cxn ang="0">
                      <a:pos x="23" y="88"/>
                    </a:cxn>
                    <a:cxn ang="0">
                      <a:pos x="38" y="114"/>
                    </a:cxn>
                    <a:cxn ang="0">
                      <a:pos x="56" y="137"/>
                    </a:cxn>
                    <a:cxn ang="0">
                      <a:pos x="78" y="157"/>
                    </a:cxn>
                    <a:cxn ang="0">
                      <a:pos x="102" y="176"/>
                    </a:cxn>
                    <a:cxn ang="0">
                      <a:pos x="128" y="189"/>
                    </a:cxn>
                    <a:cxn ang="0">
                      <a:pos x="157" y="200"/>
                    </a:cxn>
                    <a:cxn ang="0">
                      <a:pos x="187" y="207"/>
                    </a:cxn>
                    <a:cxn ang="0">
                      <a:pos x="219" y="209"/>
                    </a:cxn>
                    <a:cxn ang="0">
                      <a:pos x="250" y="207"/>
                    </a:cxn>
                    <a:cxn ang="0">
                      <a:pos x="280" y="200"/>
                    </a:cxn>
                    <a:cxn ang="0">
                      <a:pos x="309" y="189"/>
                    </a:cxn>
                    <a:cxn ang="0">
                      <a:pos x="335" y="176"/>
                    </a:cxn>
                    <a:cxn ang="0">
                      <a:pos x="360" y="157"/>
                    </a:cxn>
                    <a:cxn ang="0">
                      <a:pos x="381" y="137"/>
                    </a:cxn>
                    <a:cxn ang="0">
                      <a:pos x="399" y="114"/>
                    </a:cxn>
                    <a:cxn ang="0">
                      <a:pos x="414" y="88"/>
                    </a:cxn>
                    <a:cxn ang="0">
                      <a:pos x="426" y="60"/>
                    </a:cxn>
                    <a:cxn ang="0">
                      <a:pos x="433" y="31"/>
                    </a:cxn>
                    <a:cxn ang="0">
                      <a:pos x="437" y="0"/>
                    </a:cxn>
                    <a:cxn ang="0">
                      <a:pos x="437" y="3"/>
                    </a:cxn>
                    <a:cxn ang="0">
                      <a:pos x="438" y="5"/>
                    </a:cxn>
                    <a:cxn ang="0">
                      <a:pos x="438" y="8"/>
                    </a:cxn>
                    <a:cxn ang="0">
                      <a:pos x="436" y="41"/>
                    </a:cxn>
                    <a:cxn ang="0">
                      <a:pos x="429" y="71"/>
                    </a:cxn>
                    <a:cxn ang="0">
                      <a:pos x="417" y="100"/>
                    </a:cxn>
                    <a:cxn ang="0">
                      <a:pos x="403" y="127"/>
                    </a:cxn>
                    <a:cxn ang="0">
                      <a:pos x="384" y="151"/>
                    </a:cxn>
                    <a:cxn ang="0">
                      <a:pos x="363" y="173"/>
                    </a:cxn>
                    <a:cxn ang="0">
                      <a:pos x="338" y="192"/>
                    </a:cxn>
                    <a:cxn ang="0">
                      <a:pos x="311" y="206"/>
                    </a:cxn>
                    <a:cxn ang="0">
                      <a:pos x="282" y="217"/>
                    </a:cxn>
                    <a:cxn ang="0">
                      <a:pos x="251" y="224"/>
                    </a:cxn>
                    <a:cxn ang="0">
                      <a:pos x="219" y="227"/>
                    </a:cxn>
                    <a:cxn ang="0">
                      <a:pos x="186" y="224"/>
                    </a:cxn>
                    <a:cxn ang="0">
                      <a:pos x="155" y="217"/>
                    </a:cxn>
                    <a:cxn ang="0">
                      <a:pos x="127" y="206"/>
                    </a:cxn>
                    <a:cxn ang="0">
                      <a:pos x="100" y="192"/>
                    </a:cxn>
                    <a:cxn ang="0">
                      <a:pos x="76" y="173"/>
                    </a:cxn>
                    <a:cxn ang="0">
                      <a:pos x="53" y="151"/>
                    </a:cxn>
                    <a:cxn ang="0">
                      <a:pos x="35" y="127"/>
                    </a:cxn>
                    <a:cxn ang="0">
                      <a:pos x="21" y="100"/>
                    </a:cxn>
                    <a:cxn ang="0">
                      <a:pos x="9" y="71"/>
                    </a:cxn>
                    <a:cxn ang="0">
                      <a:pos x="2" y="41"/>
                    </a:cxn>
                    <a:cxn ang="0">
                      <a:pos x="0" y="8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38" h="227">
                      <a:moveTo>
                        <a:pt x="0" y="0"/>
                      </a:moveTo>
                      <a:lnTo>
                        <a:pt x="4" y="31"/>
                      </a:lnTo>
                      <a:lnTo>
                        <a:pt x="12" y="60"/>
                      </a:lnTo>
                      <a:lnTo>
                        <a:pt x="23" y="88"/>
                      </a:lnTo>
                      <a:lnTo>
                        <a:pt x="38" y="114"/>
                      </a:lnTo>
                      <a:lnTo>
                        <a:pt x="56" y="137"/>
                      </a:lnTo>
                      <a:lnTo>
                        <a:pt x="78" y="157"/>
                      </a:lnTo>
                      <a:lnTo>
                        <a:pt x="102" y="176"/>
                      </a:lnTo>
                      <a:lnTo>
                        <a:pt x="128" y="189"/>
                      </a:lnTo>
                      <a:lnTo>
                        <a:pt x="157" y="200"/>
                      </a:lnTo>
                      <a:lnTo>
                        <a:pt x="187" y="207"/>
                      </a:lnTo>
                      <a:lnTo>
                        <a:pt x="219" y="209"/>
                      </a:lnTo>
                      <a:lnTo>
                        <a:pt x="250" y="207"/>
                      </a:lnTo>
                      <a:lnTo>
                        <a:pt x="280" y="200"/>
                      </a:lnTo>
                      <a:lnTo>
                        <a:pt x="309" y="189"/>
                      </a:lnTo>
                      <a:lnTo>
                        <a:pt x="335" y="176"/>
                      </a:lnTo>
                      <a:lnTo>
                        <a:pt x="360" y="157"/>
                      </a:lnTo>
                      <a:lnTo>
                        <a:pt x="381" y="137"/>
                      </a:lnTo>
                      <a:lnTo>
                        <a:pt x="399" y="114"/>
                      </a:lnTo>
                      <a:lnTo>
                        <a:pt x="414" y="88"/>
                      </a:lnTo>
                      <a:lnTo>
                        <a:pt x="426" y="60"/>
                      </a:lnTo>
                      <a:lnTo>
                        <a:pt x="433" y="31"/>
                      </a:lnTo>
                      <a:lnTo>
                        <a:pt x="437" y="0"/>
                      </a:lnTo>
                      <a:lnTo>
                        <a:pt x="437" y="3"/>
                      </a:lnTo>
                      <a:lnTo>
                        <a:pt x="438" y="5"/>
                      </a:lnTo>
                      <a:lnTo>
                        <a:pt x="438" y="8"/>
                      </a:lnTo>
                      <a:lnTo>
                        <a:pt x="436" y="41"/>
                      </a:lnTo>
                      <a:lnTo>
                        <a:pt x="429" y="71"/>
                      </a:lnTo>
                      <a:lnTo>
                        <a:pt x="417" y="100"/>
                      </a:lnTo>
                      <a:lnTo>
                        <a:pt x="403" y="127"/>
                      </a:lnTo>
                      <a:lnTo>
                        <a:pt x="384" y="151"/>
                      </a:lnTo>
                      <a:lnTo>
                        <a:pt x="363" y="173"/>
                      </a:lnTo>
                      <a:lnTo>
                        <a:pt x="338" y="192"/>
                      </a:lnTo>
                      <a:lnTo>
                        <a:pt x="311" y="206"/>
                      </a:lnTo>
                      <a:lnTo>
                        <a:pt x="282" y="217"/>
                      </a:lnTo>
                      <a:lnTo>
                        <a:pt x="251" y="224"/>
                      </a:lnTo>
                      <a:lnTo>
                        <a:pt x="219" y="227"/>
                      </a:lnTo>
                      <a:lnTo>
                        <a:pt x="186" y="224"/>
                      </a:lnTo>
                      <a:lnTo>
                        <a:pt x="155" y="217"/>
                      </a:lnTo>
                      <a:lnTo>
                        <a:pt x="127" y="206"/>
                      </a:lnTo>
                      <a:lnTo>
                        <a:pt x="100" y="192"/>
                      </a:lnTo>
                      <a:lnTo>
                        <a:pt x="76" y="173"/>
                      </a:lnTo>
                      <a:lnTo>
                        <a:pt x="53" y="151"/>
                      </a:lnTo>
                      <a:lnTo>
                        <a:pt x="35" y="127"/>
                      </a:lnTo>
                      <a:lnTo>
                        <a:pt x="21" y="100"/>
                      </a:lnTo>
                      <a:lnTo>
                        <a:pt x="9" y="71"/>
                      </a:lnTo>
                      <a:lnTo>
                        <a:pt x="2" y="41"/>
                      </a:ln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>
                    <a:alpha val="33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128302" tIns="64151" rIns="128302" bIns="6415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710448"/>
                  <a:endParaRPr lang="en-US" sz="3368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</p:grpSp>
        </p:grpSp>
      </p:grpSp>
      <p:sp>
        <p:nvSpPr>
          <p:cNvPr id="480" name="Rectangle 479"/>
          <p:cNvSpPr/>
          <p:nvPr/>
        </p:nvSpPr>
        <p:spPr>
          <a:xfrm>
            <a:off x="3652575" y="4610013"/>
            <a:ext cx="1717707" cy="2070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121920" rIns="54611" bIns="54611" rtlCol="0" anchor="t"/>
          <a:lstStyle/>
          <a:p>
            <a:pPr marL="228595" indent="-228595" defTabSz="1058286">
              <a:buFont typeface="Arial" panose="020B0604020202020204" pitchFamily="34" charset="0"/>
              <a:buChar char="•"/>
            </a:pPr>
            <a:r>
              <a:rPr lang="en-US" sz="1200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No dependency but leadership is required to push the budget increase proposal</a:t>
            </a:r>
            <a:endParaRPr lang="en-US" sz="1500">
              <a:solidFill>
                <a:prstClr val="white"/>
              </a:solidFill>
              <a:latin typeface="Arial"/>
            </a:endParaRPr>
          </a:p>
        </p:txBody>
      </p:sp>
      <p:sp>
        <p:nvSpPr>
          <p:cNvPr id="481" name="Round Same Side Corner Rectangle 480"/>
          <p:cNvSpPr/>
          <p:nvPr/>
        </p:nvSpPr>
        <p:spPr>
          <a:xfrm>
            <a:off x="3652575" y="4305118"/>
            <a:ext cx="1717707" cy="331382"/>
          </a:xfrm>
          <a:prstGeom prst="round2Same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</p:spPr>
        <p:txBody>
          <a:bodyPr wrap="square" lIns="121920" tIns="0" bIns="60960" anchor="ctr">
            <a:noAutofit/>
          </a:bodyPr>
          <a:lstStyle/>
          <a:p>
            <a:pPr defTabSz="1058286"/>
            <a:r>
              <a:rPr lang="en-US" sz="1400" b="1">
                <a:solidFill>
                  <a:prstClr val="white"/>
                </a:solidFill>
                <a:latin typeface="Arial"/>
                <a:cs typeface="DIN Next LT Arabic"/>
              </a:rPr>
              <a:t>Dependency </a:t>
            </a:r>
          </a:p>
        </p:txBody>
      </p:sp>
      <p:grpSp>
        <p:nvGrpSpPr>
          <p:cNvPr id="482" name="Group 481"/>
          <p:cNvGrpSpPr/>
          <p:nvPr/>
        </p:nvGrpSpPr>
        <p:grpSpPr>
          <a:xfrm>
            <a:off x="3662317" y="6624523"/>
            <a:ext cx="1707969" cy="104129"/>
            <a:chOff x="170119" y="2637607"/>
            <a:chExt cx="2373357" cy="130724"/>
          </a:xfrm>
        </p:grpSpPr>
        <p:sp>
          <p:nvSpPr>
            <p:cNvPr id="483" name="Right Triangle 482"/>
            <p:cNvSpPr/>
            <p:nvPr/>
          </p:nvSpPr>
          <p:spPr>
            <a:xfrm flipH="1" flipV="1">
              <a:off x="173559" y="2637607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484" name="Right Triangle 483"/>
            <p:cNvSpPr/>
            <p:nvPr/>
          </p:nvSpPr>
          <p:spPr>
            <a:xfrm flipV="1">
              <a:off x="170119" y="2637607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</p:grpSp>
      <p:sp>
        <p:nvSpPr>
          <p:cNvPr id="523" name="Rectangle 522"/>
          <p:cNvSpPr/>
          <p:nvPr/>
        </p:nvSpPr>
        <p:spPr>
          <a:xfrm>
            <a:off x="5502664" y="4610013"/>
            <a:ext cx="1717707" cy="2070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121920" rIns="54611" bIns="54611" rtlCol="0" anchor="t"/>
          <a:lstStyle/>
          <a:p>
            <a:pPr marL="228595" indent="-228595" defTabSz="1058286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The project is under-resourced from the client side and more budget to KPMG is required to get more resources</a:t>
            </a:r>
          </a:p>
        </p:txBody>
      </p:sp>
      <p:sp>
        <p:nvSpPr>
          <p:cNvPr id="524" name="Round Same Side Corner Rectangle 523"/>
          <p:cNvSpPr/>
          <p:nvPr/>
        </p:nvSpPr>
        <p:spPr>
          <a:xfrm>
            <a:off x="5502664" y="4305118"/>
            <a:ext cx="1717707" cy="331382"/>
          </a:xfrm>
          <a:prstGeom prst="round2Same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</p:spPr>
        <p:txBody>
          <a:bodyPr wrap="square" lIns="121920" tIns="0" bIns="60960" anchor="ctr">
            <a:noAutofit/>
          </a:bodyPr>
          <a:lstStyle/>
          <a:p>
            <a:pPr defTabSz="1058286"/>
            <a:r>
              <a:rPr lang="en-US" sz="1400" b="1">
                <a:solidFill>
                  <a:prstClr val="white"/>
                </a:solidFill>
                <a:latin typeface="Arial"/>
                <a:cs typeface="DIN Next LT Arabic"/>
              </a:rPr>
              <a:t>Risk</a:t>
            </a:r>
          </a:p>
        </p:txBody>
      </p:sp>
      <p:grpSp>
        <p:nvGrpSpPr>
          <p:cNvPr id="525" name="Group 524"/>
          <p:cNvGrpSpPr/>
          <p:nvPr/>
        </p:nvGrpSpPr>
        <p:grpSpPr>
          <a:xfrm>
            <a:off x="5512403" y="6624523"/>
            <a:ext cx="1707969" cy="104129"/>
            <a:chOff x="170119" y="2637607"/>
            <a:chExt cx="2373357" cy="130724"/>
          </a:xfrm>
        </p:grpSpPr>
        <p:sp>
          <p:nvSpPr>
            <p:cNvPr id="526" name="Right Triangle 525"/>
            <p:cNvSpPr/>
            <p:nvPr/>
          </p:nvSpPr>
          <p:spPr>
            <a:xfrm flipH="1" flipV="1">
              <a:off x="173559" y="2637607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527" name="Right Triangle 526"/>
            <p:cNvSpPr/>
            <p:nvPr/>
          </p:nvSpPr>
          <p:spPr>
            <a:xfrm flipV="1">
              <a:off x="170119" y="2637607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</p:grpSp>
      <p:grpSp>
        <p:nvGrpSpPr>
          <p:cNvPr id="534" name="Group 84"/>
          <p:cNvGrpSpPr>
            <a:grpSpLocks noChangeAspect="1"/>
          </p:cNvGrpSpPr>
          <p:nvPr/>
        </p:nvGrpSpPr>
        <p:grpSpPr bwMode="auto">
          <a:xfrm>
            <a:off x="6855887" y="4334996"/>
            <a:ext cx="310301" cy="267459"/>
            <a:chOff x="3333" y="1722"/>
            <a:chExt cx="1014" cy="874"/>
          </a:xfrm>
          <a:solidFill>
            <a:schemeClr val="bg1"/>
          </a:solidFill>
        </p:grpSpPr>
        <p:sp>
          <p:nvSpPr>
            <p:cNvPr id="535" name="Freeform 85"/>
            <p:cNvSpPr>
              <a:spLocks noEditPoints="1"/>
            </p:cNvSpPr>
            <p:nvPr/>
          </p:nvSpPr>
          <p:spPr bwMode="auto">
            <a:xfrm>
              <a:off x="3333" y="1722"/>
              <a:ext cx="1014" cy="874"/>
            </a:xfrm>
            <a:custGeom>
              <a:avLst/>
              <a:gdLst>
                <a:gd name="T0" fmla="*/ 213 w 426"/>
                <a:gd name="T1" fmla="*/ 366 h 367"/>
                <a:gd name="T2" fmla="*/ 36 w 426"/>
                <a:gd name="T3" fmla="*/ 367 h 367"/>
                <a:gd name="T4" fmla="*/ 6 w 426"/>
                <a:gd name="T5" fmla="*/ 351 h 367"/>
                <a:gd name="T6" fmla="*/ 9 w 426"/>
                <a:gd name="T7" fmla="*/ 318 h 367"/>
                <a:gd name="T8" fmla="*/ 183 w 426"/>
                <a:gd name="T9" fmla="*/ 20 h 367"/>
                <a:gd name="T10" fmla="*/ 214 w 426"/>
                <a:gd name="T11" fmla="*/ 0 h 367"/>
                <a:gd name="T12" fmla="*/ 243 w 426"/>
                <a:gd name="T13" fmla="*/ 20 h 367"/>
                <a:gd name="T14" fmla="*/ 417 w 426"/>
                <a:gd name="T15" fmla="*/ 318 h 367"/>
                <a:gd name="T16" fmla="*/ 420 w 426"/>
                <a:gd name="T17" fmla="*/ 351 h 367"/>
                <a:gd name="T18" fmla="*/ 390 w 426"/>
                <a:gd name="T19" fmla="*/ 367 h 367"/>
                <a:gd name="T20" fmla="*/ 213 w 426"/>
                <a:gd name="T21" fmla="*/ 366 h 367"/>
                <a:gd name="T22" fmla="*/ 213 w 426"/>
                <a:gd name="T23" fmla="*/ 336 h 367"/>
                <a:gd name="T24" fmla="*/ 375 w 426"/>
                <a:gd name="T25" fmla="*/ 336 h 367"/>
                <a:gd name="T26" fmla="*/ 384 w 426"/>
                <a:gd name="T27" fmla="*/ 323 h 367"/>
                <a:gd name="T28" fmla="*/ 221 w 426"/>
                <a:gd name="T29" fmla="*/ 46 h 367"/>
                <a:gd name="T30" fmla="*/ 205 w 426"/>
                <a:gd name="T31" fmla="*/ 45 h 367"/>
                <a:gd name="T32" fmla="*/ 44 w 426"/>
                <a:gd name="T33" fmla="*/ 321 h 367"/>
                <a:gd name="T34" fmla="*/ 54 w 426"/>
                <a:gd name="T35" fmla="*/ 336 h 367"/>
                <a:gd name="T36" fmla="*/ 213 w 426"/>
                <a:gd name="T37" fmla="*/ 336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26" h="367">
                  <a:moveTo>
                    <a:pt x="213" y="366"/>
                  </a:moveTo>
                  <a:cubicBezTo>
                    <a:pt x="154" y="366"/>
                    <a:pt x="95" y="366"/>
                    <a:pt x="36" y="367"/>
                  </a:cubicBezTo>
                  <a:cubicBezTo>
                    <a:pt x="23" y="367"/>
                    <a:pt x="12" y="363"/>
                    <a:pt x="6" y="351"/>
                  </a:cubicBezTo>
                  <a:cubicBezTo>
                    <a:pt x="0" y="340"/>
                    <a:pt x="3" y="329"/>
                    <a:pt x="9" y="318"/>
                  </a:cubicBezTo>
                  <a:cubicBezTo>
                    <a:pt x="67" y="219"/>
                    <a:pt x="125" y="119"/>
                    <a:pt x="183" y="20"/>
                  </a:cubicBezTo>
                  <a:cubicBezTo>
                    <a:pt x="190" y="8"/>
                    <a:pt x="199" y="0"/>
                    <a:pt x="214" y="0"/>
                  </a:cubicBezTo>
                  <a:cubicBezTo>
                    <a:pt x="228" y="0"/>
                    <a:pt x="236" y="9"/>
                    <a:pt x="243" y="20"/>
                  </a:cubicBezTo>
                  <a:cubicBezTo>
                    <a:pt x="300" y="120"/>
                    <a:pt x="358" y="219"/>
                    <a:pt x="417" y="318"/>
                  </a:cubicBezTo>
                  <a:cubicBezTo>
                    <a:pt x="423" y="329"/>
                    <a:pt x="426" y="340"/>
                    <a:pt x="420" y="351"/>
                  </a:cubicBezTo>
                  <a:cubicBezTo>
                    <a:pt x="414" y="363"/>
                    <a:pt x="403" y="367"/>
                    <a:pt x="390" y="367"/>
                  </a:cubicBezTo>
                  <a:cubicBezTo>
                    <a:pt x="331" y="366"/>
                    <a:pt x="272" y="366"/>
                    <a:pt x="213" y="366"/>
                  </a:cubicBezTo>
                  <a:close/>
                  <a:moveTo>
                    <a:pt x="213" y="336"/>
                  </a:moveTo>
                  <a:cubicBezTo>
                    <a:pt x="267" y="336"/>
                    <a:pt x="321" y="336"/>
                    <a:pt x="375" y="336"/>
                  </a:cubicBezTo>
                  <a:cubicBezTo>
                    <a:pt x="383" y="336"/>
                    <a:pt x="392" y="336"/>
                    <a:pt x="384" y="323"/>
                  </a:cubicBezTo>
                  <a:cubicBezTo>
                    <a:pt x="330" y="231"/>
                    <a:pt x="275" y="138"/>
                    <a:pt x="221" y="46"/>
                  </a:cubicBezTo>
                  <a:cubicBezTo>
                    <a:pt x="215" y="35"/>
                    <a:pt x="212" y="33"/>
                    <a:pt x="205" y="45"/>
                  </a:cubicBezTo>
                  <a:cubicBezTo>
                    <a:pt x="151" y="137"/>
                    <a:pt x="97" y="229"/>
                    <a:pt x="44" y="321"/>
                  </a:cubicBezTo>
                  <a:cubicBezTo>
                    <a:pt x="35" y="335"/>
                    <a:pt x="36" y="336"/>
                    <a:pt x="54" y="336"/>
                  </a:cubicBezTo>
                  <a:cubicBezTo>
                    <a:pt x="107" y="336"/>
                    <a:pt x="160" y="336"/>
                    <a:pt x="213" y="3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36" name="Freeform 86"/>
            <p:cNvSpPr>
              <a:spLocks/>
            </p:cNvSpPr>
            <p:nvPr/>
          </p:nvSpPr>
          <p:spPr bwMode="auto">
            <a:xfrm>
              <a:off x="3797" y="1943"/>
              <a:ext cx="88" cy="393"/>
            </a:xfrm>
            <a:custGeom>
              <a:avLst/>
              <a:gdLst>
                <a:gd name="T0" fmla="*/ 37 w 37"/>
                <a:gd name="T1" fmla="*/ 41 h 165"/>
                <a:gd name="T2" fmla="*/ 27 w 37"/>
                <a:gd name="T3" fmla="*/ 152 h 165"/>
                <a:gd name="T4" fmla="*/ 18 w 37"/>
                <a:gd name="T5" fmla="*/ 165 h 165"/>
                <a:gd name="T6" fmla="*/ 9 w 37"/>
                <a:gd name="T7" fmla="*/ 153 h 165"/>
                <a:gd name="T8" fmla="*/ 0 w 37"/>
                <a:gd name="T9" fmla="*/ 22 h 165"/>
                <a:gd name="T10" fmla="*/ 1 w 37"/>
                <a:gd name="T11" fmla="*/ 13 h 165"/>
                <a:gd name="T12" fmla="*/ 18 w 37"/>
                <a:gd name="T13" fmla="*/ 0 h 165"/>
                <a:gd name="T14" fmla="*/ 35 w 37"/>
                <a:gd name="T15" fmla="*/ 14 h 165"/>
                <a:gd name="T16" fmla="*/ 35 w 37"/>
                <a:gd name="T17" fmla="*/ 41 h 165"/>
                <a:gd name="T18" fmla="*/ 37 w 37"/>
                <a:gd name="T19" fmla="*/ 41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165">
                  <a:moveTo>
                    <a:pt x="37" y="41"/>
                  </a:moveTo>
                  <a:cubicBezTo>
                    <a:pt x="34" y="78"/>
                    <a:pt x="30" y="115"/>
                    <a:pt x="27" y="152"/>
                  </a:cubicBezTo>
                  <a:cubicBezTo>
                    <a:pt x="27" y="158"/>
                    <a:pt x="26" y="165"/>
                    <a:pt x="18" y="165"/>
                  </a:cubicBezTo>
                  <a:cubicBezTo>
                    <a:pt x="10" y="165"/>
                    <a:pt x="9" y="159"/>
                    <a:pt x="9" y="153"/>
                  </a:cubicBezTo>
                  <a:cubicBezTo>
                    <a:pt x="5" y="110"/>
                    <a:pt x="0" y="66"/>
                    <a:pt x="0" y="22"/>
                  </a:cubicBezTo>
                  <a:cubicBezTo>
                    <a:pt x="0" y="19"/>
                    <a:pt x="0" y="16"/>
                    <a:pt x="1" y="13"/>
                  </a:cubicBezTo>
                  <a:cubicBezTo>
                    <a:pt x="3" y="4"/>
                    <a:pt x="9" y="0"/>
                    <a:pt x="18" y="0"/>
                  </a:cubicBezTo>
                  <a:cubicBezTo>
                    <a:pt x="27" y="0"/>
                    <a:pt x="34" y="5"/>
                    <a:pt x="35" y="14"/>
                  </a:cubicBezTo>
                  <a:cubicBezTo>
                    <a:pt x="36" y="23"/>
                    <a:pt x="35" y="32"/>
                    <a:pt x="35" y="41"/>
                  </a:cubicBezTo>
                  <a:cubicBezTo>
                    <a:pt x="36" y="41"/>
                    <a:pt x="36" y="41"/>
                    <a:pt x="37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37" name="Freeform 87"/>
            <p:cNvSpPr>
              <a:spLocks/>
            </p:cNvSpPr>
            <p:nvPr/>
          </p:nvSpPr>
          <p:spPr bwMode="auto">
            <a:xfrm>
              <a:off x="3790" y="2379"/>
              <a:ext cx="95" cy="93"/>
            </a:xfrm>
            <a:custGeom>
              <a:avLst/>
              <a:gdLst>
                <a:gd name="T0" fmla="*/ 21 w 40"/>
                <a:gd name="T1" fmla="*/ 39 h 39"/>
                <a:gd name="T2" fmla="*/ 1 w 40"/>
                <a:gd name="T3" fmla="*/ 21 h 39"/>
                <a:gd name="T4" fmla="*/ 21 w 40"/>
                <a:gd name="T5" fmla="*/ 1 h 39"/>
                <a:gd name="T6" fmla="*/ 40 w 40"/>
                <a:gd name="T7" fmla="*/ 20 h 39"/>
                <a:gd name="T8" fmla="*/ 21 w 40"/>
                <a:gd name="T9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9">
                  <a:moveTo>
                    <a:pt x="21" y="39"/>
                  </a:moveTo>
                  <a:cubicBezTo>
                    <a:pt x="10" y="38"/>
                    <a:pt x="3" y="32"/>
                    <a:pt x="1" y="21"/>
                  </a:cubicBezTo>
                  <a:cubicBezTo>
                    <a:pt x="0" y="11"/>
                    <a:pt x="11" y="0"/>
                    <a:pt x="21" y="1"/>
                  </a:cubicBezTo>
                  <a:cubicBezTo>
                    <a:pt x="32" y="2"/>
                    <a:pt x="40" y="9"/>
                    <a:pt x="40" y="20"/>
                  </a:cubicBezTo>
                  <a:cubicBezTo>
                    <a:pt x="40" y="31"/>
                    <a:pt x="33" y="38"/>
                    <a:pt x="21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538" name="Group 55"/>
          <p:cNvGrpSpPr>
            <a:grpSpLocks noChangeAspect="1"/>
          </p:cNvGrpSpPr>
          <p:nvPr/>
        </p:nvGrpSpPr>
        <p:grpSpPr bwMode="auto">
          <a:xfrm>
            <a:off x="2982384" y="4305118"/>
            <a:ext cx="295909" cy="295666"/>
            <a:chOff x="2017" y="342"/>
            <a:chExt cx="3641" cy="3638"/>
          </a:xfrm>
          <a:solidFill>
            <a:schemeClr val="bg1"/>
          </a:solidFill>
        </p:grpSpPr>
        <p:sp>
          <p:nvSpPr>
            <p:cNvPr id="539" name="Freeform 56"/>
            <p:cNvSpPr>
              <a:spLocks noEditPoints="1"/>
            </p:cNvSpPr>
            <p:nvPr/>
          </p:nvSpPr>
          <p:spPr bwMode="auto">
            <a:xfrm>
              <a:off x="2017" y="342"/>
              <a:ext cx="3641" cy="3638"/>
            </a:xfrm>
            <a:custGeom>
              <a:avLst/>
              <a:gdLst>
                <a:gd name="T0" fmla="*/ 701 w 1538"/>
                <a:gd name="T1" fmla="*/ 0 h 1537"/>
                <a:gd name="T2" fmla="*/ 839 w 1538"/>
                <a:gd name="T3" fmla="*/ 0 h 1537"/>
                <a:gd name="T4" fmla="*/ 849 w 1538"/>
                <a:gd name="T5" fmla="*/ 4 h 1537"/>
                <a:gd name="T6" fmla="*/ 905 w 1538"/>
                <a:gd name="T7" fmla="*/ 11 h 1537"/>
                <a:gd name="T8" fmla="*/ 1083 w 1538"/>
                <a:gd name="T9" fmla="*/ 66 h 1537"/>
                <a:gd name="T10" fmla="*/ 1279 w 1538"/>
                <a:gd name="T11" fmla="*/ 192 h 1537"/>
                <a:gd name="T12" fmla="*/ 1451 w 1538"/>
                <a:gd name="T13" fmla="*/ 411 h 1537"/>
                <a:gd name="T14" fmla="*/ 1532 w 1538"/>
                <a:gd name="T15" fmla="*/ 666 h 1537"/>
                <a:gd name="T16" fmla="*/ 1538 w 1538"/>
                <a:gd name="T17" fmla="*/ 699 h 1537"/>
                <a:gd name="T18" fmla="*/ 1538 w 1538"/>
                <a:gd name="T19" fmla="*/ 837 h 1537"/>
                <a:gd name="T20" fmla="*/ 1534 w 1538"/>
                <a:gd name="T21" fmla="*/ 845 h 1537"/>
                <a:gd name="T22" fmla="*/ 1527 w 1538"/>
                <a:gd name="T23" fmla="*/ 901 h 1537"/>
                <a:gd name="T24" fmla="*/ 1440 w 1538"/>
                <a:gd name="T25" fmla="*/ 1144 h 1537"/>
                <a:gd name="T26" fmla="*/ 1258 w 1538"/>
                <a:gd name="T27" fmla="*/ 1362 h 1537"/>
                <a:gd name="T28" fmla="*/ 1055 w 1538"/>
                <a:gd name="T29" fmla="*/ 1482 h 1537"/>
                <a:gd name="T30" fmla="*/ 828 w 1538"/>
                <a:gd name="T31" fmla="*/ 1534 h 1537"/>
                <a:gd name="T32" fmla="*/ 695 w 1538"/>
                <a:gd name="T33" fmla="*/ 1533 h 1537"/>
                <a:gd name="T34" fmla="*/ 579 w 1538"/>
                <a:gd name="T35" fmla="*/ 1512 h 1537"/>
                <a:gd name="T36" fmla="*/ 372 w 1538"/>
                <a:gd name="T37" fmla="*/ 1426 h 1537"/>
                <a:gd name="T38" fmla="*/ 191 w 1538"/>
                <a:gd name="T39" fmla="*/ 1274 h 1537"/>
                <a:gd name="T40" fmla="*/ 64 w 1538"/>
                <a:gd name="T41" fmla="*/ 1073 h 1537"/>
                <a:gd name="T42" fmla="*/ 4 w 1538"/>
                <a:gd name="T43" fmla="*/ 827 h 1537"/>
                <a:gd name="T44" fmla="*/ 11 w 1538"/>
                <a:gd name="T45" fmla="*/ 646 h 1537"/>
                <a:gd name="T46" fmla="*/ 75 w 1538"/>
                <a:gd name="T47" fmla="*/ 439 h 1537"/>
                <a:gd name="T48" fmla="*/ 290 w 1538"/>
                <a:gd name="T49" fmla="*/ 168 h 1537"/>
                <a:gd name="T50" fmla="*/ 517 w 1538"/>
                <a:gd name="T51" fmla="*/ 42 h 1537"/>
                <a:gd name="T52" fmla="*/ 669 w 1538"/>
                <a:gd name="T53" fmla="*/ 6 h 1537"/>
                <a:gd name="T54" fmla="*/ 701 w 1538"/>
                <a:gd name="T55" fmla="*/ 0 h 1537"/>
                <a:gd name="T56" fmla="*/ 425 w 1538"/>
                <a:gd name="T57" fmla="*/ 775 h 1537"/>
                <a:gd name="T58" fmla="*/ 424 w 1538"/>
                <a:gd name="T59" fmla="*/ 1232 h 1537"/>
                <a:gd name="T60" fmla="*/ 441 w 1538"/>
                <a:gd name="T61" fmla="*/ 1249 h 1537"/>
                <a:gd name="T62" fmla="*/ 1097 w 1538"/>
                <a:gd name="T63" fmla="*/ 1249 h 1537"/>
                <a:gd name="T64" fmla="*/ 1113 w 1538"/>
                <a:gd name="T65" fmla="*/ 1233 h 1537"/>
                <a:gd name="T66" fmla="*/ 1113 w 1538"/>
                <a:gd name="T67" fmla="*/ 453 h 1537"/>
                <a:gd name="T68" fmla="*/ 1107 w 1538"/>
                <a:gd name="T69" fmla="*/ 432 h 1537"/>
                <a:gd name="T70" fmla="*/ 1035 w 1538"/>
                <a:gd name="T71" fmla="*/ 315 h 1537"/>
                <a:gd name="T72" fmla="*/ 1013 w 1538"/>
                <a:gd name="T73" fmla="*/ 302 h 1537"/>
                <a:gd name="T74" fmla="*/ 442 w 1538"/>
                <a:gd name="T75" fmla="*/ 302 h 1537"/>
                <a:gd name="T76" fmla="*/ 424 w 1538"/>
                <a:gd name="T77" fmla="*/ 319 h 1537"/>
                <a:gd name="T78" fmla="*/ 425 w 1538"/>
                <a:gd name="T79" fmla="*/ 775 h 1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38" h="1537">
                  <a:moveTo>
                    <a:pt x="701" y="0"/>
                  </a:moveTo>
                  <a:cubicBezTo>
                    <a:pt x="747" y="0"/>
                    <a:pt x="793" y="0"/>
                    <a:pt x="839" y="0"/>
                  </a:cubicBezTo>
                  <a:cubicBezTo>
                    <a:pt x="840" y="6"/>
                    <a:pt x="845" y="3"/>
                    <a:pt x="849" y="4"/>
                  </a:cubicBezTo>
                  <a:cubicBezTo>
                    <a:pt x="868" y="6"/>
                    <a:pt x="886" y="7"/>
                    <a:pt x="905" y="11"/>
                  </a:cubicBezTo>
                  <a:cubicBezTo>
                    <a:pt x="966" y="23"/>
                    <a:pt x="1025" y="41"/>
                    <a:pt x="1083" y="66"/>
                  </a:cubicBezTo>
                  <a:cubicBezTo>
                    <a:pt x="1155" y="97"/>
                    <a:pt x="1221" y="140"/>
                    <a:pt x="1279" y="192"/>
                  </a:cubicBezTo>
                  <a:cubicBezTo>
                    <a:pt x="1350" y="255"/>
                    <a:pt x="1407" y="327"/>
                    <a:pt x="1451" y="411"/>
                  </a:cubicBezTo>
                  <a:cubicBezTo>
                    <a:pt x="1492" y="492"/>
                    <a:pt x="1520" y="576"/>
                    <a:pt x="1532" y="666"/>
                  </a:cubicBezTo>
                  <a:cubicBezTo>
                    <a:pt x="1533" y="677"/>
                    <a:pt x="1529" y="689"/>
                    <a:pt x="1538" y="699"/>
                  </a:cubicBezTo>
                  <a:cubicBezTo>
                    <a:pt x="1538" y="745"/>
                    <a:pt x="1538" y="791"/>
                    <a:pt x="1538" y="837"/>
                  </a:cubicBezTo>
                  <a:cubicBezTo>
                    <a:pt x="1533" y="838"/>
                    <a:pt x="1534" y="842"/>
                    <a:pt x="1534" y="845"/>
                  </a:cubicBezTo>
                  <a:cubicBezTo>
                    <a:pt x="1534" y="864"/>
                    <a:pt x="1531" y="883"/>
                    <a:pt x="1527" y="901"/>
                  </a:cubicBezTo>
                  <a:cubicBezTo>
                    <a:pt x="1511" y="987"/>
                    <a:pt x="1483" y="1068"/>
                    <a:pt x="1440" y="1144"/>
                  </a:cubicBezTo>
                  <a:cubicBezTo>
                    <a:pt x="1393" y="1229"/>
                    <a:pt x="1332" y="1301"/>
                    <a:pt x="1258" y="1362"/>
                  </a:cubicBezTo>
                  <a:cubicBezTo>
                    <a:pt x="1197" y="1413"/>
                    <a:pt x="1129" y="1453"/>
                    <a:pt x="1055" y="1482"/>
                  </a:cubicBezTo>
                  <a:cubicBezTo>
                    <a:pt x="982" y="1511"/>
                    <a:pt x="906" y="1530"/>
                    <a:pt x="828" y="1534"/>
                  </a:cubicBezTo>
                  <a:cubicBezTo>
                    <a:pt x="784" y="1537"/>
                    <a:pt x="740" y="1537"/>
                    <a:pt x="695" y="1533"/>
                  </a:cubicBezTo>
                  <a:cubicBezTo>
                    <a:pt x="656" y="1529"/>
                    <a:pt x="617" y="1522"/>
                    <a:pt x="579" y="1512"/>
                  </a:cubicBezTo>
                  <a:cubicBezTo>
                    <a:pt x="505" y="1494"/>
                    <a:pt x="437" y="1464"/>
                    <a:pt x="372" y="1426"/>
                  </a:cubicBezTo>
                  <a:cubicBezTo>
                    <a:pt x="303" y="1384"/>
                    <a:pt x="243" y="1333"/>
                    <a:pt x="191" y="1274"/>
                  </a:cubicBezTo>
                  <a:cubicBezTo>
                    <a:pt x="138" y="1214"/>
                    <a:pt x="96" y="1147"/>
                    <a:pt x="64" y="1073"/>
                  </a:cubicBezTo>
                  <a:cubicBezTo>
                    <a:pt x="31" y="994"/>
                    <a:pt x="9" y="913"/>
                    <a:pt x="4" y="827"/>
                  </a:cubicBezTo>
                  <a:cubicBezTo>
                    <a:pt x="0" y="767"/>
                    <a:pt x="1" y="706"/>
                    <a:pt x="11" y="646"/>
                  </a:cubicBezTo>
                  <a:cubicBezTo>
                    <a:pt x="23" y="574"/>
                    <a:pt x="44" y="504"/>
                    <a:pt x="75" y="439"/>
                  </a:cubicBezTo>
                  <a:cubicBezTo>
                    <a:pt x="126" y="332"/>
                    <a:pt x="198" y="241"/>
                    <a:pt x="290" y="168"/>
                  </a:cubicBezTo>
                  <a:cubicBezTo>
                    <a:pt x="359" y="113"/>
                    <a:pt x="434" y="71"/>
                    <a:pt x="517" y="42"/>
                  </a:cubicBezTo>
                  <a:cubicBezTo>
                    <a:pt x="566" y="25"/>
                    <a:pt x="617" y="13"/>
                    <a:pt x="669" y="6"/>
                  </a:cubicBezTo>
                  <a:cubicBezTo>
                    <a:pt x="679" y="5"/>
                    <a:pt x="692" y="9"/>
                    <a:pt x="701" y="0"/>
                  </a:cubicBezTo>
                  <a:close/>
                  <a:moveTo>
                    <a:pt x="425" y="775"/>
                  </a:moveTo>
                  <a:cubicBezTo>
                    <a:pt x="425" y="927"/>
                    <a:pt x="425" y="1080"/>
                    <a:pt x="424" y="1232"/>
                  </a:cubicBezTo>
                  <a:cubicBezTo>
                    <a:pt x="424" y="1245"/>
                    <a:pt x="427" y="1249"/>
                    <a:pt x="441" y="1249"/>
                  </a:cubicBezTo>
                  <a:cubicBezTo>
                    <a:pt x="659" y="1248"/>
                    <a:pt x="878" y="1248"/>
                    <a:pt x="1097" y="1249"/>
                  </a:cubicBezTo>
                  <a:cubicBezTo>
                    <a:pt x="1110" y="1249"/>
                    <a:pt x="1113" y="1246"/>
                    <a:pt x="1113" y="1233"/>
                  </a:cubicBezTo>
                  <a:cubicBezTo>
                    <a:pt x="1113" y="973"/>
                    <a:pt x="1113" y="713"/>
                    <a:pt x="1113" y="453"/>
                  </a:cubicBezTo>
                  <a:cubicBezTo>
                    <a:pt x="1113" y="445"/>
                    <a:pt x="1111" y="439"/>
                    <a:pt x="1107" y="432"/>
                  </a:cubicBezTo>
                  <a:cubicBezTo>
                    <a:pt x="1083" y="393"/>
                    <a:pt x="1059" y="354"/>
                    <a:pt x="1035" y="315"/>
                  </a:cubicBezTo>
                  <a:cubicBezTo>
                    <a:pt x="1030" y="305"/>
                    <a:pt x="1024" y="302"/>
                    <a:pt x="1013" y="302"/>
                  </a:cubicBezTo>
                  <a:cubicBezTo>
                    <a:pt x="822" y="302"/>
                    <a:pt x="632" y="302"/>
                    <a:pt x="442" y="302"/>
                  </a:cubicBezTo>
                  <a:cubicBezTo>
                    <a:pt x="428" y="302"/>
                    <a:pt x="424" y="305"/>
                    <a:pt x="424" y="319"/>
                  </a:cubicBezTo>
                  <a:cubicBezTo>
                    <a:pt x="425" y="471"/>
                    <a:pt x="424" y="623"/>
                    <a:pt x="425" y="7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0" name="Freeform 57"/>
            <p:cNvSpPr>
              <a:spLocks noEditPoints="1"/>
            </p:cNvSpPr>
            <p:nvPr/>
          </p:nvSpPr>
          <p:spPr bwMode="auto">
            <a:xfrm>
              <a:off x="3187" y="1642"/>
              <a:ext cx="435" cy="291"/>
            </a:xfrm>
            <a:custGeom>
              <a:avLst/>
              <a:gdLst>
                <a:gd name="T0" fmla="*/ 119 w 184"/>
                <a:gd name="T1" fmla="*/ 35 h 123"/>
                <a:gd name="T2" fmla="*/ 163 w 184"/>
                <a:gd name="T3" fmla="*/ 5 h 123"/>
                <a:gd name="T4" fmla="*/ 176 w 184"/>
                <a:gd name="T5" fmla="*/ 8 h 123"/>
                <a:gd name="T6" fmla="*/ 175 w 184"/>
                <a:gd name="T7" fmla="*/ 23 h 123"/>
                <a:gd name="T8" fmla="*/ 128 w 184"/>
                <a:gd name="T9" fmla="*/ 54 h 123"/>
                <a:gd name="T10" fmla="*/ 118 w 184"/>
                <a:gd name="T11" fmla="*/ 73 h 123"/>
                <a:gd name="T12" fmla="*/ 119 w 184"/>
                <a:gd name="T13" fmla="*/ 112 h 123"/>
                <a:gd name="T14" fmla="*/ 107 w 184"/>
                <a:gd name="T15" fmla="*/ 123 h 123"/>
                <a:gd name="T16" fmla="*/ 11 w 184"/>
                <a:gd name="T17" fmla="*/ 123 h 123"/>
                <a:gd name="T18" fmla="*/ 0 w 184"/>
                <a:gd name="T19" fmla="*/ 112 h 123"/>
                <a:gd name="T20" fmla="*/ 0 w 184"/>
                <a:gd name="T21" fmla="*/ 16 h 123"/>
                <a:gd name="T22" fmla="*/ 12 w 184"/>
                <a:gd name="T23" fmla="*/ 3 h 123"/>
                <a:gd name="T24" fmla="*/ 106 w 184"/>
                <a:gd name="T25" fmla="*/ 3 h 123"/>
                <a:gd name="T26" fmla="*/ 119 w 184"/>
                <a:gd name="T27" fmla="*/ 16 h 123"/>
                <a:gd name="T28" fmla="*/ 119 w 184"/>
                <a:gd name="T29" fmla="*/ 35 h 123"/>
                <a:gd name="T30" fmla="*/ 107 w 184"/>
                <a:gd name="T31" fmla="*/ 69 h 123"/>
                <a:gd name="T32" fmla="*/ 85 w 184"/>
                <a:gd name="T33" fmla="*/ 84 h 123"/>
                <a:gd name="T34" fmla="*/ 34 w 184"/>
                <a:gd name="T35" fmla="*/ 80 h 123"/>
                <a:gd name="T36" fmla="*/ 31 w 184"/>
                <a:gd name="T37" fmla="*/ 64 h 123"/>
                <a:gd name="T38" fmla="*/ 49 w 184"/>
                <a:gd name="T39" fmla="*/ 64 h 123"/>
                <a:gd name="T40" fmla="*/ 66 w 184"/>
                <a:gd name="T41" fmla="*/ 71 h 123"/>
                <a:gd name="T42" fmla="*/ 103 w 184"/>
                <a:gd name="T43" fmla="*/ 45 h 123"/>
                <a:gd name="T44" fmla="*/ 108 w 184"/>
                <a:gd name="T45" fmla="*/ 19 h 123"/>
                <a:gd name="T46" fmla="*/ 93 w 184"/>
                <a:gd name="T47" fmla="*/ 15 h 123"/>
                <a:gd name="T48" fmla="*/ 22 w 184"/>
                <a:gd name="T49" fmla="*/ 14 h 123"/>
                <a:gd name="T50" fmla="*/ 9 w 184"/>
                <a:gd name="T51" fmla="*/ 27 h 123"/>
                <a:gd name="T52" fmla="*/ 9 w 184"/>
                <a:gd name="T53" fmla="*/ 101 h 123"/>
                <a:gd name="T54" fmla="*/ 21 w 184"/>
                <a:gd name="T55" fmla="*/ 113 h 123"/>
                <a:gd name="T56" fmla="*/ 71 w 184"/>
                <a:gd name="T57" fmla="*/ 113 h 123"/>
                <a:gd name="T58" fmla="*/ 107 w 184"/>
                <a:gd name="T59" fmla="*/ 69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4" h="123">
                  <a:moveTo>
                    <a:pt x="119" y="35"/>
                  </a:moveTo>
                  <a:cubicBezTo>
                    <a:pt x="135" y="24"/>
                    <a:pt x="150" y="15"/>
                    <a:pt x="163" y="5"/>
                  </a:cubicBezTo>
                  <a:cubicBezTo>
                    <a:pt x="170" y="0"/>
                    <a:pt x="172" y="3"/>
                    <a:pt x="176" y="8"/>
                  </a:cubicBezTo>
                  <a:cubicBezTo>
                    <a:pt x="179" y="13"/>
                    <a:pt x="184" y="18"/>
                    <a:pt x="175" y="23"/>
                  </a:cubicBezTo>
                  <a:cubicBezTo>
                    <a:pt x="159" y="33"/>
                    <a:pt x="144" y="44"/>
                    <a:pt x="128" y="54"/>
                  </a:cubicBezTo>
                  <a:cubicBezTo>
                    <a:pt x="121" y="59"/>
                    <a:pt x="118" y="64"/>
                    <a:pt x="118" y="73"/>
                  </a:cubicBezTo>
                  <a:cubicBezTo>
                    <a:pt x="119" y="86"/>
                    <a:pt x="118" y="99"/>
                    <a:pt x="119" y="112"/>
                  </a:cubicBezTo>
                  <a:cubicBezTo>
                    <a:pt x="119" y="120"/>
                    <a:pt x="116" y="123"/>
                    <a:pt x="107" y="123"/>
                  </a:cubicBezTo>
                  <a:cubicBezTo>
                    <a:pt x="75" y="123"/>
                    <a:pt x="43" y="123"/>
                    <a:pt x="11" y="123"/>
                  </a:cubicBezTo>
                  <a:cubicBezTo>
                    <a:pt x="3" y="123"/>
                    <a:pt x="0" y="120"/>
                    <a:pt x="0" y="112"/>
                  </a:cubicBezTo>
                  <a:cubicBezTo>
                    <a:pt x="0" y="80"/>
                    <a:pt x="0" y="48"/>
                    <a:pt x="0" y="16"/>
                  </a:cubicBezTo>
                  <a:cubicBezTo>
                    <a:pt x="0" y="7"/>
                    <a:pt x="3" y="3"/>
                    <a:pt x="12" y="3"/>
                  </a:cubicBezTo>
                  <a:cubicBezTo>
                    <a:pt x="43" y="4"/>
                    <a:pt x="75" y="4"/>
                    <a:pt x="106" y="3"/>
                  </a:cubicBezTo>
                  <a:cubicBezTo>
                    <a:pt x="115" y="3"/>
                    <a:pt x="119" y="7"/>
                    <a:pt x="119" y="16"/>
                  </a:cubicBezTo>
                  <a:cubicBezTo>
                    <a:pt x="118" y="21"/>
                    <a:pt x="119" y="26"/>
                    <a:pt x="119" y="35"/>
                  </a:cubicBezTo>
                  <a:close/>
                  <a:moveTo>
                    <a:pt x="107" y="69"/>
                  </a:moveTo>
                  <a:cubicBezTo>
                    <a:pt x="98" y="75"/>
                    <a:pt x="91" y="79"/>
                    <a:pt x="85" y="84"/>
                  </a:cubicBezTo>
                  <a:cubicBezTo>
                    <a:pt x="58" y="102"/>
                    <a:pt x="58" y="102"/>
                    <a:pt x="34" y="80"/>
                  </a:cubicBezTo>
                  <a:cubicBezTo>
                    <a:pt x="29" y="75"/>
                    <a:pt x="23" y="72"/>
                    <a:pt x="31" y="64"/>
                  </a:cubicBezTo>
                  <a:cubicBezTo>
                    <a:pt x="38" y="55"/>
                    <a:pt x="43" y="59"/>
                    <a:pt x="49" y="64"/>
                  </a:cubicBezTo>
                  <a:cubicBezTo>
                    <a:pt x="53" y="68"/>
                    <a:pt x="57" y="77"/>
                    <a:pt x="66" y="71"/>
                  </a:cubicBezTo>
                  <a:cubicBezTo>
                    <a:pt x="78" y="62"/>
                    <a:pt x="91" y="54"/>
                    <a:pt x="103" y="45"/>
                  </a:cubicBezTo>
                  <a:cubicBezTo>
                    <a:pt x="113" y="38"/>
                    <a:pt x="109" y="28"/>
                    <a:pt x="108" y="19"/>
                  </a:cubicBezTo>
                  <a:cubicBezTo>
                    <a:pt x="107" y="11"/>
                    <a:pt x="98" y="15"/>
                    <a:pt x="93" y="15"/>
                  </a:cubicBezTo>
                  <a:cubicBezTo>
                    <a:pt x="69" y="14"/>
                    <a:pt x="46" y="15"/>
                    <a:pt x="22" y="14"/>
                  </a:cubicBezTo>
                  <a:cubicBezTo>
                    <a:pt x="12" y="14"/>
                    <a:pt x="9" y="18"/>
                    <a:pt x="9" y="27"/>
                  </a:cubicBezTo>
                  <a:cubicBezTo>
                    <a:pt x="10" y="52"/>
                    <a:pt x="10" y="76"/>
                    <a:pt x="9" y="101"/>
                  </a:cubicBezTo>
                  <a:cubicBezTo>
                    <a:pt x="9" y="109"/>
                    <a:pt x="12" y="113"/>
                    <a:pt x="21" y="113"/>
                  </a:cubicBezTo>
                  <a:cubicBezTo>
                    <a:pt x="38" y="113"/>
                    <a:pt x="54" y="113"/>
                    <a:pt x="71" y="113"/>
                  </a:cubicBezTo>
                  <a:cubicBezTo>
                    <a:pt x="112" y="113"/>
                    <a:pt x="112" y="113"/>
                    <a:pt x="107" y="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1" name="Freeform 58"/>
            <p:cNvSpPr>
              <a:spLocks noEditPoints="1"/>
            </p:cNvSpPr>
            <p:nvPr/>
          </p:nvSpPr>
          <p:spPr bwMode="auto">
            <a:xfrm>
              <a:off x="3187" y="1261"/>
              <a:ext cx="430" cy="288"/>
            </a:xfrm>
            <a:custGeom>
              <a:avLst/>
              <a:gdLst>
                <a:gd name="T0" fmla="*/ 120 w 182"/>
                <a:gd name="T1" fmla="*/ 33 h 122"/>
                <a:gd name="T2" fmla="*/ 162 w 182"/>
                <a:gd name="T3" fmla="*/ 5 h 122"/>
                <a:gd name="T4" fmla="*/ 176 w 182"/>
                <a:gd name="T5" fmla="*/ 7 h 122"/>
                <a:gd name="T6" fmla="*/ 174 w 182"/>
                <a:gd name="T7" fmla="*/ 23 h 122"/>
                <a:gd name="T8" fmla="*/ 129 w 182"/>
                <a:gd name="T9" fmla="*/ 53 h 122"/>
                <a:gd name="T10" fmla="*/ 118 w 182"/>
                <a:gd name="T11" fmla="*/ 72 h 122"/>
                <a:gd name="T12" fmla="*/ 119 w 182"/>
                <a:gd name="T13" fmla="*/ 110 h 122"/>
                <a:gd name="T14" fmla="*/ 106 w 182"/>
                <a:gd name="T15" fmla="*/ 122 h 122"/>
                <a:gd name="T16" fmla="*/ 12 w 182"/>
                <a:gd name="T17" fmla="*/ 122 h 122"/>
                <a:gd name="T18" fmla="*/ 0 w 182"/>
                <a:gd name="T19" fmla="*/ 110 h 122"/>
                <a:gd name="T20" fmla="*/ 0 w 182"/>
                <a:gd name="T21" fmla="*/ 16 h 122"/>
                <a:gd name="T22" fmla="*/ 13 w 182"/>
                <a:gd name="T23" fmla="*/ 3 h 122"/>
                <a:gd name="T24" fmla="*/ 100 w 182"/>
                <a:gd name="T25" fmla="*/ 3 h 122"/>
                <a:gd name="T26" fmla="*/ 119 w 182"/>
                <a:gd name="T27" fmla="*/ 21 h 122"/>
                <a:gd name="T28" fmla="*/ 120 w 182"/>
                <a:gd name="T29" fmla="*/ 33 h 122"/>
                <a:gd name="T30" fmla="*/ 108 w 182"/>
                <a:gd name="T31" fmla="*/ 67 h 122"/>
                <a:gd name="T32" fmla="*/ 84 w 182"/>
                <a:gd name="T33" fmla="*/ 83 h 122"/>
                <a:gd name="T34" fmla="*/ 35 w 182"/>
                <a:gd name="T35" fmla="*/ 80 h 122"/>
                <a:gd name="T36" fmla="*/ 31 w 182"/>
                <a:gd name="T37" fmla="*/ 62 h 122"/>
                <a:gd name="T38" fmla="*/ 49 w 182"/>
                <a:gd name="T39" fmla="*/ 64 h 122"/>
                <a:gd name="T40" fmla="*/ 65 w 182"/>
                <a:gd name="T41" fmla="*/ 71 h 122"/>
                <a:gd name="T42" fmla="*/ 103 w 182"/>
                <a:gd name="T43" fmla="*/ 44 h 122"/>
                <a:gd name="T44" fmla="*/ 108 w 182"/>
                <a:gd name="T45" fmla="*/ 18 h 122"/>
                <a:gd name="T46" fmla="*/ 92 w 182"/>
                <a:gd name="T47" fmla="*/ 14 h 122"/>
                <a:gd name="T48" fmla="*/ 21 w 182"/>
                <a:gd name="T49" fmla="*/ 13 h 122"/>
                <a:gd name="T50" fmla="*/ 9 w 182"/>
                <a:gd name="T51" fmla="*/ 23 h 122"/>
                <a:gd name="T52" fmla="*/ 9 w 182"/>
                <a:gd name="T53" fmla="*/ 103 h 122"/>
                <a:gd name="T54" fmla="*/ 19 w 182"/>
                <a:gd name="T55" fmla="*/ 113 h 122"/>
                <a:gd name="T56" fmla="*/ 100 w 182"/>
                <a:gd name="T57" fmla="*/ 112 h 122"/>
                <a:gd name="T58" fmla="*/ 108 w 182"/>
                <a:gd name="T59" fmla="*/ 104 h 122"/>
                <a:gd name="T60" fmla="*/ 108 w 182"/>
                <a:gd name="T61" fmla="*/ 6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82" h="122">
                  <a:moveTo>
                    <a:pt x="120" y="33"/>
                  </a:moveTo>
                  <a:cubicBezTo>
                    <a:pt x="135" y="23"/>
                    <a:pt x="149" y="15"/>
                    <a:pt x="162" y="5"/>
                  </a:cubicBezTo>
                  <a:cubicBezTo>
                    <a:pt x="168" y="1"/>
                    <a:pt x="172" y="0"/>
                    <a:pt x="176" y="7"/>
                  </a:cubicBezTo>
                  <a:cubicBezTo>
                    <a:pt x="180" y="14"/>
                    <a:pt x="182" y="18"/>
                    <a:pt x="174" y="23"/>
                  </a:cubicBezTo>
                  <a:cubicBezTo>
                    <a:pt x="159" y="33"/>
                    <a:pt x="144" y="43"/>
                    <a:pt x="129" y="53"/>
                  </a:cubicBezTo>
                  <a:cubicBezTo>
                    <a:pt x="121" y="58"/>
                    <a:pt x="118" y="63"/>
                    <a:pt x="118" y="72"/>
                  </a:cubicBezTo>
                  <a:cubicBezTo>
                    <a:pt x="119" y="85"/>
                    <a:pt x="118" y="97"/>
                    <a:pt x="119" y="110"/>
                  </a:cubicBezTo>
                  <a:cubicBezTo>
                    <a:pt x="119" y="119"/>
                    <a:pt x="116" y="122"/>
                    <a:pt x="106" y="122"/>
                  </a:cubicBezTo>
                  <a:cubicBezTo>
                    <a:pt x="75" y="122"/>
                    <a:pt x="43" y="122"/>
                    <a:pt x="12" y="122"/>
                  </a:cubicBezTo>
                  <a:cubicBezTo>
                    <a:pt x="3" y="122"/>
                    <a:pt x="0" y="119"/>
                    <a:pt x="0" y="110"/>
                  </a:cubicBezTo>
                  <a:cubicBezTo>
                    <a:pt x="0" y="79"/>
                    <a:pt x="0" y="47"/>
                    <a:pt x="0" y="16"/>
                  </a:cubicBezTo>
                  <a:cubicBezTo>
                    <a:pt x="0" y="6"/>
                    <a:pt x="3" y="3"/>
                    <a:pt x="13" y="3"/>
                  </a:cubicBezTo>
                  <a:cubicBezTo>
                    <a:pt x="42" y="3"/>
                    <a:pt x="71" y="4"/>
                    <a:pt x="100" y="3"/>
                  </a:cubicBezTo>
                  <a:cubicBezTo>
                    <a:pt x="114" y="2"/>
                    <a:pt x="121" y="6"/>
                    <a:pt x="119" y="21"/>
                  </a:cubicBezTo>
                  <a:cubicBezTo>
                    <a:pt x="118" y="24"/>
                    <a:pt x="119" y="28"/>
                    <a:pt x="120" y="33"/>
                  </a:cubicBezTo>
                  <a:close/>
                  <a:moveTo>
                    <a:pt x="108" y="67"/>
                  </a:moveTo>
                  <a:cubicBezTo>
                    <a:pt x="98" y="74"/>
                    <a:pt x="91" y="79"/>
                    <a:pt x="84" y="83"/>
                  </a:cubicBezTo>
                  <a:cubicBezTo>
                    <a:pt x="58" y="101"/>
                    <a:pt x="58" y="101"/>
                    <a:pt x="35" y="80"/>
                  </a:cubicBezTo>
                  <a:cubicBezTo>
                    <a:pt x="29" y="75"/>
                    <a:pt x="23" y="72"/>
                    <a:pt x="31" y="62"/>
                  </a:cubicBezTo>
                  <a:cubicBezTo>
                    <a:pt x="40" y="53"/>
                    <a:pt x="43" y="60"/>
                    <a:pt x="49" y="64"/>
                  </a:cubicBezTo>
                  <a:cubicBezTo>
                    <a:pt x="54" y="68"/>
                    <a:pt x="57" y="76"/>
                    <a:pt x="65" y="71"/>
                  </a:cubicBezTo>
                  <a:cubicBezTo>
                    <a:pt x="78" y="62"/>
                    <a:pt x="91" y="54"/>
                    <a:pt x="103" y="44"/>
                  </a:cubicBezTo>
                  <a:cubicBezTo>
                    <a:pt x="113" y="37"/>
                    <a:pt x="109" y="27"/>
                    <a:pt x="108" y="18"/>
                  </a:cubicBezTo>
                  <a:cubicBezTo>
                    <a:pt x="107" y="10"/>
                    <a:pt x="98" y="14"/>
                    <a:pt x="92" y="14"/>
                  </a:cubicBezTo>
                  <a:cubicBezTo>
                    <a:pt x="68" y="13"/>
                    <a:pt x="44" y="14"/>
                    <a:pt x="21" y="13"/>
                  </a:cubicBezTo>
                  <a:cubicBezTo>
                    <a:pt x="13" y="13"/>
                    <a:pt x="9" y="15"/>
                    <a:pt x="9" y="23"/>
                  </a:cubicBezTo>
                  <a:cubicBezTo>
                    <a:pt x="10" y="50"/>
                    <a:pt x="10" y="76"/>
                    <a:pt x="9" y="103"/>
                  </a:cubicBezTo>
                  <a:cubicBezTo>
                    <a:pt x="9" y="109"/>
                    <a:pt x="12" y="113"/>
                    <a:pt x="19" y="113"/>
                  </a:cubicBezTo>
                  <a:cubicBezTo>
                    <a:pt x="46" y="112"/>
                    <a:pt x="73" y="112"/>
                    <a:pt x="100" y="112"/>
                  </a:cubicBezTo>
                  <a:cubicBezTo>
                    <a:pt x="106" y="112"/>
                    <a:pt x="108" y="110"/>
                    <a:pt x="108" y="104"/>
                  </a:cubicBezTo>
                  <a:cubicBezTo>
                    <a:pt x="108" y="93"/>
                    <a:pt x="108" y="82"/>
                    <a:pt x="108" y="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2" name="Freeform 59"/>
            <p:cNvSpPr>
              <a:spLocks/>
            </p:cNvSpPr>
            <p:nvPr/>
          </p:nvSpPr>
          <p:spPr bwMode="auto">
            <a:xfrm>
              <a:off x="3606" y="1871"/>
              <a:ext cx="861" cy="55"/>
            </a:xfrm>
            <a:custGeom>
              <a:avLst/>
              <a:gdLst>
                <a:gd name="T0" fmla="*/ 181 w 364"/>
                <a:gd name="T1" fmla="*/ 20 h 23"/>
                <a:gd name="T2" fmla="*/ 13 w 364"/>
                <a:gd name="T3" fmla="*/ 20 h 23"/>
                <a:gd name="T4" fmla="*/ 0 w 364"/>
                <a:gd name="T5" fmla="*/ 12 h 23"/>
                <a:gd name="T6" fmla="*/ 14 w 364"/>
                <a:gd name="T7" fmla="*/ 3 h 23"/>
                <a:gd name="T8" fmla="*/ 351 w 364"/>
                <a:gd name="T9" fmla="*/ 3 h 23"/>
                <a:gd name="T10" fmla="*/ 363 w 364"/>
                <a:gd name="T11" fmla="*/ 11 h 23"/>
                <a:gd name="T12" fmla="*/ 350 w 364"/>
                <a:gd name="T13" fmla="*/ 20 h 23"/>
                <a:gd name="T14" fmla="*/ 181 w 364"/>
                <a:gd name="T15" fmla="*/ 2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4" h="23">
                  <a:moveTo>
                    <a:pt x="181" y="20"/>
                  </a:moveTo>
                  <a:cubicBezTo>
                    <a:pt x="125" y="20"/>
                    <a:pt x="69" y="20"/>
                    <a:pt x="13" y="20"/>
                  </a:cubicBezTo>
                  <a:cubicBezTo>
                    <a:pt x="8" y="20"/>
                    <a:pt x="0" y="23"/>
                    <a:pt x="0" y="12"/>
                  </a:cubicBezTo>
                  <a:cubicBezTo>
                    <a:pt x="0" y="0"/>
                    <a:pt x="8" y="3"/>
                    <a:pt x="14" y="3"/>
                  </a:cubicBezTo>
                  <a:cubicBezTo>
                    <a:pt x="126" y="3"/>
                    <a:pt x="238" y="3"/>
                    <a:pt x="351" y="3"/>
                  </a:cubicBezTo>
                  <a:cubicBezTo>
                    <a:pt x="356" y="3"/>
                    <a:pt x="363" y="1"/>
                    <a:pt x="363" y="11"/>
                  </a:cubicBezTo>
                  <a:cubicBezTo>
                    <a:pt x="364" y="22"/>
                    <a:pt x="356" y="20"/>
                    <a:pt x="350" y="20"/>
                  </a:cubicBezTo>
                  <a:cubicBezTo>
                    <a:pt x="294" y="20"/>
                    <a:pt x="238" y="20"/>
                    <a:pt x="181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3" name="Freeform 60"/>
            <p:cNvSpPr>
              <a:spLocks/>
            </p:cNvSpPr>
            <p:nvPr/>
          </p:nvSpPr>
          <p:spPr bwMode="auto">
            <a:xfrm>
              <a:off x="3603" y="2245"/>
              <a:ext cx="864" cy="57"/>
            </a:xfrm>
            <a:custGeom>
              <a:avLst/>
              <a:gdLst>
                <a:gd name="T0" fmla="*/ 184 w 365"/>
                <a:gd name="T1" fmla="*/ 3 h 24"/>
                <a:gd name="T2" fmla="*/ 350 w 365"/>
                <a:gd name="T3" fmla="*/ 3 h 24"/>
                <a:gd name="T4" fmla="*/ 364 w 365"/>
                <a:gd name="T5" fmla="*/ 11 h 24"/>
                <a:gd name="T6" fmla="*/ 350 w 365"/>
                <a:gd name="T7" fmla="*/ 20 h 24"/>
                <a:gd name="T8" fmla="*/ 16 w 365"/>
                <a:gd name="T9" fmla="*/ 20 h 24"/>
                <a:gd name="T10" fmla="*/ 1 w 365"/>
                <a:gd name="T11" fmla="*/ 14 h 24"/>
                <a:gd name="T12" fmla="*/ 13 w 365"/>
                <a:gd name="T13" fmla="*/ 3 h 24"/>
                <a:gd name="T14" fmla="*/ 184 w 365"/>
                <a:gd name="T15" fmla="*/ 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5" h="24">
                  <a:moveTo>
                    <a:pt x="184" y="3"/>
                  </a:moveTo>
                  <a:cubicBezTo>
                    <a:pt x="240" y="3"/>
                    <a:pt x="295" y="3"/>
                    <a:pt x="350" y="3"/>
                  </a:cubicBezTo>
                  <a:cubicBezTo>
                    <a:pt x="356" y="3"/>
                    <a:pt x="364" y="0"/>
                    <a:pt x="364" y="11"/>
                  </a:cubicBezTo>
                  <a:cubicBezTo>
                    <a:pt x="365" y="23"/>
                    <a:pt x="356" y="20"/>
                    <a:pt x="350" y="20"/>
                  </a:cubicBezTo>
                  <a:cubicBezTo>
                    <a:pt x="239" y="20"/>
                    <a:pt x="127" y="20"/>
                    <a:pt x="16" y="20"/>
                  </a:cubicBezTo>
                  <a:cubicBezTo>
                    <a:pt x="11" y="20"/>
                    <a:pt x="3" y="24"/>
                    <a:pt x="1" y="14"/>
                  </a:cubicBezTo>
                  <a:cubicBezTo>
                    <a:pt x="0" y="5"/>
                    <a:pt x="4" y="3"/>
                    <a:pt x="13" y="3"/>
                  </a:cubicBezTo>
                  <a:cubicBezTo>
                    <a:pt x="70" y="3"/>
                    <a:pt x="127" y="3"/>
                    <a:pt x="18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4" name="Freeform 61"/>
            <p:cNvSpPr>
              <a:spLocks/>
            </p:cNvSpPr>
            <p:nvPr/>
          </p:nvSpPr>
          <p:spPr bwMode="auto">
            <a:xfrm>
              <a:off x="3606" y="3019"/>
              <a:ext cx="861" cy="57"/>
            </a:xfrm>
            <a:custGeom>
              <a:avLst/>
              <a:gdLst>
                <a:gd name="T0" fmla="*/ 183 w 364"/>
                <a:gd name="T1" fmla="*/ 3 h 24"/>
                <a:gd name="T2" fmla="*/ 349 w 364"/>
                <a:gd name="T3" fmla="*/ 3 h 24"/>
                <a:gd name="T4" fmla="*/ 363 w 364"/>
                <a:gd name="T5" fmla="*/ 13 h 24"/>
                <a:gd name="T6" fmla="*/ 349 w 364"/>
                <a:gd name="T7" fmla="*/ 20 h 24"/>
                <a:gd name="T8" fmla="*/ 14 w 364"/>
                <a:gd name="T9" fmla="*/ 21 h 24"/>
                <a:gd name="T10" fmla="*/ 0 w 364"/>
                <a:gd name="T11" fmla="*/ 11 h 24"/>
                <a:gd name="T12" fmla="*/ 14 w 364"/>
                <a:gd name="T13" fmla="*/ 4 h 24"/>
                <a:gd name="T14" fmla="*/ 183 w 364"/>
                <a:gd name="T15" fmla="*/ 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4" h="24">
                  <a:moveTo>
                    <a:pt x="183" y="3"/>
                  </a:moveTo>
                  <a:cubicBezTo>
                    <a:pt x="239" y="3"/>
                    <a:pt x="294" y="3"/>
                    <a:pt x="349" y="3"/>
                  </a:cubicBezTo>
                  <a:cubicBezTo>
                    <a:pt x="356" y="3"/>
                    <a:pt x="364" y="1"/>
                    <a:pt x="363" y="13"/>
                  </a:cubicBezTo>
                  <a:cubicBezTo>
                    <a:pt x="363" y="24"/>
                    <a:pt x="355" y="20"/>
                    <a:pt x="349" y="20"/>
                  </a:cubicBezTo>
                  <a:cubicBezTo>
                    <a:pt x="238" y="21"/>
                    <a:pt x="126" y="21"/>
                    <a:pt x="14" y="21"/>
                  </a:cubicBezTo>
                  <a:cubicBezTo>
                    <a:pt x="8" y="21"/>
                    <a:pt x="0" y="23"/>
                    <a:pt x="0" y="11"/>
                  </a:cubicBezTo>
                  <a:cubicBezTo>
                    <a:pt x="1" y="0"/>
                    <a:pt x="9" y="4"/>
                    <a:pt x="14" y="4"/>
                  </a:cubicBezTo>
                  <a:cubicBezTo>
                    <a:pt x="70" y="3"/>
                    <a:pt x="127" y="3"/>
                    <a:pt x="18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5" name="Freeform 62"/>
            <p:cNvSpPr>
              <a:spLocks/>
            </p:cNvSpPr>
            <p:nvPr/>
          </p:nvSpPr>
          <p:spPr bwMode="auto">
            <a:xfrm>
              <a:off x="3606" y="1462"/>
              <a:ext cx="859" cy="54"/>
            </a:xfrm>
            <a:custGeom>
              <a:avLst/>
              <a:gdLst>
                <a:gd name="T0" fmla="*/ 183 w 363"/>
                <a:gd name="T1" fmla="*/ 3 h 23"/>
                <a:gd name="T2" fmla="*/ 349 w 363"/>
                <a:gd name="T3" fmla="*/ 3 h 23"/>
                <a:gd name="T4" fmla="*/ 363 w 363"/>
                <a:gd name="T5" fmla="*/ 11 h 23"/>
                <a:gd name="T6" fmla="*/ 349 w 363"/>
                <a:gd name="T7" fmla="*/ 19 h 23"/>
                <a:gd name="T8" fmla="*/ 13 w 363"/>
                <a:gd name="T9" fmla="*/ 19 h 23"/>
                <a:gd name="T10" fmla="*/ 0 w 363"/>
                <a:gd name="T11" fmla="*/ 12 h 23"/>
                <a:gd name="T12" fmla="*/ 13 w 363"/>
                <a:gd name="T13" fmla="*/ 3 h 23"/>
                <a:gd name="T14" fmla="*/ 183 w 363"/>
                <a:gd name="T15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3" h="23">
                  <a:moveTo>
                    <a:pt x="183" y="3"/>
                  </a:moveTo>
                  <a:cubicBezTo>
                    <a:pt x="238" y="3"/>
                    <a:pt x="294" y="3"/>
                    <a:pt x="349" y="3"/>
                  </a:cubicBezTo>
                  <a:cubicBezTo>
                    <a:pt x="355" y="3"/>
                    <a:pt x="363" y="0"/>
                    <a:pt x="363" y="11"/>
                  </a:cubicBezTo>
                  <a:cubicBezTo>
                    <a:pt x="363" y="23"/>
                    <a:pt x="355" y="19"/>
                    <a:pt x="349" y="19"/>
                  </a:cubicBezTo>
                  <a:cubicBezTo>
                    <a:pt x="237" y="20"/>
                    <a:pt x="125" y="20"/>
                    <a:pt x="13" y="19"/>
                  </a:cubicBezTo>
                  <a:cubicBezTo>
                    <a:pt x="8" y="19"/>
                    <a:pt x="1" y="22"/>
                    <a:pt x="0" y="12"/>
                  </a:cubicBezTo>
                  <a:cubicBezTo>
                    <a:pt x="0" y="1"/>
                    <a:pt x="8" y="3"/>
                    <a:pt x="13" y="3"/>
                  </a:cubicBezTo>
                  <a:cubicBezTo>
                    <a:pt x="70" y="3"/>
                    <a:pt x="126" y="3"/>
                    <a:pt x="18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6" name="Freeform 63"/>
            <p:cNvSpPr>
              <a:spLocks/>
            </p:cNvSpPr>
            <p:nvPr/>
          </p:nvSpPr>
          <p:spPr bwMode="auto">
            <a:xfrm>
              <a:off x="3606" y="2655"/>
              <a:ext cx="859" cy="52"/>
            </a:xfrm>
            <a:custGeom>
              <a:avLst/>
              <a:gdLst>
                <a:gd name="T0" fmla="*/ 180 w 363"/>
                <a:gd name="T1" fmla="*/ 20 h 22"/>
                <a:gd name="T2" fmla="*/ 18 w 363"/>
                <a:gd name="T3" fmla="*/ 20 h 22"/>
                <a:gd name="T4" fmla="*/ 12 w 363"/>
                <a:gd name="T5" fmla="*/ 20 h 22"/>
                <a:gd name="T6" fmla="*/ 0 w 363"/>
                <a:gd name="T7" fmla="*/ 11 h 22"/>
                <a:gd name="T8" fmla="*/ 12 w 363"/>
                <a:gd name="T9" fmla="*/ 4 h 22"/>
                <a:gd name="T10" fmla="*/ 144 w 363"/>
                <a:gd name="T11" fmla="*/ 4 h 22"/>
                <a:gd name="T12" fmla="*/ 349 w 363"/>
                <a:gd name="T13" fmla="*/ 4 h 22"/>
                <a:gd name="T14" fmla="*/ 363 w 363"/>
                <a:gd name="T15" fmla="*/ 11 h 22"/>
                <a:gd name="T16" fmla="*/ 349 w 363"/>
                <a:gd name="T17" fmla="*/ 20 h 22"/>
                <a:gd name="T18" fmla="*/ 180 w 363"/>
                <a:gd name="T19" fmla="*/ 2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3" h="22">
                  <a:moveTo>
                    <a:pt x="180" y="20"/>
                  </a:moveTo>
                  <a:cubicBezTo>
                    <a:pt x="126" y="20"/>
                    <a:pt x="72" y="20"/>
                    <a:pt x="18" y="20"/>
                  </a:cubicBezTo>
                  <a:cubicBezTo>
                    <a:pt x="16" y="20"/>
                    <a:pt x="14" y="20"/>
                    <a:pt x="12" y="20"/>
                  </a:cubicBezTo>
                  <a:cubicBezTo>
                    <a:pt x="6" y="20"/>
                    <a:pt x="0" y="21"/>
                    <a:pt x="0" y="11"/>
                  </a:cubicBezTo>
                  <a:cubicBezTo>
                    <a:pt x="1" y="2"/>
                    <a:pt x="7" y="4"/>
                    <a:pt x="12" y="4"/>
                  </a:cubicBezTo>
                  <a:cubicBezTo>
                    <a:pt x="56" y="4"/>
                    <a:pt x="100" y="4"/>
                    <a:pt x="144" y="4"/>
                  </a:cubicBezTo>
                  <a:cubicBezTo>
                    <a:pt x="212" y="4"/>
                    <a:pt x="281" y="3"/>
                    <a:pt x="349" y="4"/>
                  </a:cubicBezTo>
                  <a:cubicBezTo>
                    <a:pt x="355" y="4"/>
                    <a:pt x="363" y="0"/>
                    <a:pt x="363" y="11"/>
                  </a:cubicBezTo>
                  <a:cubicBezTo>
                    <a:pt x="363" y="22"/>
                    <a:pt x="355" y="20"/>
                    <a:pt x="349" y="20"/>
                  </a:cubicBezTo>
                  <a:cubicBezTo>
                    <a:pt x="293" y="20"/>
                    <a:pt x="236" y="20"/>
                    <a:pt x="180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7" name="Freeform 64"/>
            <p:cNvSpPr>
              <a:spLocks noEditPoints="1"/>
            </p:cNvSpPr>
            <p:nvPr/>
          </p:nvSpPr>
          <p:spPr bwMode="auto">
            <a:xfrm>
              <a:off x="3187" y="2416"/>
              <a:ext cx="281" cy="284"/>
            </a:xfrm>
            <a:custGeom>
              <a:avLst/>
              <a:gdLst>
                <a:gd name="T0" fmla="*/ 119 w 119"/>
                <a:gd name="T1" fmla="*/ 61 h 120"/>
                <a:gd name="T2" fmla="*/ 119 w 119"/>
                <a:gd name="T3" fmla="*/ 106 h 120"/>
                <a:gd name="T4" fmla="*/ 106 w 119"/>
                <a:gd name="T5" fmla="*/ 120 h 120"/>
                <a:gd name="T6" fmla="*/ 11 w 119"/>
                <a:gd name="T7" fmla="*/ 120 h 120"/>
                <a:gd name="T8" fmla="*/ 0 w 119"/>
                <a:gd name="T9" fmla="*/ 108 h 120"/>
                <a:gd name="T10" fmla="*/ 0 w 119"/>
                <a:gd name="T11" fmla="*/ 11 h 120"/>
                <a:gd name="T12" fmla="*/ 10 w 119"/>
                <a:gd name="T13" fmla="*/ 0 h 120"/>
                <a:gd name="T14" fmla="*/ 108 w 119"/>
                <a:gd name="T15" fmla="*/ 0 h 120"/>
                <a:gd name="T16" fmla="*/ 119 w 119"/>
                <a:gd name="T17" fmla="*/ 12 h 120"/>
                <a:gd name="T18" fmla="*/ 119 w 119"/>
                <a:gd name="T19" fmla="*/ 61 h 120"/>
                <a:gd name="T20" fmla="*/ 119 w 119"/>
                <a:gd name="T21" fmla="*/ 61 h 120"/>
                <a:gd name="T22" fmla="*/ 59 w 119"/>
                <a:gd name="T23" fmla="*/ 109 h 120"/>
                <a:gd name="T24" fmla="*/ 97 w 119"/>
                <a:gd name="T25" fmla="*/ 109 h 120"/>
                <a:gd name="T26" fmla="*/ 109 w 119"/>
                <a:gd name="T27" fmla="*/ 98 h 120"/>
                <a:gd name="T28" fmla="*/ 109 w 119"/>
                <a:gd name="T29" fmla="*/ 22 h 120"/>
                <a:gd name="T30" fmla="*/ 97 w 119"/>
                <a:gd name="T31" fmla="*/ 11 h 120"/>
                <a:gd name="T32" fmla="*/ 22 w 119"/>
                <a:gd name="T33" fmla="*/ 10 h 120"/>
                <a:gd name="T34" fmla="*/ 9 w 119"/>
                <a:gd name="T35" fmla="*/ 23 h 120"/>
                <a:gd name="T36" fmla="*/ 9 w 119"/>
                <a:gd name="T37" fmla="*/ 97 h 120"/>
                <a:gd name="T38" fmla="*/ 23 w 119"/>
                <a:gd name="T39" fmla="*/ 109 h 120"/>
                <a:gd name="T40" fmla="*/ 59 w 119"/>
                <a:gd name="T41" fmla="*/ 10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0">
                  <a:moveTo>
                    <a:pt x="119" y="61"/>
                  </a:moveTo>
                  <a:cubicBezTo>
                    <a:pt x="119" y="76"/>
                    <a:pt x="118" y="91"/>
                    <a:pt x="119" y="106"/>
                  </a:cubicBezTo>
                  <a:cubicBezTo>
                    <a:pt x="119" y="116"/>
                    <a:pt x="116" y="120"/>
                    <a:pt x="106" y="120"/>
                  </a:cubicBezTo>
                  <a:cubicBezTo>
                    <a:pt x="74" y="119"/>
                    <a:pt x="43" y="119"/>
                    <a:pt x="11" y="120"/>
                  </a:cubicBezTo>
                  <a:cubicBezTo>
                    <a:pt x="3" y="120"/>
                    <a:pt x="0" y="117"/>
                    <a:pt x="0" y="108"/>
                  </a:cubicBezTo>
                  <a:cubicBezTo>
                    <a:pt x="0" y="76"/>
                    <a:pt x="0" y="43"/>
                    <a:pt x="0" y="11"/>
                  </a:cubicBezTo>
                  <a:cubicBezTo>
                    <a:pt x="0" y="4"/>
                    <a:pt x="2" y="0"/>
                    <a:pt x="10" y="0"/>
                  </a:cubicBezTo>
                  <a:cubicBezTo>
                    <a:pt x="43" y="0"/>
                    <a:pt x="75" y="1"/>
                    <a:pt x="108" y="0"/>
                  </a:cubicBezTo>
                  <a:cubicBezTo>
                    <a:pt x="117" y="0"/>
                    <a:pt x="119" y="4"/>
                    <a:pt x="119" y="12"/>
                  </a:cubicBezTo>
                  <a:cubicBezTo>
                    <a:pt x="118" y="29"/>
                    <a:pt x="119" y="45"/>
                    <a:pt x="119" y="61"/>
                  </a:cubicBezTo>
                  <a:cubicBezTo>
                    <a:pt x="119" y="61"/>
                    <a:pt x="119" y="61"/>
                    <a:pt x="119" y="61"/>
                  </a:cubicBezTo>
                  <a:close/>
                  <a:moveTo>
                    <a:pt x="59" y="109"/>
                  </a:moveTo>
                  <a:cubicBezTo>
                    <a:pt x="71" y="109"/>
                    <a:pt x="84" y="108"/>
                    <a:pt x="97" y="109"/>
                  </a:cubicBezTo>
                  <a:cubicBezTo>
                    <a:pt x="106" y="109"/>
                    <a:pt x="109" y="106"/>
                    <a:pt x="109" y="98"/>
                  </a:cubicBezTo>
                  <a:cubicBezTo>
                    <a:pt x="108" y="72"/>
                    <a:pt x="108" y="47"/>
                    <a:pt x="109" y="22"/>
                  </a:cubicBezTo>
                  <a:cubicBezTo>
                    <a:pt x="109" y="13"/>
                    <a:pt x="105" y="10"/>
                    <a:pt x="97" y="11"/>
                  </a:cubicBezTo>
                  <a:cubicBezTo>
                    <a:pt x="72" y="11"/>
                    <a:pt x="47" y="11"/>
                    <a:pt x="22" y="10"/>
                  </a:cubicBezTo>
                  <a:cubicBezTo>
                    <a:pt x="13" y="10"/>
                    <a:pt x="9" y="13"/>
                    <a:pt x="9" y="23"/>
                  </a:cubicBezTo>
                  <a:cubicBezTo>
                    <a:pt x="10" y="48"/>
                    <a:pt x="10" y="72"/>
                    <a:pt x="9" y="97"/>
                  </a:cubicBezTo>
                  <a:cubicBezTo>
                    <a:pt x="9" y="107"/>
                    <a:pt x="13" y="109"/>
                    <a:pt x="23" y="109"/>
                  </a:cubicBezTo>
                  <a:cubicBezTo>
                    <a:pt x="35" y="108"/>
                    <a:pt x="47" y="109"/>
                    <a:pt x="59" y="1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8" name="Freeform 65"/>
            <p:cNvSpPr>
              <a:spLocks noEditPoints="1"/>
            </p:cNvSpPr>
            <p:nvPr/>
          </p:nvSpPr>
          <p:spPr bwMode="auto">
            <a:xfrm>
              <a:off x="3187" y="2032"/>
              <a:ext cx="281" cy="284"/>
            </a:xfrm>
            <a:custGeom>
              <a:avLst/>
              <a:gdLst>
                <a:gd name="T0" fmla="*/ 60 w 119"/>
                <a:gd name="T1" fmla="*/ 0 h 120"/>
                <a:gd name="T2" fmla="*/ 105 w 119"/>
                <a:gd name="T3" fmla="*/ 0 h 120"/>
                <a:gd name="T4" fmla="*/ 119 w 119"/>
                <a:gd name="T5" fmla="*/ 13 h 120"/>
                <a:gd name="T6" fmla="*/ 119 w 119"/>
                <a:gd name="T7" fmla="*/ 107 h 120"/>
                <a:gd name="T8" fmla="*/ 105 w 119"/>
                <a:gd name="T9" fmla="*/ 120 h 120"/>
                <a:gd name="T10" fmla="*/ 13 w 119"/>
                <a:gd name="T11" fmla="*/ 120 h 120"/>
                <a:gd name="T12" fmla="*/ 0 w 119"/>
                <a:gd name="T13" fmla="*/ 107 h 120"/>
                <a:gd name="T14" fmla="*/ 0 w 119"/>
                <a:gd name="T15" fmla="*/ 12 h 120"/>
                <a:gd name="T16" fmla="*/ 12 w 119"/>
                <a:gd name="T17" fmla="*/ 0 h 120"/>
                <a:gd name="T18" fmla="*/ 60 w 119"/>
                <a:gd name="T19" fmla="*/ 0 h 120"/>
                <a:gd name="T20" fmla="*/ 108 w 119"/>
                <a:gd name="T21" fmla="*/ 61 h 120"/>
                <a:gd name="T22" fmla="*/ 108 w 119"/>
                <a:gd name="T23" fmla="*/ 21 h 120"/>
                <a:gd name="T24" fmla="*/ 99 w 119"/>
                <a:gd name="T25" fmla="*/ 11 h 120"/>
                <a:gd name="T26" fmla="*/ 20 w 119"/>
                <a:gd name="T27" fmla="*/ 11 h 120"/>
                <a:gd name="T28" fmla="*/ 9 w 119"/>
                <a:gd name="T29" fmla="*/ 22 h 120"/>
                <a:gd name="T30" fmla="*/ 9 w 119"/>
                <a:gd name="T31" fmla="*/ 99 h 120"/>
                <a:gd name="T32" fmla="*/ 19 w 119"/>
                <a:gd name="T33" fmla="*/ 109 h 120"/>
                <a:gd name="T34" fmla="*/ 98 w 119"/>
                <a:gd name="T35" fmla="*/ 110 h 120"/>
                <a:gd name="T36" fmla="*/ 108 w 119"/>
                <a:gd name="T37" fmla="*/ 99 h 120"/>
                <a:gd name="T38" fmla="*/ 108 w 119"/>
                <a:gd name="T39" fmla="*/ 61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9" h="120">
                  <a:moveTo>
                    <a:pt x="60" y="0"/>
                  </a:moveTo>
                  <a:cubicBezTo>
                    <a:pt x="75" y="0"/>
                    <a:pt x="90" y="1"/>
                    <a:pt x="105" y="0"/>
                  </a:cubicBezTo>
                  <a:cubicBezTo>
                    <a:pt x="114" y="0"/>
                    <a:pt x="119" y="2"/>
                    <a:pt x="119" y="13"/>
                  </a:cubicBezTo>
                  <a:cubicBezTo>
                    <a:pt x="118" y="44"/>
                    <a:pt x="118" y="75"/>
                    <a:pt x="119" y="107"/>
                  </a:cubicBezTo>
                  <a:cubicBezTo>
                    <a:pt x="119" y="116"/>
                    <a:pt x="115" y="120"/>
                    <a:pt x="105" y="120"/>
                  </a:cubicBezTo>
                  <a:cubicBezTo>
                    <a:pt x="75" y="119"/>
                    <a:pt x="44" y="119"/>
                    <a:pt x="13" y="120"/>
                  </a:cubicBezTo>
                  <a:cubicBezTo>
                    <a:pt x="3" y="120"/>
                    <a:pt x="0" y="116"/>
                    <a:pt x="0" y="107"/>
                  </a:cubicBezTo>
                  <a:cubicBezTo>
                    <a:pt x="0" y="75"/>
                    <a:pt x="0" y="44"/>
                    <a:pt x="0" y="12"/>
                  </a:cubicBezTo>
                  <a:cubicBezTo>
                    <a:pt x="0" y="4"/>
                    <a:pt x="3" y="0"/>
                    <a:pt x="12" y="0"/>
                  </a:cubicBezTo>
                  <a:cubicBezTo>
                    <a:pt x="28" y="1"/>
                    <a:pt x="44" y="0"/>
                    <a:pt x="60" y="0"/>
                  </a:cubicBezTo>
                  <a:close/>
                  <a:moveTo>
                    <a:pt x="108" y="61"/>
                  </a:moveTo>
                  <a:cubicBezTo>
                    <a:pt x="108" y="48"/>
                    <a:pt x="108" y="34"/>
                    <a:pt x="108" y="21"/>
                  </a:cubicBezTo>
                  <a:cubicBezTo>
                    <a:pt x="109" y="14"/>
                    <a:pt x="107" y="11"/>
                    <a:pt x="99" y="11"/>
                  </a:cubicBezTo>
                  <a:cubicBezTo>
                    <a:pt x="73" y="11"/>
                    <a:pt x="46" y="11"/>
                    <a:pt x="20" y="11"/>
                  </a:cubicBezTo>
                  <a:cubicBezTo>
                    <a:pt x="12" y="11"/>
                    <a:pt x="9" y="14"/>
                    <a:pt x="9" y="22"/>
                  </a:cubicBezTo>
                  <a:cubicBezTo>
                    <a:pt x="10" y="48"/>
                    <a:pt x="10" y="73"/>
                    <a:pt x="9" y="99"/>
                  </a:cubicBezTo>
                  <a:cubicBezTo>
                    <a:pt x="9" y="106"/>
                    <a:pt x="12" y="109"/>
                    <a:pt x="19" y="109"/>
                  </a:cubicBezTo>
                  <a:cubicBezTo>
                    <a:pt x="45" y="109"/>
                    <a:pt x="72" y="109"/>
                    <a:pt x="98" y="110"/>
                  </a:cubicBezTo>
                  <a:cubicBezTo>
                    <a:pt x="107" y="110"/>
                    <a:pt x="109" y="106"/>
                    <a:pt x="108" y="99"/>
                  </a:cubicBezTo>
                  <a:cubicBezTo>
                    <a:pt x="108" y="86"/>
                    <a:pt x="108" y="74"/>
                    <a:pt x="108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9" name="Freeform 66"/>
            <p:cNvSpPr>
              <a:spLocks noEditPoints="1"/>
            </p:cNvSpPr>
            <p:nvPr/>
          </p:nvSpPr>
          <p:spPr bwMode="auto">
            <a:xfrm>
              <a:off x="3187" y="2799"/>
              <a:ext cx="281" cy="284"/>
            </a:xfrm>
            <a:custGeom>
              <a:avLst/>
              <a:gdLst>
                <a:gd name="T0" fmla="*/ 0 w 119"/>
                <a:gd name="T1" fmla="*/ 58 h 120"/>
                <a:gd name="T2" fmla="*/ 0 w 119"/>
                <a:gd name="T3" fmla="*/ 12 h 120"/>
                <a:gd name="T4" fmla="*/ 11 w 119"/>
                <a:gd name="T5" fmla="*/ 0 h 120"/>
                <a:gd name="T6" fmla="*/ 108 w 119"/>
                <a:gd name="T7" fmla="*/ 0 h 120"/>
                <a:gd name="T8" fmla="*/ 119 w 119"/>
                <a:gd name="T9" fmla="*/ 11 h 120"/>
                <a:gd name="T10" fmla="*/ 119 w 119"/>
                <a:gd name="T11" fmla="*/ 108 h 120"/>
                <a:gd name="T12" fmla="*/ 107 w 119"/>
                <a:gd name="T13" fmla="*/ 119 h 120"/>
                <a:gd name="T14" fmla="*/ 11 w 119"/>
                <a:gd name="T15" fmla="*/ 119 h 120"/>
                <a:gd name="T16" fmla="*/ 0 w 119"/>
                <a:gd name="T17" fmla="*/ 108 h 120"/>
                <a:gd name="T18" fmla="*/ 0 w 119"/>
                <a:gd name="T19" fmla="*/ 58 h 120"/>
                <a:gd name="T20" fmla="*/ 0 w 119"/>
                <a:gd name="T21" fmla="*/ 58 h 120"/>
                <a:gd name="T22" fmla="*/ 60 w 119"/>
                <a:gd name="T23" fmla="*/ 109 h 120"/>
                <a:gd name="T24" fmla="*/ 97 w 119"/>
                <a:gd name="T25" fmla="*/ 109 h 120"/>
                <a:gd name="T26" fmla="*/ 109 w 119"/>
                <a:gd name="T27" fmla="*/ 98 h 120"/>
                <a:gd name="T28" fmla="*/ 109 w 119"/>
                <a:gd name="T29" fmla="*/ 21 h 120"/>
                <a:gd name="T30" fmla="*/ 96 w 119"/>
                <a:gd name="T31" fmla="*/ 10 h 120"/>
                <a:gd name="T32" fmla="*/ 22 w 119"/>
                <a:gd name="T33" fmla="*/ 10 h 120"/>
                <a:gd name="T34" fmla="*/ 9 w 119"/>
                <a:gd name="T35" fmla="*/ 22 h 120"/>
                <a:gd name="T36" fmla="*/ 9 w 119"/>
                <a:gd name="T37" fmla="*/ 97 h 120"/>
                <a:gd name="T38" fmla="*/ 21 w 119"/>
                <a:gd name="T39" fmla="*/ 109 h 120"/>
                <a:gd name="T40" fmla="*/ 60 w 119"/>
                <a:gd name="T41" fmla="*/ 10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0">
                  <a:moveTo>
                    <a:pt x="0" y="58"/>
                  </a:moveTo>
                  <a:cubicBezTo>
                    <a:pt x="0" y="43"/>
                    <a:pt x="0" y="27"/>
                    <a:pt x="0" y="12"/>
                  </a:cubicBezTo>
                  <a:cubicBezTo>
                    <a:pt x="0" y="4"/>
                    <a:pt x="1" y="0"/>
                    <a:pt x="11" y="0"/>
                  </a:cubicBezTo>
                  <a:cubicBezTo>
                    <a:pt x="43" y="0"/>
                    <a:pt x="75" y="0"/>
                    <a:pt x="108" y="0"/>
                  </a:cubicBezTo>
                  <a:cubicBezTo>
                    <a:pt x="116" y="0"/>
                    <a:pt x="119" y="3"/>
                    <a:pt x="119" y="11"/>
                  </a:cubicBezTo>
                  <a:cubicBezTo>
                    <a:pt x="118" y="43"/>
                    <a:pt x="119" y="75"/>
                    <a:pt x="119" y="108"/>
                  </a:cubicBezTo>
                  <a:cubicBezTo>
                    <a:pt x="119" y="116"/>
                    <a:pt x="115" y="120"/>
                    <a:pt x="107" y="119"/>
                  </a:cubicBezTo>
                  <a:cubicBezTo>
                    <a:pt x="75" y="119"/>
                    <a:pt x="43" y="119"/>
                    <a:pt x="11" y="119"/>
                  </a:cubicBezTo>
                  <a:cubicBezTo>
                    <a:pt x="3" y="119"/>
                    <a:pt x="0" y="116"/>
                    <a:pt x="0" y="108"/>
                  </a:cubicBezTo>
                  <a:cubicBezTo>
                    <a:pt x="0" y="91"/>
                    <a:pt x="0" y="75"/>
                    <a:pt x="0" y="58"/>
                  </a:cubicBezTo>
                  <a:cubicBezTo>
                    <a:pt x="0" y="58"/>
                    <a:pt x="0" y="58"/>
                    <a:pt x="0" y="58"/>
                  </a:cubicBezTo>
                  <a:close/>
                  <a:moveTo>
                    <a:pt x="60" y="109"/>
                  </a:moveTo>
                  <a:cubicBezTo>
                    <a:pt x="72" y="109"/>
                    <a:pt x="85" y="108"/>
                    <a:pt x="97" y="109"/>
                  </a:cubicBezTo>
                  <a:cubicBezTo>
                    <a:pt x="106" y="109"/>
                    <a:pt x="109" y="106"/>
                    <a:pt x="109" y="98"/>
                  </a:cubicBezTo>
                  <a:cubicBezTo>
                    <a:pt x="108" y="72"/>
                    <a:pt x="108" y="47"/>
                    <a:pt x="109" y="21"/>
                  </a:cubicBezTo>
                  <a:cubicBezTo>
                    <a:pt x="109" y="12"/>
                    <a:pt x="105" y="9"/>
                    <a:pt x="96" y="10"/>
                  </a:cubicBezTo>
                  <a:cubicBezTo>
                    <a:pt x="71" y="10"/>
                    <a:pt x="46" y="10"/>
                    <a:pt x="22" y="10"/>
                  </a:cubicBezTo>
                  <a:cubicBezTo>
                    <a:pt x="13" y="10"/>
                    <a:pt x="9" y="13"/>
                    <a:pt x="9" y="22"/>
                  </a:cubicBezTo>
                  <a:cubicBezTo>
                    <a:pt x="10" y="47"/>
                    <a:pt x="10" y="72"/>
                    <a:pt x="9" y="97"/>
                  </a:cubicBezTo>
                  <a:cubicBezTo>
                    <a:pt x="9" y="105"/>
                    <a:pt x="12" y="109"/>
                    <a:pt x="21" y="109"/>
                  </a:cubicBezTo>
                  <a:cubicBezTo>
                    <a:pt x="34" y="108"/>
                    <a:pt x="47" y="109"/>
                    <a:pt x="60" y="1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565" name="Group 201"/>
          <p:cNvGrpSpPr/>
          <p:nvPr/>
        </p:nvGrpSpPr>
        <p:grpSpPr>
          <a:xfrm flipH="1">
            <a:off x="5056204" y="4355924"/>
            <a:ext cx="254089" cy="254089"/>
            <a:chOff x="1282752" y="4938098"/>
            <a:chExt cx="1451258" cy="1449504"/>
          </a:xfrm>
          <a:solidFill>
            <a:schemeClr val="bg1"/>
          </a:solidFill>
          <a:effectLst/>
        </p:grpSpPr>
        <p:grpSp>
          <p:nvGrpSpPr>
            <p:cNvPr id="566" name="Group 203"/>
            <p:cNvGrpSpPr/>
            <p:nvPr/>
          </p:nvGrpSpPr>
          <p:grpSpPr>
            <a:xfrm>
              <a:off x="1783764" y="5241759"/>
              <a:ext cx="444794" cy="514698"/>
              <a:chOff x="14065458" y="16152057"/>
              <a:chExt cx="1908828" cy="2208820"/>
            </a:xfrm>
            <a:grpFill/>
          </p:grpSpPr>
          <p:sp>
            <p:nvSpPr>
              <p:cNvPr id="576" name="Rounded Rectangle 213"/>
              <p:cNvSpPr/>
              <p:nvPr/>
            </p:nvSpPr>
            <p:spPr>
              <a:xfrm rot="20661364">
                <a:off x="14200146" y="16208948"/>
                <a:ext cx="277157" cy="2151929"/>
              </a:xfrm>
              <a:prstGeom prst="roundRect">
                <a:avLst>
                  <a:gd name="adj" fmla="val 46875"/>
                </a:avLst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519970">
                  <a:defRPr/>
                </a:pPr>
                <a:endParaRPr lang="en-US" sz="1842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577" name="Rounded Rectangle 214"/>
              <p:cNvSpPr/>
              <p:nvPr/>
            </p:nvSpPr>
            <p:spPr>
              <a:xfrm rot="938636" flipH="1">
                <a:off x="15569359" y="16208948"/>
                <a:ext cx="277157" cy="2151929"/>
              </a:xfrm>
              <a:prstGeom prst="roundRect">
                <a:avLst>
                  <a:gd name="adj" fmla="val 46875"/>
                </a:avLst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519970">
                  <a:defRPr/>
                </a:pPr>
                <a:endParaRPr lang="en-US" sz="1842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578" name="Rounded Rectangle 215"/>
              <p:cNvSpPr/>
              <p:nvPr/>
            </p:nvSpPr>
            <p:spPr>
              <a:xfrm flipH="1">
                <a:off x="14871104" y="16152057"/>
                <a:ext cx="277157" cy="1138309"/>
              </a:xfrm>
              <a:prstGeom prst="roundRect">
                <a:avLst>
                  <a:gd name="adj" fmla="val 46875"/>
                </a:avLst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519970">
                  <a:defRPr/>
                </a:pPr>
                <a:endParaRPr lang="en-US" sz="1842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579" name="Freeform 216"/>
              <p:cNvSpPr/>
              <p:nvPr/>
            </p:nvSpPr>
            <p:spPr>
              <a:xfrm>
                <a:off x="14065458" y="16512027"/>
                <a:ext cx="1908828" cy="559897"/>
              </a:xfrm>
              <a:custGeom>
                <a:avLst/>
                <a:gdLst>
                  <a:gd name="connsiteX0" fmla="*/ 2650874 w 3020652"/>
                  <a:gd name="connsiteY0" fmla="*/ 501853 h 2043633"/>
                  <a:gd name="connsiteX1" fmla="*/ 2675767 w 3020652"/>
                  <a:gd name="connsiteY1" fmla="*/ 528173 h 2043633"/>
                  <a:gd name="connsiteX2" fmla="*/ 3020652 w 3020652"/>
                  <a:gd name="connsiteY2" fmla="*/ 1451393 h 2043633"/>
                  <a:gd name="connsiteX3" fmla="*/ 2901963 w 3020652"/>
                  <a:gd name="connsiteY3" fmla="*/ 2016341 h 2043633"/>
                  <a:gd name="connsiteX4" fmla="*/ 2897503 w 3020652"/>
                  <a:gd name="connsiteY4" fmla="*/ 2025239 h 2043633"/>
                  <a:gd name="connsiteX5" fmla="*/ 2802193 w 3020652"/>
                  <a:gd name="connsiteY5" fmla="*/ 1436521 h 2043633"/>
                  <a:gd name="connsiteX6" fmla="*/ 2796300 w 3020652"/>
                  <a:gd name="connsiteY6" fmla="*/ 1324385 h 2043633"/>
                  <a:gd name="connsiteX7" fmla="*/ 2744859 w 3020652"/>
                  <a:gd name="connsiteY7" fmla="*/ 1081999 h 2043633"/>
                  <a:gd name="connsiteX8" fmla="*/ 2744751 w 3020652"/>
                  <a:gd name="connsiteY8" fmla="*/ 1081715 h 2043633"/>
                  <a:gd name="connsiteX9" fmla="*/ 384115 w 3020652"/>
                  <a:gd name="connsiteY9" fmla="*/ 486693 h 2043633"/>
                  <a:gd name="connsiteX10" fmla="*/ 296760 w 3020652"/>
                  <a:gd name="connsiteY10" fmla="*/ 1026949 h 2043633"/>
                  <a:gd name="connsiteX11" fmla="*/ 275793 w 3020652"/>
                  <a:gd name="connsiteY11" fmla="*/ 1081999 h 2043633"/>
                  <a:gd name="connsiteX12" fmla="*/ 217678 w 3020652"/>
                  <a:gd name="connsiteY12" fmla="*/ 1451393 h 2043633"/>
                  <a:gd name="connsiteX13" fmla="*/ 220242 w 3020652"/>
                  <a:gd name="connsiteY13" fmla="*/ 1500181 h 2043633"/>
                  <a:gd name="connsiteX14" fmla="*/ 132369 w 3020652"/>
                  <a:gd name="connsiteY14" fmla="*/ 2043633 h 2043633"/>
                  <a:gd name="connsiteX15" fmla="*/ 118689 w 3020652"/>
                  <a:gd name="connsiteY15" fmla="*/ 2016341 h 2043633"/>
                  <a:gd name="connsiteX16" fmla="*/ 0 w 3020652"/>
                  <a:gd name="connsiteY16" fmla="*/ 1451393 h 2043633"/>
                  <a:gd name="connsiteX17" fmla="*/ 344885 w 3020652"/>
                  <a:gd name="connsiteY17" fmla="*/ 528173 h 2043633"/>
                  <a:gd name="connsiteX18" fmla="*/ 1510326 w 3020652"/>
                  <a:gd name="connsiteY18" fmla="*/ 0 h 2043633"/>
                  <a:gd name="connsiteX19" fmla="*/ 2471034 w 3020652"/>
                  <a:gd name="connsiteY19" fmla="*/ 331427 h 2043633"/>
                  <a:gd name="connsiteX20" fmla="*/ 2474929 w 3020652"/>
                  <a:gd name="connsiteY20" fmla="*/ 334829 h 2043633"/>
                  <a:gd name="connsiteX21" fmla="*/ 2409343 w 3020652"/>
                  <a:gd name="connsiteY21" fmla="*/ 559897 h 2043633"/>
                  <a:gd name="connsiteX22" fmla="*/ 2332570 w 3020652"/>
                  <a:gd name="connsiteY22" fmla="*/ 492845 h 2043633"/>
                  <a:gd name="connsiteX23" fmla="*/ 1510326 w 3020652"/>
                  <a:gd name="connsiteY23" fmla="*/ 209184 h 2043633"/>
                  <a:gd name="connsiteX24" fmla="*/ 688082 w 3020652"/>
                  <a:gd name="connsiteY24" fmla="*/ 492845 h 2043633"/>
                  <a:gd name="connsiteX25" fmla="*/ 630169 w 3020652"/>
                  <a:gd name="connsiteY25" fmla="*/ 543425 h 2043633"/>
                  <a:gd name="connsiteX26" fmla="*/ 566101 w 3020652"/>
                  <a:gd name="connsiteY26" fmla="*/ 319583 h 2043633"/>
                  <a:gd name="connsiteX27" fmla="*/ 665888 w 3020652"/>
                  <a:gd name="connsiteY27" fmla="*/ 247875 h 2043633"/>
                  <a:gd name="connsiteX28" fmla="*/ 1510326 w 3020652"/>
                  <a:gd name="connsiteY28" fmla="*/ 0 h 2043633"/>
                  <a:gd name="connsiteX0" fmla="*/ 2744751 w 3020652"/>
                  <a:gd name="connsiteY0" fmla="*/ 1081715 h 2043633"/>
                  <a:gd name="connsiteX1" fmla="*/ 2675767 w 3020652"/>
                  <a:gd name="connsiteY1" fmla="*/ 528173 h 2043633"/>
                  <a:gd name="connsiteX2" fmla="*/ 3020652 w 3020652"/>
                  <a:gd name="connsiteY2" fmla="*/ 1451393 h 2043633"/>
                  <a:gd name="connsiteX3" fmla="*/ 2901963 w 3020652"/>
                  <a:gd name="connsiteY3" fmla="*/ 2016341 h 2043633"/>
                  <a:gd name="connsiteX4" fmla="*/ 2897503 w 3020652"/>
                  <a:gd name="connsiteY4" fmla="*/ 2025239 h 2043633"/>
                  <a:gd name="connsiteX5" fmla="*/ 2802193 w 3020652"/>
                  <a:gd name="connsiteY5" fmla="*/ 1436521 h 2043633"/>
                  <a:gd name="connsiteX6" fmla="*/ 2796300 w 3020652"/>
                  <a:gd name="connsiteY6" fmla="*/ 1324385 h 2043633"/>
                  <a:gd name="connsiteX7" fmla="*/ 2744859 w 3020652"/>
                  <a:gd name="connsiteY7" fmla="*/ 1081999 h 2043633"/>
                  <a:gd name="connsiteX8" fmla="*/ 2744751 w 3020652"/>
                  <a:gd name="connsiteY8" fmla="*/ 1081715 h 2043633"/>
                  <a:gd name="connsiteX9" fmla="*/ 384115 w 3020652"/>
                  <a:gd name="connsiteY9" fmla="*/ 486693 h 2043633"/>
                  <a:gd name="connsiteX10" fmla="*/ 296760 w 3020652"/>
                  <a:gd name="connsiteY10" fmla="*/ 1026949 h 2043633"/>
                  <a:gd name="connsiteX11" fmla="*/ 275793 w 3020652"/>
                  <a:gd name="connsiteY11" fmla="*/ 1081999 h 2043633"/>
                  <a:gd name="connsiteX12" fmla="*/ 217678 w 3020652"/>
                  <a:gd name="connsiteY12" fmla="*/ 1451393 h 2043633"/>
                  <a:gd name="connsiteX13" fmla="*/ 220242 w 3020652"/>
                  <a:gd name="connsiteY13" fmla="*/ 1500181 h 2043633"/>
                  <a:gd name="connsiteX14" fmla="*/ 132369 w 3020652"/>
                  <a:gd name="connsiteY14" fmla="*/ 2043633 h 2043633"/>
                  <a:gd name="connsiteX15" fmla="*/ 118689 w 3020652"/>
                  <a:gd name="connsiteY15" fmla="*/ 2016341 h 2043633"/>
                  <a:gd name="connsiteX16" fmla="*/ 0 w 3020652"/>
                  <a:gd name="connsiteY16" fmla="*/ 1451393 h 2043633"/>
                  <a:gd name="connsiteX17" fmla="*/ 344885 w 3020652"/>
                  <a:gd name="connsiteY17" fmla="*/ 528173 h 2043633"/>
                  <a:gd name="connsiteX18" fmla="*/ 384115 w 3020652"/>
                  <a:gd name="connsiteY18" fmla="*/ 486693 h 2043633"/>
                  <a:gd name="connsiteX19" fmla="*/ 1510326 w 3020652"/>
                  <a:gd name="connsiteY19" fmla="*/ 0 h 2043633"/>
                  <a:gd name="connsiteX20" fmla="*/ 2471034 w 3020652"/>
                  <a:gd name="connsiteY20" fmla="*/ 331427 h 2043633"/>
                  <a:gd name="connsiteX21" fmla="*/ 2474929 w 3020652"/>
                  <a:gd name="connsiteY21" fmla="*/ 334829 h 2043633"/>
                  <a:gd name="connsiteX22" fmla="*/ 2409343 w 3020652"/>
                  <a:gd name="connsiteY22" fmla="*/ 559897 h 2043633"/>
                  <a:gd name="connsiteX23" fmla="*/ 2332570 w 3020652"/>
                  <a:gd name="connsiteY23" fmla="*/ 492845 h 2043633"/>
                  <a:gd name="connsiteX24" fmla="*/ 1510326 w 3020652"/>
                  <a:gd name="connsiteY24" fmla="*/ 209184 h 2043633"/>
                  <a:gd name="connsiteX25" fmla="*/ 688082 w 3020652"/>
                  <a:gd name="connsiteY25" fmla="*/ 492845 h 2043633"/>
                  <a:gd name="connsiteX26" fmla="*/ 630169 w 3020652"/>
                  <a:gd name="connsiteY26" fmla="*/ 543425 h 2043633"/>
                  <a:gd name="connsiteX27" fmla="*/ 566101 w 3020652"/>
                  <a:gd name="connsiteY27" fmla="*/ 319583 h 2043633"/>
                  <a:gd name="connsiteX28" fmla="*/ 665888 w 3020652"/>
                  <a:gd name="connsiteY28" fmla="*/ 247875 h 2043633"/>
                  <a:gd name="connsiteX29" fmla="*/ 1510326 w 3020652"/>
                  <a:gd name="connsiteY29" fmla="*/ 0 h 2043633"/>
                  <a:gd name="connsiteX0" fmla="*/ 2744751 w 3020652"/>
                  <a:gd name="connsiteY0" fmla="*/ 1081715 h 2043633"/>
                  <a:gd name="connsiteX1" fmla="*/ 3020652 w 3020652"/>
                  <a:gd name="connsiteY1" fmla="*/ 1451393 h 2043633"/>
                  <a:gd name="connsiteX2" fmla="*/ 2901963 w 3020652"/>
                  <a:gd name="connsiteY2" fmla="*/ 2016341 h 2043633"/>
                  <a:gd name="connsiteX3" fmla="*/ 2897503 w 3020652"/>
                  <a:gd name="connsiteY3" fmla="*/ 2025239 h 2043633"/>
                  <a:gd name="connsiteX4" fmla="*/ 2802193 w 3020652"/>
                  <a:gd name="connsiteY4" fmla="*/ 1436521 h 2043633"/>
                  <a:gd name="connsiteX5" fmla="*/ 2796300 w 3020652"/>
                  <a:gd name="connsiteY5" fmla="*/ 1324385 h 2043633"/>
                  <a:gd name="connsiteX6" fmla="*/ 2744859 w 3020652"/>
                  <a:gd name="connsiteY6" fmla="*/ 1081999 h 2043633"/>
                  <a:gd name="connsiteX7" fmla="*/ 2744751 w 3020652"/>
                  <a:gd name="connsiteY7" fmla="*/ 1081715 h 2043633"/>
                  <a:gd name="connsiteX8" fmla="*/ 384115 w 3020652"/>
                  <a:gd name="connsiteY8" fmla="*/ 486693 h 2043633"/>
                  <a:gd name="connsiteX9" fmla="*/ 296760 w 3020652"/>
                  <a:gd name="connsiteY9" fmla="*/ 1026949 h 2043633"/>
                  <a:gd name="connsiteX10" fmla="*/ 275793 w 3020652"/>
                  <a:gd name="connsiteY10" fmla="*/ 1081999 h 2043633"/>
                  <a:gd name="connsiteX11" fmla="*/ 217678 w 3020652"/>
                  <a:gd name="connsiteY11" fmla="*/ 1451393 h 2043633"/>
                  <a:gd name="connsiteX12" fmla="*/ 220242 w 3020652"/>
                  <a:gd name="connsiteY12" fmla="*/ 1500181 h 2043633"/>
                  <a:gd name="connsiteX13" fmla="*/ 132369 w 3020652"/>
                  <a:gd name="connsiteY13" fmla="*/ 2043633 h 2043633"/>
                  <a:gd name="connsiteX14" fmla="*/ 118689 w 3020652"/>
                  <a:gd name="connsiteY14" fmla="*/ 2016341 h 2043633"/>
                  <a:gd name="connsiteX15" fmla="*/ 0 w 3020652"/>
                  <a:gd name="connsiteY15" fmla="*/ 1451393 h 2043633"/>
                  <a:gd name="connsiteX16" fmla="*/ 344885 w 3020652"/>
                  <a:gd name="connsiteY16" fmla="*/ 528173 h 2043633"/>
                  <a:gd name="connsiteX17" fmla="*/ 384115 w 3020652"/>
                  <a:gd name="connsiteY17" fmla="*/ 486693 h 2043633"/>
                  <a:gd name="connsiteX18" fmla="*/ 1510326 w 3020652"/>
                  <a:gd name="connsiteY18" fmla="*/ 0 h 2043633"/>
                  <a:gd name="connsiteX19" fmla="*/ 2471034 w 3020652"/>
                  <a:gd name="connsiteY19" fmla="*/ 331427 h 2043633"/>
                  <a:gd name="connsiteX20" fmla="*/ 2474929 w 3020652"/>
                  <a:gd name="connsiteY20" fmla="*/ 334829 h 2043633"/>
                  <a:gd name="connsiteX21" fmla="*/ 2409343 w 3020652"/>
                  <a:gd name="connsiteY21" fmla="*/ 559897 h 2043633"/>
                  <a:gd name="connsiteX22" fmla="*/ 2332570 w 3020652"/>
                  <a:gd name="connsiteY22" fmla="*/ 492845 h 2043633"/>
                  <a:gd name="connsiteX23" fmla="*/ 1510326 w 3020652"/>
                  <a:gd name="connsiteY23" fmla="*/ 209184 h 2043633"/>
                  <a:gd name="connsiteX24" fmla="*/ 688082 w 3020652"/>
                  <a:gd name="connsiteY24" fmla="*/ 492845 h 2043633"/>
                  <a:gd name="connsiteX25" fmla="*/ 630169 w 3020652"/>
                  <a:gd name="connsiteY25" fmla="*/ 543425 h 2043633"/>
                  <a:gd name="connsiteX26" fmla="*/ 566101 w 3020652"/>
                  <a:gd name="connsiteY26" fmla="*/ 319583 h 2043633"/>
                  <a:gd name="connsiteX27" fmla="*/ 665888 w 3020652"/>
                  <a:gd name="connsiteY27" fmla="*/ 247875 h 2043633"/>
                  <a:gd name="connsiteX28" fmla="*/ 1510326 w 3020652"/>
                  <a:gd name="connsiteY28" fmla="*/ 0 h 2043633"/>
                  <a:gd name="connsiteX0" fmla="*/ 2744859 w 3020652"/>
                  <a:gd name="connsiteY0" fmla="*/ 1081999 h 2043633"/>
                  <a:gd name="connsiteX1" fmla="*/ 3020652 w 3020652"/>
                  <a:gd name="connsiteY1" fmla="*/ 1451393 h 2043633"/>
                  <a:gd name="connsiteX2" fmla="*/ 2901963 w 3020652"/>
                  <a:gd name="connsiteY2" fmla="*/ 2016341 h 2043633"/>
                  <a:gd name="connsiteX3" fmla="*/ 2897503 w 3020652"/>
                  <a:gd name="connsiteY3" fmla="*/ 2025239 h 2043633"/>
                  <a:gd name="connsiteX4" fmla="*/ 2802193 w 3020652"/>
                  <a:gd name="connsiteY4" fmla="*/ 1436521 h 2043633"/>
                  <a:gd name="connsiteX5" fmla="*/ 2796300 w 3020652"/>
                  <a:gd name="connsiteY5" fmla="*/ 1324385 h 2043633"/>
                  <a:gd name="connsiteX6" fmla="*/ 2744859 w 3020652"/>
                  <a:gd name="connsiteY6" fmla="*/ 1081999 h 2043633"/>
                  <a:gd name="connsiteX7" fmla="*/ 384115 w 3020652"/>
                  <a:gd name="connsiteY7" fmla="*/ 486693 h 2043633"/>
                  <a:gd name="connsiteX8" fmla="*/ 296760 w 3020652"/>
                  <a:gd name="connsiteY8" fmla="*/ 1026949 h 2043633"/>
                  <a:gd name="connsiteX9" fmla="*/ 275793 w 3020652"/>
                  <a:gd name="connsiteY9" fmla="*/ 1081999 h 2043633"/>
                  <a:gd name="connsiteX10" fmla="*/ 217678 w 3020652"/>
                  <a:gd name="connsiteY10" fmla="*/ 1451393 h 2043633"/>
                  <a:gd name="connsiteX11" fmla="*/ 220242 w 3020652"/>
                  <a:gd name="connsiteY11" fmla="*/ 1500181 h 2043633"/>
                  <a:gd name="connsiteX12" fmla="*/ 132369 w 3020652"/>
                  <a:gd name="connsiteY12" fmla="*/ 2043633 h 2043633"/>
                  <a:gd name="connsiteX13" fmla="*/ 118689 w 3020652"/>
                  <a:gd name="connsiteY13" fmla="*/ 2016341 h 2043633"/>
                  <a:gd name="connsiteX14" fmla="*/ 0 w 3020652"/>
                  <a:gd name="connsiteY14" fmla="*/ 1451393 h 2043633"/>
                  <a:gd name="connsiteX15" fmla="*/ 344885 w 3020652"/>
                  <a:gd name="connsiteY15" fmla="*/ 528173 h 2043633"/>
                  <a:gd name="connsiteX16" fmla="*/ 384115 w 3020652"/>
                  <a:gd name="connsiteY16" fmla="*/ 486693 h 2043633"/>
                  <a:gd name="connsiteX17" fmla="*/ 1510326 w 3020652"/>
                  <a:gd name="connsiteY17" fmla="*/ 0 h 2043633"/>
                  <a:gd name="connsiteX18" fmla="*/ 2471034 w 3020652"/>
                  <a:gd name="connsiteY18" fmla="*/ 331427 h 2043633"/>
                  <a:gd name="connsiteX19" fmla="*/ 2474929 w 3020652"/>
                  <a:gd name="connsiteY19" fmla="*/ 334829 h 2043633"/>
                  <a:gd name="connsiteX20" fmla="*/ 2409343 w 3020652"/>
                  <a:gd name="connsiteY20" fmla="*/ 559897 h 2043633"/>
                  <a:gd name="connsiteX21" fmla="*/ 2332570 w 3020652"/>
                  <a:gd name="connsiteY21" fmla="*/ 492845 h 2043633"/>
                  <a:gd name="connsiteX22" fmla="*/ 1510326 w 3020652"/>
                  <a:gd name="connsiteY22" fmla="*/ 209184 h 2043633"/>
                  <a:gd name="connsiteX23" fmla="*/ 688082 w 3020652"/>
                  <a:gd name="connsiteY23" fmla="*/ 492845 h 2043633"/>
                  <a:gd name="connsiteX24" fmla="*/ 630169 w 3020652"/>
                  <a:gd name="connsiteY24" fmla="*/ 543425 h 2043633"/>
                  <a:gd name="connsiteX25" fmla="*/ 566101 w 3020652"/>
                  <a:gd name="connsiteY25" fmla="*/ 319583 h 2043633"/>
                  <a:gd name="connsiteX26" fmla="*/ 665888 w 3020652"/>
                  <a:gd name="connsiteY26" fmla="*/ 247875 h 2043633"/>
                  <a:gd name="connsiteX27" fmla="*/ 1510326 w 3020652"/>
                  <a:gd name="connsiteY27" fmla="*/ 0 h 2043633"/>
                  <a:gd name="connsiteX0" fmla="*/ 2796300 w 3023749"/>
                  <a:gd name="connsiteY0" fmla="*/ 1324385 h 2043633"/>
                  <a:gd name="connsiteX1" fmla="*/ 3020652 w 3023749"/>
                  <a:gd name="connsiteY1" fmla="*/ 1451393 h 2043633"/>
                  <a:gd name="connsiteX2" fmla="*/ 2901963 w 3023749"/>
                  <a:gd name="connsiteY2" fmla="*/ 2016341 h 2043633"/>
                  <a:gd name="connsiteX3" fmla="*/ 2897503 w 3023749"/>
                  <a:gd name="connsiteY3" fmla="*/ 2025239 h 2043633"/>
                  <a:gd name="connsiteX4" fmla="*/ 2802193 w 3023749"/>
                  <a:gd name="connsiteY4" fmla="*/ 1436521 h 2043633"/>
                  <a:gd name="connsiteX5" fmla="*/ 2796300 w 3023749"/>
                  <a:gd name="connsiteY5" fmla="*/ 1324385 h 2043633"/>
                  <a:gd name="connsiteX6" fmla="*/ 384115 w 3023749"/>
                  <a:gd name="connsiteY6" fmla="*/ 486693 h 2043633"/>
                  <a:gd name="connsiteX7" fmla="*/ 296760 w 3023749"/>
                  <a:gd name="connsiteY7" fmla="*/ 1026949 h 2043633"/>
                  <a:gd name="connsiteX8" fmla="*/ 275793 w 3023749"/>
                  <a:gd name="connsiteY8" fmla="*/ 1081999 h 2043633"/>
                  <a:gd name="connsiteX9" fmla="*/ 217678 w 3023749"/>
                  <a:gd name="connsiteY9" fmla="*/ 1451393 h 2043633"/>
                  <a:gd name="connsiteX10" fmla="*/ 220242 w 3023749"/>
                  <a:gd name="connsiteY10" fmla="*/ 1500181 h 2043633"/>
                  <a:gd name="connsiteX11" fmla="*/ 132369 w 3023749"/>
                  <a:gd name="connsiteY11" fmla="*/ 2043633 h 2043633"/>
                  <a:gd name="connsiteX12" fmla="*/ 118689 w 3023749"/>
                  <a:gd name="connsiteY12" fmla="*/ 2016341 h 2043633"/>
                  <a:gd name="connsiteX13" fmla="*/ 0 w 3023749"/>
                  <a:gd name="connsiteY13" fmla="*/ 1451393 h 2043633"/>
                  <a:gd name="connsiteX14" fmla="*/ 344885 w 3023749"/>
                  <a:gd name="connsiteY14" fmla="*/ 528173 h 2043633"/>
                  <a:gd name="connsiteX15" fmla="*/ 384115 w 3023749"/>
                  <a:gd name="connsiteY15" fmla="*/ 486693 h 2043633"/>
                  <a:gd name="connsiteX16" fmla="*/ 1510326 w 3023749"/>
                  <a:gd name="connsiteY16" fmla="*/ 0 h 2043633"/>
                  <a:gd name="connsiteX17" fmla="*/ 2471034 w 3023749"/>
                  <a:gd name="connsiteY17" fmla="*/ 331427 h 2043633"/>
                  <a:gd name="connsiteX18" fmla="*/ 2474929 w 3023749"/>
                  <a:gd name="connsiteY18" fmla="*/ 334829 h 2043633"/>
                  <a:gd name="connsiteX19" fmla="*/ 2409343 w 3023749"/>
                  <a:gd name="connsiteY19" fmla="*/ 559897 h 2043633"/>
                  <a:gd name="connsiteX20" fmla="*/ 2332570 w 3023749"/>
                  <a:gd name="connsiteY20" fmla="*/ 492845 h 2043633"/>
                  <a:gd name="connsiteX21" fmla="*/ 1510326 w 3023749"/>
                  <a:gd name="connsiteY21" fmla="*/ 209184 h 2043633"/>
                  <a:gd name="connsiteX22" fmla="*/ 688082 w 3023749"/>
                  <a:gd name="connsiteY22" fmla="*/ 492845 h 2043633"/>
                  <a:gd name="connsiteX23" fmla="*/ 630169 w 3023749"/>
                  <a:gd name="connsiteY23" fmla="*/ 543425 h 2043633"/>
                  <a:gd name="connsiteX24" fmla="*/ 566101 w 3023749"/>
                  <a:gd name="connsiteY24" fmla="*/ 319583 h 2043633"/>
                  <a:gd name="connsiteX25" fmla="*/ 665888 w 3023749"/>
                  <a:gd name="connsiteY25" fmla="*/ 247875 h 2043633"/>
                  <a:gd name="connsiteX26" fmla="*/ 1510326 w 3023749"/>
                  <a:gd name="connsiteY26" fmla="*/ 0 h 2043633"/>
                  <a:gd name="connsiteX0" fmla="*/ 2802193 w 3023749"/>
                  <a:gd name="connsiteY0" fmla="*/ 1436521 h 2043633"/>
                  <a:gd name="connsiteX1" fmla="*/ 3020652 w 3023749"/>
                  <a:gd name="connsiteY1" fmla="*/ 1451393 h 2043633"/>
                  <a:gd name="connsiteX2" fmla="*/ 2901963 w 3023749"/>
                  <a:gd name="connsiteY2" fmla="*/ 2016341 h 2043633"/>
                  <a:gd name="connsiteX3" fmla="*/ 2897503 w 3023749"/>
                  <a:gd name="connsiteY3" fmla="*/ 2025239 h 2043633"/>
                  <a:gd name="connsiteX4" fmla="*/ 2802193 w 3023749"/>
                  <a:gd name="connsiteY4" fmla="*/ 1436521 h 2043633"/>
                  <a:gd name="connsiteX5" fmla="*/ 384115 w 3023749"/>
                  <a:gd name="connsiteY5" fmla="*/ 486693 h 2043633"/>
                  <a:gd name="connsiteX6" fmla="*/ 296760 w 3023749"/>
                  <a:gd name="connsiteY6" fmla="*/ 1026949 h 2043633"/>
                  <a:gd name="connsiteX7" fmla="*/ 275793 w 3023749"/>
                  <a:gd name="connsiteY7" fmla="*/ 1081999 h 2043633"/>
                  <a:gd name="connsiteX8" fmla="*/ 217678 w 3023749"/>
                  <a:gd name="connsiteY8" fmla="*/ 1451393 h 2043633"/>
                  <a:gd name="connsiteX9" fmla="*/ 220242 w 3023749"/>
                  <a:gd name="connsiteY9" fmla="*/ 1500181 h 2043633"/>
                  <a:gd name="connsiteX10" fmla="*/ 132369 w 3023749"/>
                  <a:gd name="connsiteY10" fmla="*/ 2043633 h 2043633"/>
                  <a:gd name="connsiteX11" fmla="*/ 118689 w 3023749"/>
                  <a:gd name="connsiteY11" fmla="*/ 2016341 h 2043633"/>
                  <a:gd name="connsiteX12" fmla="*/ 0 w 3023749"/>
                  <a:gd name="connsiteY12" fmla="*/ 1451393 h 2043633"/>
                  <a:gd name="connsiteX13" fmla="*/ 344885 w 3023749"/>
                  <a:gd name="connsiteY13" fmla="*/ 528173 h 2043633"/>
                  <a:gd name="connsiteX14" fmla="*/ 384115 w 3023749"/>
                  <a:gd name="connsiteY14" fmla="*/ 486693 h 2043633"/>
                  <a:gd name="connsiteX15" fmla="*/ 1510326 w 3023749"/>
                  <a:gd name="connsiteY15" fmla="*/ 0 h 2043633"/>
                  <a:gd name="connsiteX16" fmla="*/ 2471034 w 3023749"/>
                  <a:gd name="connsiteY16" fmla="*/ 331427 h 2043633"/>
                  <a:gd name="connsiteX17" fmla="*/ 2474929 w 3023749"/>
                  <a:gd name="connsiteY17" fmla="*/ 334829 h 2043633"/>
                  <a:gd name="connsiteX18" fmla="*/ 2409343 w 3023749"/>
                  <a:gd name="connsiteY18" fmla="*/ 559897 h 2043633"/>
                  <a:gd name="connsiteX19" fmla="*/ 2332570 w 3023749"/>
                  <a:gd name="connsiteY19" fmla="*/ 492845 h 2043633"/>
                  <a:gd name="connsiteX20" fmla="*/ 1510326 w 3023749"/>
                  <a:gd name="connsiteY20" fmla="*/ 209184 h 2043633"/>
                  <a:gd name="connsiteX21" fmla="*/ 688082 w 3023749"/>
                  <a:gd name="connsiteY21" fmla="*/ 492845 h 2043633"/>
                  <a:gd name="connsiteX22" fmla="*/ 630169 w 3023749"/>
                  <a:gd name="connsiteY22" fmla="*/ 543425 h 2043633"/>
                  <a:gd name="connsiteX23" fmla="*/ 566101 w 3023749"/>
                  <a:gd name="connsiteY23" fmla="*/ 319583 h 2043633"/>
                  <a:gd name="connsiteX24" fmla="*/ 665888 w 3023749"/>
                  <a:gd name="connsiteY24" fmla="*/ 247875 h 2043633"/>
                  <a:gd name="connsiteX25" fmla="*/ 1510326 w 3023749"/>
                  <a:gd name="connsiteY25" fmla="*/ 0 h 2043633"/>
                  <a:gd name="connsiteX0" fmla="*/ 2897503 w 3023749"/>
                  <a:gd name="connsiteY0" fmla="*/ 2025239 h 2043633"/>
                  <a:gd name="connsiteX1" fmla="*/ 3020652 w 3023749"/>
                  <a:gd name="connsiteY1" fmla="*/ 1451393 h 2043633"/>
                  <a:gd name="connsiteX2" fmla="*/ 2901963 w 3023749"/>
                  <a:gd name="connsiteY2" fmla="*/ 2016341 h 2043633"/>
                  <a:gd name="connsiteX3" fmla="*/ 2897503 w 3023749"/>
                  <a:gd name="connsiteY3" fmla="*/ 2025239 h 2043633"/>
                  <a:gd name="connsiteX4" fmla="*/ 384115 w 3023749"/>
                  <a:gd name="connsiteY4" fmla="*/ 486693 h 2043633"/>
                  <a:gd name="connsiteX5" fmla="*/ 296760 w 3023749"/>
                  <a:gd name="connsiteY5" fmla="*/ 1026949 h 2043633"/>
                  <a:gd name="connsiteX6" fmla="*/ 275793 w 3023749"/>
                  <a:gd name="connsiteY6" fmla="*/ 1081999 h 2043633"/>
                  <a:gd name="connsiteX7" fmla="*/ 217678 w 3023749"/>
                  <a:gd name="connsiteY7" fmla="*/ 1451393 h 2043633"/>
                  <a:gd name="connsiteX8" fmla="*/ 220242 w 3023749"/>
                  <a:gd name="connsiteY8" fmla="*/ 1500181 h 2043633"/>
                  <a:gd name="connsiteX9" fmla="*/ 132369 w 3023749"/>
                  <a:gd name="connsiteY9" fmla="*/ 2043633 h 2043633"/>
                  <a:gd name="connsiteX10" fmla="*/ 118689 w 3023749"/>
                  <a:gd name="connsiteY10" fmla="*/ 2016341 h 2043633"/>
                  <a:gd name="connsiteX11" fmla="*/ 0 w 3023749"/>
                  <a:gd name="connsiteY11" fmla="*/ 1451393 h 2043633"/>
                  <a:gd name="connsiteX12" fmla="*/ 344885 w 3023749"/>
                  <a:gd name="connsiteY12" fmla="*/ 528173 h 2043633"/>
                  <a:gd name="connsiteX13" fmla="*/ 384115 w 3023749"/>
                  <a:gd name="connsiteY13" fmla="*/ 486693 h 2043633"/>
                  <a:gd name="connsiteX14" fmla="*/ 1510326 w 3023749"/>
                  <a:gd name="connsiteY14" fmla="*/ 0 h 2043633"/>
                  <a:gd name="connsiteX15" fmla="*/ 2471034 w 3023749"/>
                  <a:gd name="connsiteY15" fmla="*/ 331427 h 2043633"/>
                  <a:gd name="connsiteX16" fmla="*/ 2474929 w 3023749"/>
                  <a:gd name="connsiteY16" fmla="*/ 334829 h 2043633"/>
                  <a:gd name="connsiteX17" fmla="*/ 2409343 w 3023749"/>
                  <a:gd name="connsiteY17" fmla="*/ 559897 h 2043633"/>
                  <a:gd name="connsiteX18" fmla="*/ 2332570 w 3023749"/>
                  <a:gd name="connsiteY18" fmla="*/ 492845 h 2043633"/>
                  <a:gd name="connsiteX19" fmla="*/ 1510326 w 3023749"/>
                  <a:gd name="connsiteY19" fmla="*/ 209184 h 2043633"/>
                  <a:gd name="connsiteX20" fmla="*/ 688082 w 3023749"/>
                  <a:gd name="connsiteY20" fmla="*/ 492845 h 2043633"/>
                  <a:gd name="connsiteX21" fmla="*/ 630169 w 3023749"/>
                  <a:gd name="connsiteY21" fmla="*/ 543425 h 2043633"/>
                  <a:gd name="connsiteX22" fmla="*/ 566101 w 3023749"/>
                  <a:gd name="connsiteY22" fmla="*/ 319583 h 2043633"/>
                  <a:gd name="connsiteX23" fmla="*/ 665888 w 3023749"/>
                  <a:gd name="connsiteY23" fmla="*/ 247875 h 2043633"/>
                  <a:gd name="connsiteX24" fmla="*/ 1510326 w 3023749"/>
                  <a:gd name="connsiteY24" fmla="*/ 0 h 2043633"/>
                  <a:gd name="connsiteX0" fmla="*/ 2897503 w 2901963"/>
                  <a:gd name="connsiteY0" fmla="*/ 2025239 h 2043633"/>
                  <a:gd name="connsiteX1" fmla="*/ 2901963 w 2901963"/>
                  <a:gd name="connsiteY1" fmla="*/ 2016341 h 2043633"/>
                  <a:gd name="connsiteX2" fmla="*/ 2897503 w 2901963"/>
                  <a:gd name="connsiteY2" fmla="*/ 2025239 h 2043633"/>
                  <a:gd name="connsiteX3" fmla="*/ 384115 w 2901963"/>
                  <a:gd name="connsiteY3" fmla="*/ 486693 h 2043633"/>
                  <a:gd name="connsiteX4" fmla="*/ 296760 w 2901963"/>
                  <a:gd name="connsiteY4" fmla="*/ 1026949 h 2043633"/>
                  <a:gd name="connsiteX5" fmla="*/ 275793 w 2901963"/>
                  <a:gd name="connsiteY5" fmla="*/ 1081999 h 2043633"/>
                  <a:gd name="connsiteX6" fmla="*/ 217678 w 2901963"/>
                  <a:gd name="connsiteY6" fmla="*/ 1451393 h 2043633"/>
                  <a:gd name="connsiteX7" fmla="*/ 220242 w 2901963"/>
                  <a:gd name="connsiteY7" fmla="*/ 1500181 h 2043633"/>
                  <a:gd name="connsiteX8" fmla="*/ 132369 w 2901963"/>
                  <a:gd name="connsiteY8" fmla="*/ 2043633 h 2043633"/>
                  <a:gd name="connsiteX9" fmla="*/ 118689 w 2901963"/>
                  <a:gd name="connsiteY9" fmla="*/ 2016341 h 2043633"/>
                  <a:gd name="connsiteX10" fmla="*/ 0 w 2901963"/>
                  <a:gd name="connsiteY10" fmla="*/ 1451393 h 2043633"/>
                  <a:gd name="connsiteX11" fmla="*/ 344885 w 2901963"/>
                  <a:gd name="connsiteY11" fmla="*/ 528173 h 2043633"/>
                  <a:gd name="connsiteX12" fmla="*/ 384115 w 2901963"/>
                  <a:gd name="connsiteY12" fmla="*/ 486693 h 2043633"/>
                  <a:gd name="connsiteX13" fmla="*/ 1510326 w 2901963"/>
                  <a:gd name="connsiteY13" fmla="*/ 0 h 2043633"/>
                  <a:gd name="connsiteX14" fmla="*/ 2471034 w 2901963"/>
                  <a:gd name="connsiteY14" fmla="*/ 331427 h 2043633"/>
                  <a:gd name="connsiteX15" fmla="*/ 2474929 w 2901963"/>
                  <a:gd name="connsiteY15" fmla="*/ 334829 h 2043633"/>
                  <a:gd name="connsiteX16" fmla="*/ 2409343 w 2901963"/>
                  <a:gd name="connsiteY16" fmla="*/ 559897 h 2043633"/>
                  <a:gd name="connsiteX17" fmla="*/ 2332570 w 2901963"/>
                  <a:gd name="connsiteY17" fmla="*/ 492845 h 2043633"/>
                  <a:gd name="connsiteX18" fmla="*/ 1510326 w 2901963"/>
                  <a:gd name="connsiteY18" fmla="*/ 209184 h 2043633"/>
                  <a:gd name="connsiteX19" fmla="*/ 688082 w 2901963"/>
                  <a:gd name="connsiteY19" fmla="*/ 492845 h 2043633"/>
                  <a:gd name="connsiteX20" fmla="*/ 630169 w 2901963"/>
                  <a:gd name="connsiteY20" fmla="*/ 543425 h 2043633"/>
                  <a:gd name="connsiteX21" fmla="*/ 566101 w 2901963"/>
                  <a:gd name="connsiteY21" fmla="*/ 319583 h 2043633"/>
                  <a:gd name="connsiteX22" fmla="*/ 665888 w 2901963"/>
                  <a:gd name="connsiteY22" fmla="*/ 247875 h 2043633"/>
                  <a:gd name="connsiteX23" fmla="*/ 1510326 w 2901963"/>
                  <a:gd name="connsiteY23" fmla="*/ 0 h 2043633"/>
                  <a:gd name="connsiteX0" fmla="*/ 384115 w 2474929"/>
                  <a:gd name="connsiteY0" fmla="*/ 486693 h 2043633"/>
                  <a:gd name="connsiteX1" fmla="*/ 296760 w 2474929"/>
                  <a:gd name="connsiteY1" fmla="*/ 1026949 h 2043633"/>
                  <a:gd name="connsiteX2" fmla="*/ 275793 w 2474929"/>
                  <a:gd name="connsiteY2" fmla="*/ 1081999 h 2043633"/>
                  <a:gd name="connsiteX3" fmla="*/ 217678 w 2474929"/>
                  <a:gd name="connsiteY3" fmla="*/ 1451393 h 2043633"/>
                  <a:gd name="connsiteX4" fmla="*/ 220242 w 2474929"/>
                  <a:gd name="connsiteY4" fmla="*/ 1500181 h 2043633"/>
                  <a:gd name="connsiteX5" fmla="*/ 132369 w 2474929"/>
                  <a:gd name="connsiteY5" fmla="*/ 2043633 h 2043633"/>
                  <a:gd name="connsiteX6" fmla="*/ 118689 w 2474929"/>
                  <a:gd name="connsiteY6" fmla="*/ 2016341 h 2043633"/>
                  <a:gd name="connsiteX7" fmla="*/ 0 w 2474929"/>
                  <a:gd name="connsiteY7" fmla="*/ 1451393 h 2043633"/>
                  <a:gd name="connsiteX8" fmla="*/ 344885 w 2474929"/>
                  <a:gd name="connsiteY8" fmla="*/ 528173 h 2043633"/>
                  <a:gd name="connsiteX9" fmla="*/ 384115 w 2474929"/>
                  <a:gd name="connsiteY9" fmla="*/ 486693 h 2043633"/>
                  <a:gd name="connsiteX10" fmla="*/ 1510326 w 2474929"/>
                  <a:gd name="connsiteY10" fmla="*/ 0 h 2043633"/>
                  <a:gd name="connsiteX11" fmla="*/ 2471034 w 2474929"/>
                  <a:gd name="connsiteY11" fmla="*/ 331427 h 2043633"/>
                  <a:gd name="connsiteX12" fmla="*/ 2474929 w 2474929"/>
                  <a:gd name="connsiteY12" fmla="*/ 334829 h 2043633"/>
                  <a:gd name="connsiteX13" fmla="*/ 2409343 w 2474929"/>
                  <a:gd name="connsiteY13" fmla="*/ 559897 h 2043633"/>
                  <a:gd name="connsiteX14" fmla="*/ 2332570 w 2474929"/>
                  <a:gd name="connsiteY14" fmla="*/ 492845 h 2043633"/>
                  <a:gd name="connsiteX15" fmla="*/ 1510326 w 2474929"/>
                  <a:gd name="connsiteY15" fmla="*/ 209184 h 2043633"/>
                  <a:gd name="connsiteX16" fmla="*/ 688082 w 2474929"/>
                  <a:gd name="connsiteY16" fmla="*/ 492845 h 2043633"/>
                  <a:gd name="connsiteX17" fmla="*/ 630169 w 2474929"/>
                  <a:gd name="connsiteY17" fmla="*/ 543425 h 2043633"/>
                  <a:gd name="connsiteX18" fmla="*/ 566101 w 2474929"/>
                  <a:gd name="connsiteY18" fmla="*/ 319583 h 2043633"/>
                  <a:gd name="connsiteX19" fmla="*/ 665888 w 2474929"/>
                  <a:gd name="connsiteY19" fmla="*/ 247875 h 2043633"/>
                  <a:gd name="connsiteX20" fmla="*/ 1510326 w 2474929"/>
                  <a:gd name="connsiteY20" fmla="*/ 0 h 2043633"/>
                  <a:gd name="connsiteX0" fmla="*/ 384115 w 2474929"/>
                  <a:gd name="connsiteY0" fmla="*/ 486693 h 2043633"/>
                  <a:gd name="connsiteX1" fmla="*/ 296760 w 2474929"/>
                  <a:gd name="connsiteY1" fmla="*/ 1026949 h 2043633"/>
                  <a:gd name="connsiteX2" fmla="*/ 275793 w 2474929"/>
                  <a:gd name="connsiteY2" fmla="*/ 1081999 h 2043633"/>
                  <a:gd name="connsiteX3" fmla="*/ 217678 w 2474929"/>
                  <a:gd name="connsiteY3" fmla="*/ 1451393 h 2043633"/>
                  <a:gd name="connsiteX4" fmla="*/ 220242 w 2474929"/>
                  <a:gd name="connsiteY4" fmla="*/ 1500181 h 2043633"/>
                  <a:gd name="connsiteX5" fmla="*/ 132369 w 2474929"/>
                  <a:gd name="connsiteY5" fmla="*/ 2043633 h 2043633"/>
                  <a:gd name="connsiteX6" fmla="*/ 0 w 2474929"/>
                  <a:gd name="connsiteY6" fmla="*/ 1451393 h 2043633"/>
                  <a:gd name="connsiteX7" fmla="*/ 344885 w 2474929"/>
                  <a:gd name="connsiteY7" fmla="*/ 528173 h 2043633"/>
                  <a:gd name="connsiteX8" fmla="*/ 384115 w 2474929"/>
                  <a:gd name="connsiteY8" fmla="*/ 486693 h 2043633"/>
                  <a:gd name="connsiteX9" fmla="*/ 1510326 w 2474929"/>
                  <a:gd name="connsiteY9" fmla="*/ 0 h 2043633"/>
                  <a:gd name="connsiteX10" fmla="*/ 2471034 w 2474929"/>
                  <a:gd name="connsiteY10" fmla="*/ 331427 h 2043633"/>
                  <a:gd name="connsiteX11" fmla="*/ 2474929 w 2474929"/>
                  <a:gd name="connsiteY11" fmla="*/ 334829 h 2043633"/>
                  <a:gd name="connsiteX12" fmla="*/ 2409343 w 2474929"/>
                  <a:gd name="connsiteY12" fmla="*/ 559897 h 2043633"/>
                  <a:gd name="connsiteX13" fmla="*/ 2332570 w 2474929"/>
                  <a:gd name="connsiteY13" fmla="*/ 492845 h 2043633"/>
                  <a:gd name="connsiteX14" fmla="*/ 1510326 w 2474929"/>
                  <a:gd name="connsiteY14" fmla="*/ 209184 h 2043633"/>
                  <a:gd name="connsiteX15" fmla="*/ 688082 w 2474929"/>
                  <a:gd name="connsiteY15" fmla="*/ 492845 h 2043633"/>
                  <a:gd name="connsiteX16" fmla="*/ 630169 w 2474929"/>
                  <a:gd name="connsiteY16" fmla="*/ 543425 h 2043633"/>
                  <a:gd name="connsiteX17" fmla="*/ 566101 w 2474929"/>
                  <a:gd name="connsiteY17" fmla="*/ 319583 h 2043633"/>
                  <a:gd name="connsiteX18" fmla="*/ 665888 w 2474929"/>
                  <a:gd name="connsiteY18" fmla="*/ 247875 h 2043633"/>
                  <a:gd name="connsiteX19" fmla="*/ 1510326 w 2474929"/>
                  <a:gd name="connsiteY19" fmla="*/ 0 h 2043633"/>
                  <a:gd name="connsiteX0" fmla="*/ 384115 w 2474929"/>
                  <a:gd name="connsiteY0" fmla="*/ 486693 h 1500181"/>
                  <a:gd name="connsiteX1" fmla="*/ 296760 w 2474929"/>
                  <a:gd name="connsiteY1" fmla="*/ 1026949 h 1500181"/>
                  <a:gd name="connsiteX2" fmla="*/ 275793 w 2474929"/>
                  <a:gd name="connsiteY2" fmla="*/ 1081999 h 1500181"/>
                  <a:gd name="connsiteX3" fmla="*/ 217678 w 2474929"/>
                  <a:gd name="connsiteY3" fmla="*/ 1451393 h 1500181"/>
                  <a:gd name="connsiteX4" fmla="*/ 220242 w 2474929"/>
                  <a:gd name="connsiteY4" fmla="*/ 1500181 h 1500181"/>
                  <a:gd name="connsiteX5" fmla="*/ 0 w 2474929"/>
                  <a:gd name="connsiteY5" fmla="*/ 1451393 h 1500181"/>
                  <a:gd name="connsiteX6" fmla="*/ 344885 w 2474929"/>
                  <a:gd name="connsiteY6" fmla="*/ 528173 h 1500181"/>
                  <a:gd name="connsiteX7" fmla="*/ 384115 w 2474929"/>
                  <a:gd name="connsiteY7" fmla="*/ 486693 h 1500181"/>
                  <a:gd name="connsiteX8" fmla="*/ 1510326 w 2474929"/>
                  <a:gd name="connsiteY8" fmla="*/ 0 h 1500181"/>
                  <a:gd name="connsiteX9" fmla="*/ 2471034 w 2474929"/>
                  <a:gd name="connsiteY9" fmla="*/ 331427 h 1500181"/>
                  <a:gd name="connsiteX10" fmla="*/ 2474929 w 2474929"/>
                  <a:gd name="connsiteY10" fmla="*/ 334829 h 1500181"/>
                  <a:gd name="connsiteX11" fmla="*/ 2409343 w 2474929"/>
                  <a:gd name="connsiteY11" fmla="*/ 559897 h 1500181"/>
                  <a:gd name="connsiteX12" fmla="*/ 2332570 w 2474929"/>
                  <a:gd name="connsiteY12" fmla="*/ 492845 h 1500181"/>
                  <a:gd name="connsiteX13" fmla="*/ 1510326 w 2474929"/>
                  <a:gd name="connsiteY13" fmla="*/ 209184 h 1500181"/>
                  <a:gd name="connsiteX14" fmla="*/ 688082 w 2474929"/>
                  <a:gd name="connsiteY14" fmla="*/ 492845 h 1500181"/>
                  <a:gd name="connsiteX15" fmla="*/ 630169 w 2474929"/>
                  <a:gd name="connsiteY15" fmla="*/ 543425 h 1500181"/>
                  <a:gd name="connsiteX16" fmla="*/ 566101 w 2474929"/>
                  <a:gd name="connsiteY16" fmla="*/ 319583 h 1500181"/>
                  <a:gd name="connsiteX17" fmla="*/ 665888 w 2474929"/>
                  <a:gd name="connsiteY17" fmla="*/ 247875 h 1500181"/>
                  <a:gd name="connsiteX18" fmla="*/ 1510326 w 2474929"/>
                  <a:gd name="connsiteY18" fmla="*/ 0 h 1500181"/>
                  <a:gd name="connsiteX0" fmla="*/ 384115 w 2474929"/>
                  <a:gd name="connsiteY0" fmla="*/ 486693 h 1451393"/>
                  <a:gd name="connsiteX1" fmla="*/ 296760 w 2474929"/>
                  <a:gd name="connsiteY1" fmla="*/ 1026949 h 1451393"/>
                  <a:gd name="connsiteX2" fmla="*/ 275793 w 2474929"/>
                  <a:gd name="connsiteY2" fmla="*/ 1081999 h 1451393"/>
                  <a:gd name="connsiteX3" fmla="*/ 217678 w 2474929"/>
                  <a:gd name="connsiteY3" fmla="*/ 1451393 h 1451393"/>
                  <a:gd name="connsiteX4" fmla="*/ 0 w 2474929"/>
                  <a:gd name="connsiteY4" fmla="*/ 1451393 h 1451393"/>
                  <a:gd name="connsiteX5" fmla="*/ 344885 w 2474929"/>
                  <a:gd name="connsiteY5" fmla="*/ 528173 h 1451393"/>
                  <a:gd name="connsiteX6" fmla="*/ 384115 w 2474929"/>
                  <a:gd name="connsiteY6" fmla="*/ 486693 h 1451393"/>
                  <a:gd name="connsiteX7" fmla="*/ 1510326 w 2474929"/>
                  <a:gd name="connsiteY7" fmla="*/ 0 h 1451393"/>
                  <a:gd name="connsiteX8" fmla="*/ 2471034 w 2474929"/>
                  <a:gd name="connsiteY8" fmla="*/ 331427 h 1451393"/>
                  <a:gd name="connsiteX9" fmla="*/ 2474929 w 2474929"/>
                  <a:gd name="connsiteY9" fmla="*/ 334829 h 1451393"/>
                  <a:gd name="connsiteX10" fmla="*/ 2409343 w 2474929"/>
                  <a:gd name="connsiteY10" fmla="*/ 559897 h 1451393"/>
                  <a:gd name="connsiteX11" fmla="*/ 2332570 w 2474929"/>
                  <a:gd name="connsiteY11" fmla="*/ 492845 h 1451393"/>
                  <a:gd name="connsiteX12" fmla="*/ 1510326 w 2474929"/>
                  <a:gd name="connsiteY12" fmla="*/ 209184 h 1451393"/>
                  <a:gd name="connsiteX13" fmla="*/ 688082 w 2474929"/>
                  <a:gd name="connsiteY13" fmla="*/ 492845 h 1451393"/>
                  <a:gd name="connsiteX14" fmla="*/ 630169 w 2474929"/>
                  <a:gd name="connsiteY14" fmla="*/ 543425 h 1451393"/>
                  <a:gd name="connsiteX15" fmla="*/ 566101 w 2474929"/>
                  <a:gd name="connsiteY15" fmla="*/ 319583 h 1451393"/>
                  <a:gd name="connsiteX16" fmla="*/ 665888 w 2474929"/>
                  <a:gd name="connsiteY16" fmla="*/ 247875 h 1451393"/>
                  <a:gd name="connsiteX17" fmla="*/ 1510326 w 2474929"/>
                  <a:gd name="connsiteY17" fmla="*/ 0 h 1451393"/>
                  <a:gd name="connsiteX0" fmla="*/ 384519 w 2475333"/>
                  <a:gd name="connsiteY0" fmla="*/ 486693 h 1465415"/>
                  <a:gd name="connsiteX1" fmla="*/ 297164 w 2475333"/>
                  <a:gd name="connsiteY1" fmla="*/ 1026949 h 1465415"/>
                  <a:gd name="connsiteX2" fmla="*/ 276197 w 2475333"/>
                  <a:gd name="connsiteY2" fmla="*/ 1081999 h 1465415"/>
                  <a:gd name="connsiteX3" fmla="*/ 404 w 2475333"/>
                  <a:gd name="connsiteY3" fmla="*/ 1451393 h 1465415"/>
                  <a:gd name="connsiteX4" fmla="*/ 345289 w 2475333"/>
                  <a:gd name="connsiteY4" fmla="*/ 528173 h 1465415"/>
                  <a:gd name="connsiteX5" fmla="*/ 384519 w 2475333"/>
                  <a:gd name="connsiteY5" fmla="*/ 486693 h 1465415"/>
                  <a:gd name="connsiteX6" fmla="*/ 1510730 w 2475333"/>
                  <a:gd name="connsiteY6" fmla="*/ 0 h 1465415"/>
                  <a:gd name="connsiteX7" fmla="*/ 2471438 w 2475333"/>
                  <a:gd name="connsiteY7" fmla="*/ 331427 h 1465415"/>
                  <a:gd name="connsiteX8" fmla="*/ 2475333 w 2475333"/>
                  <a:gd name="connsiteY8" fmla="*/ 334829 h 1465415"/>
                  <a:gd name="connsiteX9" fmla="*/ 2409747 w 2475333"/>
                  <a:gd name="connsiteY9" fmla="*/ 559897 h 1465415"/>
                  <a:gd name="connsiteX10" fmla="*/ 2332974 w 2475333"/>
                  <a:gd name="connsiteY10" fmla="*/ 492845 h 1465415"/>
                  <a:gd name="connsiteX11" fmla="*/ 1510730 w 2475333"/>
                  <a:gd name="connsiteY11" fmla="*/ 209184 h 1465415"/>
                  <a:gd name="connsiteX12" fmla="*/ 688486 w 2475333"/>
                  <a:gd name="connsiteY12" fmla="*/ 492845 h 1465415"/>
                  <a:gd name="connsiteX13" fmla="*/ 630573 w 2475333"/>
                  <a:gd name="connsiteY13" fmla="*/ 543425 h 1465415"/>
                  <a:gd name="connsiteX14" fmla="*/ 566505 w 2475333"/>
                  <a:gd name="connsiteY14" fmla="*/ 319583 h 1465415"/>
                  <a:gd name="connsiteX15" fmla="*/ 666292 w 2475333"/>
                  <a:gd name="connsiteY15" fmla="*/ 247875 h 1465415"/>
                  <a:gd name="connsiteX16" fmla="*/ 1510730 w 2475333"/>
                  <a:gd name="connsiteY16" fmla="*/ 0 h 1465415"/>
                  <a:gd name="connsiteX0" fmla="*/ 108322 w 2199136"/>
                  <a:gd name="connsiteY0" fmla="*/ 486693 h 1081999"/>
                  <a:gd name="connsiteX1" fmla="*/ 20967 w 2199136"/>
                  <a:gd name="connsiteY1" fmla="*/ 1026949 h 1081999"/>
                  <a:gd name="connsiteX2" fmla="*/ 0 w 2199136"/>
                  <a:gd name="connsiteY2" fmla="*/ 1081999 h 1081999"/>
                  <a:gd name="connsiteX3" fmla="*/ 69092 w 2199136"/>
                  <a:gd name="connsiteY3" fmla="*/ 528173 h 1081999"/>
                  <a:gd name="connsiteX4" fmla="*/ 108322 w 2199136"/>
                  <a:gd name="connsiteY4" fmla="*/ 486693 h 1081999"/>
                  <a:gd name="connsiteX5" fmla="*/ 1234533 w 2199136"/>
                  <a:gd name="connsiteY5" fmla="*/ 0 h 1081999"/>
                  <a:gd name="connsiteX6" fmla="*/ 2195241 w 2199136"/>
                  <a:gd name="connsiteY6" fmla="*/ 331427 h 1081999"/>
                  <a:gd name="connsiteX7" fmla="*/ 2199136 w 2199136"/>
                  <a:gd name="connsiteY7" fmla="*/ 334829 h 1081999"/>
                  <a:gd name="connsiteX8" fmla="*/ 2133550 w 2199136"/>
                  <a:gd name="connsiteY8" fmla="*/ 559897 h 1081999"/>
                  <a:gd name="connsiteX9" fmla="*/ 2056777 w 2199136"/>
                  <a:gd name="connsiteY9" fmla="*/ 492845 h 1081999"/>
                  <a:gd name="connsiteX10" fmla="*/ 1234533 w 2199136"/>
                  <a:gd name="connsiteY10" fmla="*/ 209184 h 1081999"/>
                  <a:gd name="connsiteX11" fmla="*/ 412289 w 2199136"/>
                  <a:gd name="connsiteY11" fmla="*/ 492845 h 1081999"/>
                  <a:gd name="connsiteX12" fmla="*/ 354376 w 2199136"/>
                  <a:gd name="connsiteY12" fmla="*/ 543425 h 1081999"/>
                  <a:gd name="connsiteX13" fmla="*/ 290308 w 2199136"/>
                  <a:gd name="connsiteY13" fmla="*/ 319583 h 1081999"/>
                  <a:gd name="connsiteX14" fmla="*/ 390095 w 2199136"/>
                  <a:gd name="connsiteY14" fmla="*/ 247875 h 1081999"/>
                  <a:gd name="connsiteX15" fmla="*/ 1234533 w 2199136"/>
                  <a:gd name="connsiteY15" fmla="*/ 0 h 1081999"/>
                  <a:gd name="connsiteX0" fmla="*/ 108322 w 2199136"/>
                  <a:gd name="connsiteY0" fmla="*/ 486693 h 1081999"/>
                  <a:gd name="connsiteX1" fmla="*/ 0 w 2199136"/>
                  <a:gd name="connsiteY1" fmla="*/ 1081999 h 1081999"/>
                  <a:gd name="connsiteX2" fmla="*/ 69092 w 2199136"/>
                  <a:gd name="connsiteY2" fmla="*/ 528173 h 1081999"/>
                  <a:gd name="connsiteX3" fmla="*/ 108322 w 2199136"/>
                  <a:gd name="connsiteY3" fmla="*/ 486693 h 1081999"/>
                  <a:gd name="connsiteX4" fmla="*/ 1234533 w 2199136"/>
                  <a:gd name="connsiteY4" fmla="*/ 0 h 1081999"/>
                  <a:gd name="connsiteX5" fmla="*/ 2195241 w 2199136"/>
                  <a:gd name="connsiteY5" fmla="*/ 331427 h 1081999"/>
                  <a:gd name="connsiteX6" fmla="*/ 2199136 w 2199136"/>
                  <a:gd name="connsiteY6" fmla="*/ 334829 h 1081999"/>
                  <a:gd name="connsiteX7" fmla="*/ 2133550 w 2199136"/>
                  <a:gd name="connsiteY7" fmla="*/ 559897 h 1081999"/>
                  <a:gd name="connsiteX8" fmla="*/ 2056777 w 2199136"/>
                  <a:gd name="connsiteY8" fmla="*/ 492845 h 1081999"/>
                  <a:gd name="connsiteX9" fmla="*/ 1234533 w 2199136"/>
                  <a:gd name="connsiteY9" fmla="*/ 209184 h 1081999"/>
                  <a:gd name="connsiteX10" fmla="*/ 412289 w 2199136"/>
                  <a:gd name="connsiteY10" fmla="*/ 492845 h 1081999"/>
                  <a:gd name="connsiteX11" fmla="*/ 354376 w 2199136"/>
                  <a:gd name="connsiteY11" fmla="*/ 543425 h 1081999"/>
                  <a:gd name="connsiteX12" fmla="*/ 290308 w 2199136"/>
                  <a:gd name="connsiteY12" fmla="*/ 319583 h 1081999"/>
                  <a:gd name="connsiteX13" fmla="*/ 390095 w 2199136"/>
                  <a:gd name="connsiteY13" fmla="*/ 247875 h 1081999"/>
                  <a:gd name="connsiteX14" fmla="*/ 1234533 w 2199136"/>
                  <a:gd name="connsiteY14" fmla="*/ 0 h 1081999"/>
                  <a:gd name="connsiteX0" fmla="*/ 39230 w 2130044"/>
                  <a:gd name="connsiteY0" fmla="*/ 486693 h 559897"/>
                  <a:gd name="connsiteX1" fmla="*/ 0 w 2130044"/>
                  <a:gd name="connsiteY1" fmla="*/ 528173 h 559897"/>
                  <a:gd name="connsiteX2" fmla="*/ 39230 w 2130044"/>
                  <a:gd name="connsiteY2" fmla="*/ 486693 h 559897"/>
                  <a:gd name="connsiteX3" fmla="*/ 1165441 w 2130044"/>
                  <a:gd name="connsiteY3" fmla="*/ 0 h 559897"/>
                  <a:gd name="connsiteX4" fmla="*/ 2126149 w 2130044"/>
                  <a:gd name="connsiteY4" fmla="*/ 331427 h 559897"/>
                  <a:gd name="connsiteX5" fmla="*/ 2130044 w 2130044"/>
                  <a:gd name="connsiteY5" fmla="*/ 334829 h 559897"/>
                  <a:gd name="connsiteX6" fmla="*/ 2064458 w 2130044"/>
                  <a:gd name="connsiteY6" fmla="*/ 559897 h 559897"/>
                  <a:gd name="connsiteX7" fmla="*/ 1987685 w 2130044"/>
                  <a:gd name="connsiteY7" fmla="*/ 492845 h 559897"/>
                  <a:gd name="connsiteX8" fmla="*/ 1165441 w 2130044"/>
                  <a:gd name="connsiteY8" fmla="*/ 209184 h 559897"/>
                  <a:gd name="connsiteX9" fmla="*/ 343197 w 2130044"/>
                  <a:gd name="connsiteY9" fmla="*/ 492845 h 559897"/>
                  <a:gd name="connsiteX10" fmla="*/ 285284 w 2130044"/>
                  <a:gd name="connsiteY10" fmla="*/ 543425 h 559897"/>
                  <a:gd name="connsiteX11" fmla="*/ 221216 w 2130044"/>
                  <a:gd name="connsiteY11" fmla="*/ 319583 h 559897"/>
                  <a:gd name="connsiteX12" fmla="*/ 321003 w 2130044"/>
                  <a:gd name="connsiteY12" fmla="*/ 247875 h 559897"/>
                  <a:gd name="connsiteX13" fmla="*/ 1165441 w 2130044"/>
                  <a:gd name="connsiteY13" fmla="*/ 0 h 559897"/>
                  <a:gd name="connsiteX0" fmla="*/ 944225 w 1908828"/>
                  <a:gd name="connsiteY0" fmla="*/ 0 h 559897"/>
                  <a:gd name="connsiteX1" fmla="*/ 1904933 w 1908828"/>
                  <a:gd name="connsiteY1" fmla="*/ 331427 h 559897"/>
                  <a:gd name="connsiteX2" fmla="*/ 1908828 w 1908828"/>
                  <a:gd name="connsiteY2" fmla="*/ 334829 h 559897"/>
                  <a:gd name="connsiteX3" fmla="*/ 1843242 w 1908828"/>
                  <a:gd name="connsiteY3" fmla="*/ 559897 h 559897"/>
                  <a:gd name="connsiteX4" fmla="*/ 1766469 w 1908828"/>
                  <a:gd name="connsiteY4" fmla="*/ 492845 h 559897"/>
                  <a:gd name="connsiteX5" fmla="*/ 944225 w 1908828"/>
                  <a:gd name="connsiteY5" fmla="*/ 209184 h 559897"/>
                  <a:gd name="connsiteX6" fmla="*/ 121981 w 1908828"/>
                  <a:gd name="connsiteY6" fmla="*/ 492845 h 559897"/>
                  <a:gd name="connsiteX7" fmla="*/ 64068 w 1908828"/>
                  <a:gd name="connsiteY7" fmla="*/ 543425 h 559897"/>
                  <a:gd name="connsiteX8" fmla="*/ 0 w 1908828"/>
                  <a:gd name="connsiteY8" fmla="*/ 319583 h 559897"/>
                  <a:gd name="connsiteX9" fmla="*/ 99787 w 1908828"/>
                  <a:gd name="connsiteY9" fmla="*/ 247875 h 559897"/>
                  <a:gd name="connsiteX10" fmla="*/ 944225 w 1908828"/>
                  <a:gd name="connsiteY10" fmla="*/ 0 h 559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908828" h="559897">
                    <a:moveTo>
                      <a:pt x="944225" y="0"/>
                    </a:moveTo>
                    <a:cubicBezTo>
                      <a:pt x="1309157" y="0"/>
                      <a:pt x="1643859" y="124378"/>
                      <a:pt x="1904933" y="331427"/>
                    </a:cubicBezTo>
                    <a:lnTo>
                      <a:pt x="1908828" y="334829"/>
                    </a:lnTo>
                    <a:lnTo>
                      <a:pt x="1843242" y="559897"/>
                    </a:lnTo>
                    <a:lnTo>
                      <a:pt x="1766469" y="492845"/>
                    </a:lnTo>
                    <a:cubicBezTo>
                      <a:pt x="1543023" y="315635"/>
                      <a:pt x="1256561" y="209184"/>
                      <a:pt x="944225" y="209184"/>
                    </a:cubicBezTo>
                    <a:cubicBezTo>
                      <a:pt x="631889" y="209184"/>
                      <a:pt x="345427" y="315635"/>
                      <a:pt x="121981" y="492845"/>
                    </a:cubicBezTo>
                    <a:lnTo>
                      <a:pt x="64068" y="543425"/>
                    </a:lnTo>
                    <a:lnTo>
                      <a:pt x="0" y="319583"/>
                    </a:lnTo>
                    <a:lnTo>
                      <a:pt x="99787" y="247875"/>
                    </a:lnTo>
                    <a:cubicBezTo>
                      <a:pt x="340837" y="91380"/>
                      <a:pt x="631426" y="0"/>
                      <a:pt x="944225" y="0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519970">
                  <a:defRPr/>
                </a:pPr>
                <a:endParaRPr lang="en-US" sz="1842" kern="0">
                  <a:solidFill>
                    <a:prstClr val="white"/>
                  </a:solidFill>
                  <a:latin typeface="Calibri"/>
                </a:endParaRPr>
              </a:p>
            </p:txBody>
          </p:sp>
        </p:grpSp>
        <p:grpSp>
          <p:nvGrpSpPr>
            <p:cNvPr id="567" name="Group 204"/>
            <p:cNvGrpSpPr/>
            <p:nvPr/>
          </p:nvGrpSpPr>
          <p:grpSpPr>
            <a:xfrm>
              <a:off x="1282752" y="4938098"/>
              <a:ext cx="1451258" cy="1449504"/>
              <a:chOff x="11961036" y="14854279"/>
              <a:chExt cx="6135815" cy="6128401"/>
            </a:xfrm>
            <a:grpFill/>
          </p:grpSpPr>
          <p:sp>
            <p:nvSpPr>
              <p:cNvPr id="568" name="Freeform 205"/>
              <p:cNvSpPr/>
              <p:nvPr/>
            </p:nvSpPr>
            <p:spPr>
              <a:xfrm>
                <a:off x="12770891" y="14854279"/>
                <a:ext cx="4477588" cy="6128401"/>
              </a:xfrm>
              <a:custGeom>
                <a:avLst/>
                <a:gdLst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3253261 w 4477595"/>
                  <a:gd name="connsiteY17" fmla="*/ 3754007 h 6128401"/>
                  <a:gd name="connsiteX18" fmla="*/ 3242716 w 4477595"/>
                  <a:gd name="connsiteY18" fmla="*/ 3753945 h 6128401"/>
                  <a:gd name="connsiteX19" fmla="*/ 3255265 w 4477595"/>
                  <a:gd name="connsiteY19" fmla="*/ 3746321 h 6128401"/>
                  <a:gd name="connsiteX20" fmla="*/ 4056807 w 4477595"/>
                  <a:gd name="connsiteY20" fmla="*/ 2238797 h 6128401"/>
                  <a:gd name="connsiteX21" fmla="*/ 2238798 w 4477595"/>
                  <a:gd name="connsiteY21" fmla="*/ 420786 h 6128401"/>
                  <a:gd name="connsiteX22" fmla="*/ 2238797 w 4477595"/>
                  <a:gd name="connsiteY22" fmla="*/ 0 h 6128401"/>
                  <a:gd name="connsiteX23" fmla="*/ 4477595 w 4477595"/>
                  <a:gd name="connsiteY23" fmla="*/ 2238797 h 6128401"/>
                  <a:gd name="connsiteX24" fmla="*/ 3305941 w 4477595"/>
                  <a:gd name="connsiteY24" fmla="*/ 4207383 h 6128401"/>
                  <a:gd name="connsiteX25" fmla="*/ 3243251 w 4477595"/>
                  <a:gd name="connsiteY25" fmla="*/ 4439941 h 6128401"/>
                  <a:gd name="connsiteX26" fmla="*/ 3243251 w 4477595"/>
                  <a:gd name="connsiteY26" fmla="*/ 5318909 h 6128401"/>
                  <a:gd name="connsiteX27" fmla="*/ 2705531 w 4477595"/>
                  <a:gd name="connsiteY27" fmla="*/ 5880081 h 6128401"/>
                  <a:gd name="connsiteX28" fmla="*/ 2650833 w 4477595"/>
                  <a:gd name="connsiteY28" fmla="*/ 5880971 h 6128401"/>
                  <a:gd name="connsiteX29" fmla="*/ 2641784 w 4477595"/>
                  <a:gd name="connsiteY29" fmla="*/ 5910123 h 6128401"/>
                  <a:gd name="connsiteX30" fmla="*/ 2312476 w 4477595"/>
                  <a:gd name="connsiteY30" fmla="*/ 6128401 h 6128401"/>
                  <a:gd name="connsiteX31" fmla="*/ 2165118 w 4477595"/>
                  <a:gd name="connsiteY31" fmla="*/ 6128401 h 6128401"/>
                  <a:gd name="connsiteX32" fmla="*/ 1835810 w 4477595"/>
                  <a:gd name="connsiteY32" fmla="*/ 5910123 h 6128401"/>
                  <a:gd name="connsiteX33" fmla="*/ 1826975 w 4477595"/>
                  <a:gd name="connsiteY33" fmla="*/ 5881661 h 6128401"/>
                  <a:gd name="connsiteX34" fmla="*/ 1699568 w 4477595"/>
                  <a:gd name="connsiteY34" fmla="*/ 5881345 h 6128401"/>
                  <a:gd name="connsiteX35" fmla="*/ 1252464 w 4477595"/>
                  <a:gd name="connsiteY35" fmla="*/ 5306553 h 6128401"/>
                  <a:gd name="connsiteX36" fmla="*/ 1260702 w 4477595"/>
                  <a:gd name="connsiteY36" fmla="*/ 4439941 h 6128401"/>
                  <a:gd name="connsiteX37" fmla="*/ 1247395 w 4477595"/>
                  <a:gd name="connsiteY37" fmla="*/ 4251681 h 6128401"/>
                  <a:gd name="connsiteX38" fmla="*/ 1171654 w 4477595"/>
                  <a:gd name="connsiteY38" fmla="*/ 4207383 h 6128401"/>
                  <a:gd name="connsiteX39" fmla="*/ 0 w 4477595"/>
                  <a:gd name="connsiteY39" fmla="*/ 2238797 h 6128401"/>
                  <a:gd name="connsiteX40" fmla="*/ 2238797 w 4477595"/>
                  <a:gd name="connsiteY40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3253261 w 4477595"/>
                  <a:gd name="connsiteY17" fmla="*/ 3754007 h 6128401"/>
                  <a:gd name="connsiteX18" fmla="*/ 3242716 w 4477595"/>
                  <a:gd name="connsiteY18" fmla="*/ 3753945 h 6128401"/>
                  <a:gd name="connsiteX19" fmla="*/ 4056807 w 4477595"/>
                  <a:gd name="connsiteY19" fmla="*/ 2238797 h 6128401"/>
                  <a:gd name="connsiteX20" fmla="*/ 2238798 w 4477595"/>
                  <a:gd name="connsiteY20" fmla="*/ 420786 h 6128401"/>
                  <a:gd name="connsiteX21" fmla="*/ 2238797 w 4477595"/>
                  <a:gd name="connsiteY21" fmla="*/ 0 h 6128401"/>
                  <a:gd name="connsiteX22" fmla="*/ 4477595 w 4477595"/>
                  <a:gd name="connsiteY22" fmla="*/ 2238797 h 6128401"/>
                  <a:gd name="connsiteX23" fmla="*/ 3305941 w 4477595"/>
                  <a:gd name="connsiteY23" fmla="*/ 4207383 h 6128401"/>
                  <a:gd name="connsiteX24" fmla="*/ 3243251 w 4477595"/>
                  <a:gd name="connsiteY24" fmla="*/ 4439941 h 6128401"/>
                  <a:gd name="connsiteX25" fmla="*/ 3243251 w 4477595"/>
                  <a:gd name="connsiteY25" fmla="*/ 5318909 h 6128401"/>
                  <a:gd name="connsiteX26" fmla="*/ 2705531 w 4477595"/>
                  <a:gd name="connsiteY26" fmla="*/ 5880081 h 6128401"/>
                  <a:gd name="connsiteX27" fmla="*/ 2650833 w 4477595"/>
                  <a:gd name="connsiteY27" fmla="*/ 5880971 h 6128401"/>
                  <a:gd name="connsiteX28" fmla="*/ 2641784 w 4477595"/>
                  <a:gd name="connsiteY28" fmla="*/ 5910123 h 6128401"/>
                  <a:gd name="connsiteX29" fmla="*/ 2312476 w 4477595"/>
                  <a:gd name="connsiteY29" fmla="*/ 6128401 h 6128401"/>
                  <a:gd name="connsiteX30" fmla="*/ 2165118 w 4477595"/>
                  <a:gd name="connsiteY30" fmla="*/ 6128401 h 6128401"/>
                  <a:gd name="connsiteX31" fmla="*/ 1835810 w 4477595"/>
                  <a:gd name="connsiteY31" fmla="*/ 5910123 h 6128401"/>
                  <a:gd name="connsiteX32" fmla="*/ 1826975 w 4477595"/>
                  <a:gd name="connsiteY32" fmla="*/ 5881661 h 6128401"/>
                  <a:gd name="connsiteX33" fmla="*/ 1699568 w 4477595"/>
                  <a:gd name="connsiteY33" fmla="*/ 5881345 h 6128401"/>
                  <a:gd name="connsiteX34" fmla="*/ 1252464 w 4477595"/>
                  <a:gd name="connsiteY34" fmla="*/ 5306553 h 6128401"/>
                  <a:gd name="connsiteX35" fmla="*/ 1260702 w 4477595"/>
                  <a:gd name="connsiteY35" fmla="*/ 4439941 h 6128401"/>
                  <a:gd name="connsiteX36" fmla="*/ 1247395 w 4477595"/>
                  <a:gd name="connsiteY36" fmla="*/ 4251681 h 6128401"/>
                  <a:gd name="connsiteX37" fmla="*/ 1171654 w 4477595"/>
                  <a:gd name="connsiteY37" fmla="*/ 4207383 h 6128401"/>
                  <a:gd name="connsiteX38" fmla="*/ 0 w 4477595"/>
                  <a:gd name="connsiteY38" fmla="*/ 2238797 h 6128401"/>
                  <a:gd name="connsiteX39" fmla="*/ 2238797 w 4477595"/>
                  <a:gd name="connsiteY39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3253261 w 4477595"/>
                  <a:gd name="connsiteY17" fmla="*/ 3754007 h 6128401"/>
                  <a:gd name="connsiteX18" fmla="*/ 4056807 w 4477595"/>
                  <a:gd name="connsiteY18" fmla="*/ 2238797 h 6128401"/>
                  <a:gd name="connsiteX19" fmla="*/ 2238798 w 4477595"/>
                  <a:gd name="connsiteY19" fmla="*/ 420786 h 6128401"/>
                  <a:gd name="connsiteX20" fmla="*/ 2238797 w 4477595"/>
                  <a:gd name="connsiteY20" fmla="*/ 0 h 6128401"/>
                  <a:gd name="connsiteX21" fmla="*/ 4477595 w 4477595"/>
                  <a:gd name="connsiteY21" fmla="*/ 2238797 h 6128401"/>
                  <a:gd name="connsiteX22" fmla="*/ 3305941 w 4477595"/>
                  <a:gd name="connsiteY22" fmla="*/ 4207383 h 6128401"/>
                  <a:gd name="connsiteX23" fmla="*/ 3243251 w 4477595"/>
                  <a:gd name="connsiteY23" fmla="*/ 4439941 h 6128401"/>
                  <a:gd name="connsiteX24" fmla="*/ 3243251 w 4477595"/>
                  <a:gd name="connsiteY24" fmla="*/ 5318909 h 6128401"/>
                  <a:gd name="connsiteX25" fmla="*/ 2705531 w 4477595"/>
                  <a:gd name="connsiteY25" fmla="*/ 5880081 h 6128401"/>
                  <a:gd name="connsiteX26" fmla="*/ 2650833 w 4477595"/>
                  <a:gd name="connsiteY26" fmla="*/ 5880971 h 6128401"/>
                  <a:gd name="connsiteX27" fmla="*/ 2641784 w 4477595"/>
                  <a:gd name="connsiteY27" fmla="*/ 5910123 h 6128401"/>
                  <a:gd name="connsiteX28" fmla="*/ 2312476 w 4477595"/>
                  <a:gd name="connsiteY28" fmla="*/ 6128401 h 6128401"/>
                  <a:gd name="connsiteX29" fmla="*/ 2165118 w 4477595"/>
                  <a:gd name="connsiteY29" fmla="*/ 6128401 h 6128401"/>
                  <a:gd name="connsiteX30" fmla="*/ 1835810 w 4477595"/>
                  <a:gd name="connsiteY30" fmla="*/ 5910123 h 6128401"/>
                  <a:gd name="connsiteX31" fmla="*/ 1826975 w 4477595"/>
                  <a:gd name="connsiteY31" fmla="*/ 5881661 h 6128401"/>
                  <a:gd name="connsiteX32" fmla="*/ 1699568 w 4477595"/>
                  <a:gd name="connsiteY32" fmla="*/ 5881345 h 6128401"/>
                  <a:gd name="connsiteX33" fmla="*/ 1252464 w 4477595"/>
                  <a:gd name="connsiteY33" fmla="*/ 5306553 h 6128401"/>
                  <a:gd name="connsiteX34" fmla="*/ 1260702 w 4477595"/>
                  <a:gd name="connsiteY34" fmla="*/ 4439941 h 6128401"/>
                  <a:gd name="connsiteX35" fmla="*/ 1247395 w 4477595"/>
                  <a:gd name="connsiteY35" fmla="*/ 4251681 h 6128401"/>
                  <a:gd name="connsiteX36" fmla="*/ 1171654 w 4477595"/>
                  <a:gd name="connsiteY36" fmla="*/ 4207383 h 6128401"/>
                  <a:gd name="connsiteX37" fmla="*/ 0 w 4477595"/>
                  <a:gd name="connsiteY37" fmla="*/ 2238797 h 6128401"/>
                  <a:gd name="connsiteX38" fmla="*/ 2238797 w 4477595"/>
                  <a:gd name="connsiteY38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4056807 w 4477595"/>
                  <a:gd name="connsiteY17" fmla="*/ 2238797 h 6128401"/>
                  <a:gd name="connsiteX18" fmla="*/ 2238798 w 4477595"/>
                  <a:gd name="connsiteY18" fmla="*/ 420786 h 6128401"/>
                  <a:gd name="connsiteX19" fmla="*/ 2238797 w 4477595"/>
                  <a:gd name="connsiteY19" fmla="*/ 0 h 6128401"/>
                  <a:gd name="connsiteX20" fmla="*/ 4477595 w 4477595"/>
                  <a:gd name="connsiteY20" fmla="*/ 2238797 h 6128401"/>
                  <a:gd name="connsiteX21" fmla="*/ 3305941 w 4477595"/>
                  <a:gd name="connsiteY21" fmla="*/ 4207383 h 6128401"/>
                  <a:gd name="connsiteX22" fmla="*/ 3243251 w 4477595"/>
                  <a:gd name="connsiteY22" fmla="*/ 4439941 h 6128401"/>
                  <a:gd name="connsiteX23" fmla="*/ 3243251 w 4477595"/>
                  <a:gd name="connsiteY23" fmla="*/ 5318909 h 6128401"/>
                  <a:gd name="connsiteX24" fmla="*/ 2705531 w 4477595"/>
                  <a:gd name="connsiteY24" fmla="*/ 5880081 h 6128401"/>
                  <a:gd name="connsiteX25" fmla="*/ 2650833 w 4477595"/>
                  <a:gd name="connsiteY25" fmla="*/ 5880971 h 6128401"/>
                  <a:gd name="connsiteX26" fmla="*/ 2641784 w 4477595"/>
                  <a:gd name="connsiteY26" fmla="*/ 5910123 h 6128401"/>
                  <a:gd name="connsiteX27" fmla="*/ 2312476 w 4477595"/>
                  <a:gd name="connsiteY27" fmla="*/ 6128401 h 6128401"/>
                  <a:gd name="connsiteX28" fmla="*/ 2165118 w 4477595"/>
                  <a:gd name="connsiteY28" fmla="*/ 6128401 h 6128401"/>
                  <a:gd name="connsiteX29" fmla="*/ 1835810 w 4477595"/>
                  <a:gd name="connsiteY29" fmla="*/ 5910123 h 6128401"/>
                  <a:gd name="connsiteX30" fmla="*/ 1826975 w 4477595"/>
                  <a:gd name="connsiteY30" fmla="*/ 5881661 h 6128401"/>
                  <a:gd name="connsiteX31" fmla="*/ 1699568 w 4477595"/>
                  <a:gd name="connsiteY31" fmla="*/ 5881345 h 6128401"/>
                  <a:gd name="connsiteX32" fmla="*/ 1252464 w 4477595"/>
                  <a:gd name="connsiteY32" fmla="*/ 5306553 h 6128401"/>
                  <a:gd name="connsiteX33" fmla="*/ 1260702 w 4477595"/>
                  <a:gd name="connsiteY33" fmla="*/ 4439941 h 6128401"/>
                  <a:gd name="connsiteX34" fmla="*/ 1247395 w 4477595"/>
                  <a:gd name="connsiteY34" fmla="*/ 4251681 h 6128401"/>
                  <a:gd name="connsiteX35" fmla="*/ 1171654 w 4477595"/>
                  <a:gd name="connsiteY35" fmla="*/ 4207383 h 6128401"/>
                  <a:gd name="connsiteX36" fmla="*/ 0 w 4477595"/>
                  <a:gd name="connsiteY36" fmla="*/ 2238797 h 6128401"/>
                  <a:gd name="connsiteX37" fmla="*/ 2238797 w 4477595"/>
                  <a:gd name="connsiteY37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4056807 w 4477595"/>
                  <a:gd name="connsiteY17" fmla="*/ 2238797 h 6128401"/>
                  <a:gd name="connsiteX18" fmla="*/ 2238798 w 4477595"/>
                  <a:gd name="connsiteY18" fmla="*/ 420786 h 6128401"/>
                  <a:gd name="connsiteX19" fmla="*/ 2238797 w 4477595"/>
                  <a:gd name="connsiteY19" fmla="*/ 0 h 6128401"/>
                  <a:gd name="connsiteX20" fmla="*/ 4477595 w 4477595"/>
                  <a:gd name="connsiteY20" fmla="*/ 2238797 h 6128401"/>
                  <a:gd name="connsiteX21" fmla="*/ 3305941 w 4477595"/>
                  <a:gd name="connsiteY21" fmla="*/ 4207383 h 6128401"/>
                  <a:gd name="connsiteX22" fmla="*/ 3243251 w 4477595"/>
                  <a:gd name="connsiteY22" fmla="*/ 4439941 h 6128401"/>
                  <a:gd name="connsiteX23" fmla="*/ 3243251 w 4477595"/>
                  <a:gd name="connsiteY23" fmla="*/ 5318909 h 6128401"/>
                  <a:gd name="connsiteX24" fmla="*/ 2705531 w 4477595"/>
                  <a:gd name="connsiteY24" fmla="*/ 5880081 h 6128401"/>
                  <a:gd name="connsiteX25" fmla="*/ 2650833 w 4477595"/>
                  <a:gd name="connsiteY25" fmla="*/ 5880971 h 6128401"/>
                  <a:gd name="connsiteX26" fmla="*/ 2641784 w 4477595"/>
                  <a:gd name="connsiteY26" fmla="*/ 5910123 h 6128401"/>
                  <a:gd name="connsiteX27" fmla="*/ 2312476 w 4477595"/>
                  <a:gd name="connsiteY27" fmla="*/ 6128401 h 6128401"/>
                  <a:gd name="connsiteX28" fmla="*/ 2165118 w 4477595"/>
                  <a:gd name="connsiteY28" fmla="*/ 6128401 h 6128401"/>
                  <a:gd name="connsiteX29" fmla="*/ 1835810 w 4477595"/>
                  <a:gd name="connsiteY29" fmla="*/ 5910123 h 6128401"/>
                  <a:gd name="connsiteX30" fmla="*/ 1826975 w 4477595"/>
                  <a:gd name="connsiteY30" fmla="*/ 5881661 h 6128401"/>
                  <a:gd name="connsiteX31" fmla="*/ 1699568 w 4477595"/>
                  <a:gd name="connsiteY31" fmla="*/ 5881345 h 6128401"/>
                  <a:gd name="connsiteX32" fmla="*/ 1252464 w 4477595"/>
                  <a:gd name="connsiteY32" fmla="*/ 5306553 h 6128401"/>
                  <a:gd name="connsiteX33" fmla="*/ 1260702 w 4477595"/>
                  <a:gd name="connsiteY33" fmla="*/ 4439941 h 6128401"/>
                  <a:gd name="connsiteX34" fmla="*/ 1247395 w 4477595"/>
                  <a:gd name="connsiteY34" fmla="*/ 4251681 h 6128401"/>
                  <a:gd name="connsiteX35" fmla="*/ 1171654 w 4477595"/>
                  <a:gd name="connsiteY35" fmla="*/ 4207383 h 6128401"/>
                  <a:gd name="connsiteX36" fmla="*/ 0 w 4477595"/>
                  <a:gd name="connsiteY36" fmla="*/ 2238797 h 6128401"/>
                  <a:gd name="connsiteX37" fmla="*/ 2238797 w 4477595"/>
                  <a:gd name="connsiteY37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4056807 w 4477595"/>
                  <a:gd name="connsiteY17" fmla="*/ 2238797 h 6128401"/>
                  <a:gd name="connsiteX18" fmla="*/ 2238798 w 4477595"/>
                  <a:gd name="connsiteY18" fmla="*/ 420786 h 6128401"/>
                  <a:gd name="connsiteX19" fmla="*/ 2238797 w 4477595"/>
                  <a:gd name="connsiteY19" fmla="*/ 0 h 6128401"/>
                  <a:gd name="connsiteX20" fmla="*/ 4477595 w 4477595"/>
                  <a:gd name="connsiteY20" fmla="*/ 2238797 h 6128401"/>
                  <a:gd name="connsiteX21" fmla="*/ 3305941 w 4477595"/>
                  <a:gd name="connsiteY21" fmla="*/ 4207383 h 6128401"/>
                  <a:gd name="connsiteX22" fmla="*/ 3243251 w 4477595"/>
                  <a:gd name="connsiteY22" fmla="*/ 4439941 h 6128401"/>
                  <a:gd name="connsiteX23" fmla="*/ 3243251 w 4477595"/>
                  <a:gd name="connsiteY23" fmla="*/ 5318909 h 6128401"/>
                  <a:gd name="connsiteX24" fmla="*/ 2705531 w 4477595"/>
                  <a:gd name="connsiteY24" fmla="*/ 5880081 h 6128401"/>
                  <a:gd name="connsiteX25" fmla="*/ 2650833 w 4477595"/>
                  <a:gd name="connsiteY25" fmla="*/ 5880971 h 6128401"/>
                  <a:gd name="connsiteX26" fmla="*/ 2641784 w 4477595"/>
                  <a:gd name="connsiteY26" fmla="*/ 5910123 h 6128401"/>
                  <a:gd name="connsiteX27" fmla="*/ 2312476 w 4477595"/>
                  <a:gd name="connsiteY27" fmla="*/ 6128401 h 6128401"/>
                  <a:gd name="connsiteX28" fmla="*/ 2165118 w 4477595"/>
                  <a:gd name="connsiteY28" fmla="*/ 6128401 h 6128401"/>
                  <a:gd name="connsiteX29" fmla="*/ 1835810 w 4477595"/>
                  <a:gd name="connsiteY29" fmla="*/ 5910123 h 6128401"/>
                  <a:gd name="connsiteX30" fmla="*/ 1826975 w 4477595"/>
                  <a:gd name="connsiteY30" fmla="*/ 5881661 h 6128401"/>
                  <a:gd name="connsiteX31" fmla="*/ 1699568 w 4477595"/>
                  <a:gd name="connsiteY31" fmla="*/ 5881345 h 6128401"/>
                  <a:gd name="connsiteX32" fmla="*/ 1252464 w 4477595"/>
                  <a:gd name="connsiteY32" fmla="*/ 5306553 h 6128401"/>
                  <a:gd name="connsiteX33" fmla="*/ 1260702 w 4477595"/>
                  <a:gd name="connsiteY33" fmla="*/ 4439941 h 6128401"/>
                  <a:gd name="connsiteX34" fmla="*/ 1247395 w 4477595"/>
                  <a:gd name="connsiteY34" fmla="*/ 4251681 h 6128401"/>
                  <a:gd name="connsiteX35" fmla="*/ 1171654 w 4477595"/>
                  <a:gd name="connsiteY35" fmla="*/ 4207383 h 6128401"/>
                  <a:gd name="connsiteX36" fmla="*/ 0 w 4477595"/>
                  <a:gd name="connsiteY36" fmla="*/ 2238797 h 6128401"/>
                  <a:gd name="connsiteX37" fmla="*/ 2238797 w 4477595"/>
                  <a:gd name="connsiteY37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4056807 w 4477595"/>
                  <a:gd name="connsiteY17" fmla="*/ 2238797 h 6128401"/>
                  <a:gd name="connsiteX18" fmla="*/ 2238798 w 4477595"/>
                  <a:gd name="connsiteY18" fmla="*/ 420786 h 6128401"/>
                  <a:gd name="connsiteX19" fmla="*/ 2238797 w 4477595"/>
                  <a:gd name="connsiteY19" fmla="*/ 0 h 6128401"/>
                  <a:gd name="connsiteX20" fmla="*/ 4477595 w 4477595"/>
                  <a:gd name="connsiteY20" fmla="*/ 2238797 h 6128401"/>
                  <a:gd name="connsiteX21" fmla="*/ 3305941 w 4477595"/>
                  <a:gd name="connsiteY21" fmla="*/ 4207383 h 6128401"/>
                  <a:gd name="connsiteX22" fmla="*/ 3243251 w 4477595"/>
                  <a:gd name="connsiteY22" fmla="*/ 4439941 h 6128401"/>
                  <a:gd name="connsiteX23" fmla="*/ 3243251 w 4477595"/>
                  <a:gd name="connsiteY23" fmla="*/ 5318909 h 6128401"/>
                  <a:gd name="connsiteX24" fmla="*/ 2705531 w 4477595"/>
                  <a:gd name="connsiteY24" fmla="*/ 5880081 h 6128401"/>
                  <a:gd name="connsiteX25" fmla="*/ 2650833 w 4477595"/>
                  <a:gd name="connsiteY25" fmla="*/ 5880971 h 6128401"/>
                  <a:gd name="connsiteX26" fmla="*/ 2641784 w 4477595"/>
                  <a:gd name="connsiteY26" fmla="*/ 5910123 h 6128401"/>
                  <a:gd name="connsiteX27" fmla="*/ 2312476 w 4477595"/>
                  <a:gd name="connsiteY27" fmla="*/ 6128401 h 6128401"/>
                  <a:gd name="connsiteX28" fmla="*/ 2165118 w 4477595"/>
                  <a:gd name="connsiteY28" fmla="*/ 6128401 h 6128401"/>
                  <a:gd name="connsiteX29" fmla="*/ 1835810 w 4477595"/>
                  <a:gd name="connsiteY29" fmla="*/ 5910123 h 6128401"/>
                  <a:gd name="connsiteX30" fmla="*/ 1826975 w 4477595"/>
                  <a:gd name="connsiteY30" fmla="*/ 5881661 h 6128401"/>
                  <a:gd name="connsiteX31" fmla="*/ 1699568 w 4477595"/>
                  <a:gd name="connsiteY31" fmla="*/ 5881345 h 6128401"/>
                  <a:gd name="connsiteX32" fmla="*/ 1252464 w 4477595"/>
                  <a:gd name="connsiteY32" fmla="*/ 5306553 h 6128401"/>
                  <a:gd name="connsiteX33" fmla="*/ 1260702 w 4477595"/>
                  <a:gd name="connsiteY33" fmla="*/ 4439941 h 6128401"/>
                  <a:gd name="connsiteX34" fmla="*/ 1247395 w 4477595"/>
                  <a:gd name="connsiteY34" fmla="*/ 4251681 h 6128401"/>
                  <a:gd name="connsiteX35" fmla="*/ 1171654 w 4477595"/>
                  <a:gd name="connsiteY35" fmla="*/ 4207383 h 6128401"/>
                  <a:gd name="connsiteX36" fmla="*/ 0 w 4477595"/>
                  <a:gd name="connsiteY36" fmla="*/ 2238797 h 6128401"/>
                  <a:gd name="connsiteX37" fmla="*/ 2238797 w 4477595"/>
                  <a:gd name="connsiteY37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539568 w 4477595"/>
                  <a:gd name="connsiteY11" fmla="*/ 4531711 h 6128401"/>
                  <a:gd name="connsiteX12" fmla="*/ 2860637 w 4477595"/>
                  <a:gd name="connsiteY12" fmla="*/ 4311091 h 6128401"/>
                  <a:gd name="connsiteX13" fmla="*/ 3109338 w 4477595"/>
                  <a:gd name="connsiteY13" fmla="*/ 3834987 h 6128401"/>
                  <a:gd name="connsiteX14" fmla="*/ 3110879 w 4477595"/>
                  <a:gd name="connsiteY14" fmla="*/ 3834037 h 6128401"/>
                  <a:gd name="connsiteX15" fmla="*/ 3181541 w 4477595"/>
                  <a:gd name="connsiteY15" fmla="*/ 3791109 h 6128401"/>
                  <a:gd name="connsiteX16" fmla="*/ 4056807 w 4477595"/>
                  <a:gd name="connsiteY16" fmla="*/ 2238797 h 6128401"/>
                  <a:gd name="connsiteX17" fmla="*/ 2238798 w 4477595"/>
                  <a:gd name="connsiteY17" fmla="*/ 420786 h 6128401"/>
                  <a:gd name="connsiteX18" fmla="*/ 2238797 w 4477595"/>
                  <a:gd name="connsiteY18" fmla="*/ 0 h 6128401"/>
                  <a:gd name="connsiteX19" fmla="*/ 4477595 w 4477595"/>
                  <a:gd name="connsiteY19" fmla="*/ 2238797 h 6128401"/>
                  <a:gd name="connsiteX20" fmla="*/ 3305941 w 4477595"/>
                  <a:gd name="connsiteY20" fmla="*/ 4207383 h 6128401"/>
                  <a:gd name="connsiteX21" fmla="*/ 3243251 w 4477595"/>
                  <a:gd name="connsiteY21" fmla="*/ 4439941 h 6128401"/>
                  <a:gd name="connsiteX22" fmla="*/ 3243251 w 4477595"/>
                  <a:gd name="connsiteY22" fmla="*/ 5318909 h 6128401"/>
                  <a:gd name="connsiteX23" fmla="*/ 2705531 w 4477595"/>
                  <a:gd name="connsiteY23" fmla="*/ 5880081 h 6128401"/>
                  <a:gd name="connsiteX24" fmla="*/ 2650833 w 4477595"/>
                  <a:gd name="connsiteY24" fmla="*/ 5880971 h 6128401"/>
                  <a:gd name="connsiteX25" fmla="*/ 2641784 w 4477595"/>
                  <a:gd name="connsiteY25" fmla="*/ 5910123 h 6128401"/>
                  <a:gd name="connsiteX26" fmla="*/ 2312476 w 4477595"/>
                  <a:gd name="connsiteY26" fmla="*/ 6128401 h 6128401"/>
                  <a:gd name="connsiteX27" fmla="*/ 2165118 w 4477595"/>
                  <a:gd name="connsiteY27" fmla="*/ 6128401 h 6128401"/>
                  <a:gd name="connsiteX28" fmla="*/ 1835810 w 4477595"/>
                  <a:gd name="connsiteY28" fmla="*/ 5910123 h 6128401"/>
                  <a:gd name="connsiteX29" fmla="*/ 1826975 w 4477595"/>
                  <a:gd name="connsiteY29" fmla="*/ 5881661 h 6128401"/>
                  <a:gd name="connsiteX30" fmla="*/ 1699568 w 4477595"/>
                  <a:gd name="connsiteY30" fmla="*/ 5881345 h 6128401"/>
                  <a:gd name="connsiteX31" fmla="*/ 1252464 w 4477595"/>
                  <a:gd name="connsiteY31" fmla="*/ 5306553 h 6128401"/>
                  <a:gd name="connsiteX32" fmla="*/ 1260702 w 4477595"/>
                  <a:gd name="connsiteY32" fmla="*/ 4439941 h 6128401"/>
                  <a:gd name="connsiteX33" fmla="*/ 1247395 w 4477595"/>
                  <a:gd name="connsiteY33" fmla="*/ 4251681 h 6128401"/>
                  <a:gd name="connsiteX34" fmla="*/ 1171654 w 4477595"/>
                  <a:gd name="connsiteY34" fmla="*/ 4207383 h 6128401"/>
                  <a:gd name="connsiteX35" fmla="*/ 0 w 4477595"/>
                  <a:gd name="connsiteY35" fmla="*/ 2238797 h 6128401"/>
                  <a:gd name="connsiteX36" fmla="*/ 2238797 w 4477595"/>
                  <a:gd name="connsiteY36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539568 w 4477595"/>
                  <a:gd name="connsiteY10" fmla="*/ 4531711 h 6128401"/>
                  <a:gd name="connsiteX11" fmla="*/ 2860637 w 4477595"/>
                  <a:gd name="connsiteY11" fmla="*/ 4311091 h 6128401"/>
                  <a:gd name="connsiteX12" fmla="*/ 3109338 w 4477595"/>
                  <a:gd name="connsiteY12" fmla="*/ 3834987 h 6128401"/>
                  <a:gd name="connsiteX13" fmla="*/ 3110879 w 4477595"/>
                  <a:gd name="connsiteY13" fmla="*/ 3834037 h 6128401"/>
                  <a:gd name="connsiteX14" fmla="*/ 3181541 w 4477595"/>
                  <a:gd name="connsiteY14" fmla="*/ 3791109 h 6128401"/>
                  <a:gd name="connsiteX15" fmla="*/ 4056807 w 4477595"/>
                  <a:gd name="connsiteY15" fmla="*/ 2238797 h 6128401"/>
                  <a:gd name="connsiteX16" fmla="*/ 2238798 w 4477595"/>
                  <a:gd name="connsiteY16" fmla="*/ 420786 h 6128401"/>
                  <a:gd name="connsiteX17" fmla="*/ 2238797 w 4477595"/>
                  <a:gd name="connsiteY17" fmla="*/ 0 h 6128401"/>
                  <a:gd name="connsiteX18" fmla="*/ 4477595 w 4477595"/>
                  <a:gd name="connsiteY18" fmla="*/ 2238797 h 6128401"/>
                  <a:gd name="connsiteX19" fmla="*/ 3305941 w 4477595"/>
                  <a:gd name="connsiteY19" fmla="*/ 4207383 h 6128401"/>
                  <a:gd name="connsiteX20" fmla="*/ 3243251 w 4477595"/>
                  <a:gd name="connsiteY20" fmla="*/ 4439941 h 6128401"/>
                  <a:gd name="connsiteX21" fmla="*/ 3243251 w 4477595"/>
                  <a:gd name="connsiteY21" fmla="*/ 5318909 h 6128401"/>
                  <a:gd name="connsiteX22" fmla="*/ 2705531 w 4477595"/>
                  <a:gd name="connsiteY22" fmla="*/ 5880081 h 6128401"/>
                  <a:gd name="connsiteX23" fmla="*/ 2650833 w 4477595"/>
                  <a:gd name="connsiteY23" fmla="*/ 5880971 h 6128401"/>
                  <a:gd name="connsiteX24" fmla="*/ 2641784 w 4477595"/>
                  <a:gd name="connsiteY24" fmla="*/ 5910123 h 6128401"/>
                  <a:gd name="connsiteX25" fmla="*/ 2312476 w 4477595"/>
                  <a:gd name="connsiteY25" fmla="*/ 6128401 h 6128401"/>
                  <a:gd name="connsiteX26" fmla="*/ 2165118 w 4477595"/>
                  <a:gd name="connsiteY26" fmla="*/ 6128401 h 6128401"/>
                  <a:gd name="connsiteX27" fmla="*/ 1835810 w 4477595"/>
                  <a:gd name="connsiteY27" fmla="*/ 5910123 h 6128401"/>
                  <a:gd name="connsiteX28" fmla="*/ 1826975 w 4477595"/>
                  <a:gd name="connsiteY28" fmla="*/ 5881661 h 6128401"/>
                  <a:gd name="connsiteX29" fmla="*/ 1699568 w 4477595"/>
                  <a:gd name="connsiteY29" fmla="*/ 5881345 h 6128401"/>
                  <a:gd name="connsiteX30" fmla="*/ 1252464 w 4477595"/>
                  <a:gd name="connsiteY30" fmla="*/ 5306553 h 6128401"/>
                  <a:gd name="connsiteX31" fmla="*/ 1260702 w 4477595"/>
                  <a:gd name="connsiteY31" fmla="*/ 4439941 h 6128401"/>
                  <a:gd name="connsiteX32" fmla="*/ 1247395 w 4477595"/>
                  <a:gd name="connsiteY32" fmla="*/ 4251681 h 6128401"/>
                  <a:gd name="connsiteX33" fmla="*/ 1171654 w 4477595"/>
                  <a:gd name="connsiteY33" fmla="*/ 4207383 h 6128401"/>
                  <a:gd name="connsiteX34" fmla="*/ 0 w 4477595"/>
                  <a:gd name="connsiteY34" fmla="*/ 2238797 h 6128401"/>
                  <a:gd name="connsiteX35" fmla="*/ 2238797 w 4477595"/>
                  <a:gd name="connsiteY35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539568 w 4477595"/>
                  <a:gd name="connsiteY9" fmla="*/ 4531711 h 6128401"/>
                  <a:gd name="connsiteX10" fmla="*/ 2860637 w 4477595"/>
                  <a:gd name="connsiteY10" fmla="*/ 4311091 h 6128401"/>
                  <a:gd name="connsiteX11" fmla="*/ 3109338 w 4477595"/>
                  <a:gd name="connsiteY11" fmla="*/ 3834987 h 6128401"/>
                  <a:gd name="connsiteX12" fmla="*/ 3110879 w 4477595"/>
                  <a:gd name="connsiteY12" fmla="*/ 3834037 h 6128401"/>
                  <a:gd name="connsiteX13" fmla="*/ 3181541 w 4477595"/>
                  <a:gd name="connsiteY13" fmla="*/ 3791109 h 6128401"/>
                  <a:gd name="connsiteX14" fmla="*/ 4056807 w 4477595"/>
                  <a:gd name="connsiteY14" fmla="*/ 2238797 h 6128401"/>
                  <a:gd name="connsiteX15" fmla="*/ 2238798 w 4477595"/>
                  <a:gd name="connsiteY15" fmla="*/ 420786 h 6128401"/>
                  <a:gd name="connsiteX16" fmla="*/ 2238797 w 4477595"/>
                  <a:gd name="connsiteY16" fmla="*/ 0 h 6128401"/>
                  <a:gd name="connsiteX17" fmla="*/ 4477595 w 4477595"/>
                  <a:gd name="connsiteY17" fmla="*/ 2238797 h 6128401"/>
                  <a:gd name="connsiteX18" fmla="*/ 3305941 w 4477595"/>
                  <a:gd name="connsiteY18" fmla="*/ 4207383 h 6128401"/>
                  <a:gd name="connsiteX19" fmla="*/ 3243251 w 4477595"/>
                  <a:gd name="connsiteY19" fmla="*/ 4439941 h 6128401"/>
                  <a:gd name="connsiteX20" fmla="*/ 3243251 w 4477595"/>
                  <a:gd name="connsiteY20" fmla="*/ 5318909 h 6128401"/>
                  <a:gd name="connsiteX21" fmla="*/ 2705531 w 4477595"/>
                  <a:gd name="connsiteY21" fmla="*/ 5880081 h 6128401"/>
                  <a:gd name="connsiteX22" fmla="*/ 2650833 w 4477595"/>
                  <a:gd name="connsiteY22" fmla="*/ 5880971 h 6128401"/>
                  <a:gd name="connsiteX23" fmla="*/ 2641784 w 4477595"/>
                  <a:gd name="connsiteY23" fmla="*/ 5910123 h 6128401"/>
                  <a:gd name="connsiteX24" fmla="*/ 2312476 w 4477595"/>
                  <a:gd name="connsiteY24" fmla="*/ 6128401 h 6128401"/>
                  <a:gd name="connsiteX25" fmla="*/ 2165118 w 4477595"/>
                  <a:gd name="connsiteY25" fmla="*/ 6128401 h 6128401"/>
                  <a:gd name="connsiteX26" fmla="*/ 1835810 w 4477595"/>
                  <a:gd name="connsiteY26" fmla="*/ 5910123 h 6128401"/>
                  <a:gd name="connsiteX27" fmla="*/ 1826975 w 4477595"/>
                  <a:gd name="connsiteY27" fmla="*/ 5881661 h 6128401"/>
                  <a:gd name="connsiteX28" fmla="*/ 1699568 w 4477595"/>
                  <a:gd name="connsiteY28" fmla="*/ 5881345 h 6128401"/>
                  <a:gd name="connsiteX29" fmla="*/ 1252464 w 4477595"/>
                  <a:gd name="connsiteY29" fmla="*/ 5306553 h 6128401"/>
                  <a:gd name="connsiteX30" fmla="*/ 1260702 w 4477595"/>
                  <a:gd name="connsiteY30" fmla="*/ 4439941 h 6128401"/>
                  <a:gd name="connsiteX31" fmla="*/ 1247395 w 4477595"/>
                  <a:gd name="connsiteY31" fmla="*/ 4251681 h 6128401"/>
                  <a:gd name="connsiteX32" fmla="*/ 1171654 w 4477595"/>
                  <a:gd name="connsiteY32" fmla="*/ 4207383 h 6128401"/>
                  <a:gd name="connsiteX33" fmla="*/ 0 w 4477595"/>
                  <a:gd name="connsiteY33" fmla="*/ 2238797 h 6128401"/>
                  <a:gd name="connsiteX34" fmla="*/ 2238797 w 4477595"/>
                  <a:gd name="connsiteY34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539568 w 4477595"/>
                  <a:gd name="connsiteY8" fmla="*/ 4531711 h 6128401"/>
                  <a:gd name="connsiteX9" fmla="*/ 2860637 w 4477595"/>
                  <a:gd name="connsiteY9" fmla="*/ 4311091 h 6128401"/>
                  <a:gd name="connsiteX10" fmla="*/ 3109338 w 4477595"/>
                  <a:gd name="connsiteY10" fmla="*/ 3834987 h 6128401"/>
                  <a:gd name="connsiteX11" fmla="*/ 3110879 w 4477595"/>
                  <a:gd name="connsiteY11" fmla="*/ 3834037 h 6128401"/>
                  <a:gd name="connsiteX12" fmla="*/ 3181541 w 4477595"/>
                  <a:gd name="connsiteY12" fmla="*/ 3791109 h 6128401"/>
                  <a:gd name="connsiteX13" fmla="*/ 4056807 w 4477595"/>
                  <a:gd name="connsiteY13" fmla="*/ 2238797 h 6128401"/>
                  <a:gd name="connsiteX14" fmla="*/ 2238798 w 4477595"/>
                  <a:gd name="connsiteY14" fmla="*/ 420786 h 6128401"/>
                  <a:gd name="connsiteX15" fmla="*/ 2238797 w 4477595"/>
                  <a:gd name="connsiteY15" fmla="*/ 0 h 6128401"/>
                  <a:gd name="connsiteX16" fmla="*/ 4477595 w 4477595"/>
                  <a:gd name="connsiteY16" fmla="*/ 2238797 h 6128401"/>
                  <a:gd name="connsiteX17" fmla="*/ 3305941 w 4477595"/>
                  <a:gd name="connsiteY17" fmla="*/ 4207383 h 6128401"/>
                  <a:gd name="connsiteX18" fmla="*/ 3243251 w 4477595"/>
                  <a:gd name="connsiteY18" fmla="*/ 4439941 h 6128401"/>
                  <a:gd name="connsiteX19" fmla="*/ 3243251 w 4477595"/>
                  <a:gd name="connsiteY19" fmla="*/ 5318909 h 6128401"/>
                  <a:gd name="connsiteX20" fmla="*/ 2705531 w 4477595"/>
                  <a:gd name="connsiteY20" fmla="*/ 5880081 h 6128401"/>
                  <a:gd name="connsiteX21" fmla="*/ 2650833 w 4477595"/>
                  <a:gd name="connsiteY21" fmla="*/ 5880971 h 6128401"/>
                  <a:gd name="connsiteX22" fmla="*/ 2641784 w 4477595"/>
                  <a:gd name="connsiteY22" fmla="*/ 5910123 h 6128401"/>
                  <a:gd name="connsiteX23" fmla="*/ 2312476 w 4477595"/>
                  <a:gd name="connsiteY23" fmla="*/ 6128401 h 6128401"/>
                  <a:gd name="connsiteX24" fmla="*/ 2165118 w 4477595"/>
                  <a:gd name="connsiteY24" fmla="*/ 6128401 h 6128401"/>
                  <a:gd name="connsiteX25" fmla="*/ 1835810 w 4477595"/>
                  <a:gd name="connsiteY25" fmla="*/ 5910123 h 6128401"/>
                  <a:gd name="connsiteX26" fmla="*/ 1826975 w 4477595"/>
                  <a:gd name="connsiteY26" fmla="*/ 5881661 h 6128401"/>
                  <a:gd name="connsiteX27" fmla="*/ 1699568 w 4477595"/>
                  <a:gd name="connsiteY27" fmla="*/ 5881345 h 6128401"/>
                  <a:gd name="connsiteX28" fmla="*/ 1252464 w 4477595"/>
                  <a:gd name="connsiteY28" fmla="*/ 5306553 h 6128401"/>
                  <a:gd name="connsiteX29" fmla="*/ 1260702 w 4477595"/>
                  <a:gd name="connsiteY29" fmla="*/ 4439941 h 6128401"/>
                  <a:gd name="connsiteX30" fmla="*/ 1247395 w 4477595"/>
                  <a:gd name="connsiteY30" fmla="*/ 4251681 h 6128401"/>
                  <a:gd name="connsiteX31" fmla="*/ 1171654 w 4477595"/>
                  <a:gd name="connsiteY31" fmla="*/ 4207383 h 6128401"/>
                  <a:gd name="connsiteX32" fmla="*/ 0 w 4477595"/>
                  <a:gd name="connsiteY32" fmla="*/ 2238797 h 6128401"/>
                  <a:gd name="connsiteX33" fmla="*/ 2238797 w 4477595"/>
                  <a:gd name="connsiteY33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539568 w 4477595"/>
                  <a:gd name="connsiteY7" fmla="*/ 4531711 h 6128401"/>
                  <a:gd name="connsiteX8" fmla="*/ 2860637 w 4477595"/>
                  <a:gd name="connsiteY8" fmla="*/ 4311091 h 6128401"/>
                  <a:gd name="connsiteX9" fmla="*/ 3109338 w 4477595"/>
                  <a:gd name="connsiteY9" fmla="*/ 3834987 h 6128401"/>
                  <a:gd name="connsiteX10" fmla="*/ 3110879 w 4477595"/>
                  <a:gd name="connsiteY10" fmla="*/ 3834037 h 6128401"/>
                  <a:gd name="connsiteX11" fmla="*/ 3181541 w 4477595"/>
                  <a:gd name="connsiteY11" fmla="*/ 3791109 h 6128401"/>
                  <a:gd name="connsiteX12" fmla="*/ 4056807 w 4477595"/>
                  <a:gd name="connsiteY12" fmla="*/ 2238797 h 6128401"/>
                  <a:gd name="connsiteX13" fmla="*/ 2238798 w 4477595"/>
                  <a:gd name="connsiteY13" fmla="*/ 420786 h 6128401"/>
                  <a:gd name="connsiteX14" fmla="*/ 2238797 w 4477595"/>
                  <a:gd name="connsiteY14" fmla="*/ 0 h 6128401"/>
                  <a:gd name="connsiteX15" fmla="*/ 4477595 w 4477595"/>
                  <a:gd name="connsiteY15" fmla="*/ 2238797 h 6128401"/>
                  <a:gd name="connsiteX16" fmla="*/ 3305941 w 4477595"/>
                  <a:gd name="connsiteY16" fmla="*/ 4207383 h 6128401"/>
                  <a:gd name="connsiteX17" fmla="*/ 3243251 w 4477595"/>
                  <a:gd name="connsiteY17" fmla="*/ 4439941 h 6128401"/>
                  <a:gd name="connsiteX18" fmla="*/ 3243251 w 4477595"/>
                  <a:gd name="connsiteY18" fmla="*/ 5318909 h 6128401"/>
                  <a:gd name="connsiteX19" fmla="*/ 2705531 w 4477595"/>
                  <a:gd name="connsiteY19" fmla="*/ 5880081 h 6128401"/>
                  <a:gd name="connsiteX20" fmla="*/ 2650833 w 4477595"/>
                  <a:gd name="connsiteY20" fmla="*/ 5880971 h 6128401"/>
                  <a:gd name="connsiteX21" fmla="*/ 2641784 w 4477595"/>
                  <a:gd name="connsiteY21" fmla="*/ 5910123 h 6128401"/>
                  <a:gd name="connsiteX22" fmla="*/ 2312476 w 4477595"/>
                  <a:gd name="connsiteY22" fmla="*/ 6128401 h 6128401"/>
                  <a:gd name="connsiteX23" fmla="*/ 2165118 w 4477595"/>
                  <a:gd name="connsiteY23" fmla="*/ 6128401 h 6128401"/>
                  <a:gd name="connsiteX24" fmla="*/ 1835810 w 4477595"/>
                  <a:gd name="connsiteY24" fmla="*/ 5910123 h 6128401"/>
                  <a:gd name="connsiteX25" fmla="*/ 1826975 w 4477595"/>
                  <a:gd name="connsiteY25" fmla="*/ 5881661 h 6128401"/>
                  <a:gd name="connsiteX26" fmla="*/ 1699568 w 4477595"/>
                  <a:gd name="connsiteY26" fmla="*/ 5881345 h 6128401"/>
                  <a:gd name="connsiteX27" fmla="*/ 1252464 w 4477595"/>
                  <a:gd name="connsiteY27" fmla="*/ 5306553 h 6128401"/>
                  <a:gd name="connsiteX28" fmla="*/ 1260702 w 4477595"/>
                  <a:gd name="connsiteY28" fmla="*/ 4439941 h 6128401"/>
                  <a:gd name="connsiteX29" fmla="*/ 1247395 w 4477595"/>
                  <a:gd name="connsiteY29" fmla="*/ 4251681 h 6128401"/>
                  <a:gd name="connsiteX30" fmla="*/ 1171654 w 4477595"/>
                  <a:gd name="connsiteY30" fmla="*/ 4207383 h 6128401"/>
                  <a:gd name="connsiteX31" fmla="*/ 0 w 4477595"/>
                  <a:gd name="connsiteY31" fmla="*/ 2238797 h 6128401"/>
                  <a:gd name="connsiteX32" fmla="*/ 2238797 w 4477595"/>
                  <a:gd name="connsiteY32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539568 w 4477595"/>
                  <a:gd name="connsiteY6" fmla="*/ 4531711 h 6128401"/>
                  <a:gd name="connsiteX7" fmla="*/ 2860637 w 4477595"/>
                  <a:gd name="connsiteY7" fmla="*/ 4311091 h 6128401"/>
                  <a:gd name="connsiteX8" fmla="*/ 3109338 w 4477595"/>
                  <a:gd name="connsiteY8" fmla="*/ 3834987 h 6128401"/>
                  <a:gd name="connsiteX9" fmla="*/ 3110879 w 4477595"/>
                  <a:gd name="connsiteY9" fmla="*/ 3834037 h 6128401"/>
                  <a:gd name="connsiteX10" fmla="*/ 3181541 w 4477595"/>
                  <a:gd name="connsiteY10" fmla="*/ 3791109 h 6128401"/>
                  <a:gd name="connsiteX11" fmla="*/ 4056807 w 4477595"/>
                  <a:gd name="connsiteY11" fmla="*/ 2238797 h 6128401"/>
                  <a:gd name="connsiteX12" fmla="*/ 2238798 w 4477595"/>
                  <a:gd name="connsiteY12" fmla="*/ 420786 h 6128401"/>
                  <a:gd name="connsiteX13" fmla="*/ 2238797 w 4477595"/>
                  <a:gd name="connsiteY13" fmla="*/ 0 h 6128401"/>
                  <a:gd name="connsiteX14" fmla="*/ 4477595 w 4477595"/>
                  <a:gd name="connsiteY14" fmla="*/ 2238797 h 6128401"/>
                  <a:gd name="connsiteX15" fmla="*/ 3305941 w 4477595"/>
                  <a:gd name="connsiteY15" fmla="*/ 4207383 h 6128401"/>
                  <a:gd name="connsiteX16" fmla="*/ 3243251 w 4477595"/>
                  <a:gd name="connsiteY16" fmla="*/ 4439941 h 6128401"/>
                  <a:gd name="connsiteX17" fmla="*/ 3243251 w 4477595"/>
                  <a:gd name="connsiteY17" fmla="*/ 5318909 h 6128401"/>
                  <a:gd name="connsiteX18" fmla="*/ 2705531 w 4477595"/>
                  <a:gd name="connsiteY18" fmla="*/ 5880081 h 6128401"/>
                  <a:gd name="connsiteX19" fmla="*/ 2650833 w 4477595"/>
                  <a:gd name="connsiteY19" fmla="*/ 5880971 h 6128401"/>
                  <a:gd name="connsiteX20" fmla="*/ 2641784 w 4477595"/>
                  <a:gd name="connsiteY20" fmla="*/ 5910123 h 6128401"/>
                  <a:gd name="connsiteX21" fmla="*/ 2312476 w 4477595"/>
                  <a:gd name="connsiteY21" fmla="*/ 6128401 h 6128401"/>
                  <a:gd name="connsiteX22" fmla="*/ 2165118 w 4477595"/>
                  <a:gd name="connsiteY22" fmla="*/ 6128401 h 6128401"/>
                  <a:gd name="connsiteX23" fmla="*/ 1835810 w 4477595"/>
                  <a:gd name="connsiteY23" fmla="*/ 5910123 h 6128401"/>
                  <a:gd name="connsiteX24" fmla="*/ 1826975 w 4477595"/>
                  <a:gd name="connsiteY24" fmla="*/ 5881661 h 6128401"/>
                  <a:gd name="connsiteX25" fmla="*/ 1699568 w 4477595"/>
                  <a:gd name="connsiteY25" fmla="*/ 5881345 h 6128401"/>
                  <a:gd name="connsiteX26" fmla="*/ 1252464 w 4477595"/>
                  <a:gd name="connsiteY26" fmla="*/ 5306553 h 6128401"/>
                  <a:gd name="connsiteX27" fmla="*/ 1260702 w 4477595"/>
                  <a:gd name="connsiteY27" fmla="*/ 4439941 h 6128401"/>
                  <a:gd name="connsiteX28" fmla="*/ 1247395 w 4477595"/>
                  <a:gd name="connsiteY28" fmla="*/ 4251681 h 6128401"/>
                  <a:gd name="connsiteX29" fmla="*/ 1171654 w 4477595"/>
                  <a:gd name="connsiteY29" fmla="*/ 4207383 h 6128401"/>
                  <a:gd name="connsiteX30" fmla="*/ 0 w 4477595"/>
                  <a:gd name="connsiteY30" fmla="*/ 2238797 h 6128401"/>
                  <a:gd name="connsiteX31" fmla="*/ 2238797 w 4477595"/>
                  <a:gd name="connsiteY31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539568 w 4477595"/>
                  <a:gd name="connsiteY5" fmla="*/ 4531711 h 6128401"/>
                  <a:gd name="connsiteX6" fmla="*/ 2860637 w 4477595"/>
                  <a:gd name="connsiteY6" fmla="*/ 4311091 h 6128401"/>
                  <a:gd name="connsiteX7" fmla="*/ 3109338 w 4477595"/>
                  <a:gd name="connsiteY7" fmla="*/ 3834987 h 6128401"/>
                  <a:gd name="connsiteX8" fmla="*/ 3110879 w 4477595"/>
                  <a:gd name="connsiteY8" fmla="*/ 3834037 h 6128401"/>
                  <a:gd name="connsiteX9" fmla="*/ 3181541 w 4477595"/>
                  <a:gd name="connsiteY9" fmla="*/ 3791109 h 6128401"/>
                  <a:gd name="connsiteX10" fmla="*/ 4056807 w 4477595"/>
                  <a:gd name="connsiteY10" fmla="*/ 2238797 h 6128401"/>
                  <a:gd name="connsiteX11" fmla="*/ 2238798 w 4477595"/>
                  <a:gd name="connsiteY11" fmla="*/ 420786 h 6128401"/>
                  <a:gd name="connsiteX12" fmla="*/ 2238797 w 4477595"/>
                  <a:gd name="connsiteY12" fmla="*/ 0 h 6128401"/>
                  <a:gd name="connsiteX13" fmla="*/ 4477595 w 4477595"/>
                  <a:gd name="connsiteY13" fmla="*/ 2238797 h 6128401"/>
                  <a:gd name="connsiteX14" fmla="*/ 3305941 w 4477595"/>
                  <a:gd name="connsiteY14" fmla="*/ 4207383 h 6128401"/>
                  <a:gd name="connsiteX15" fmla="*/ 3243251 w 4477595"/>
                  <a:gd name="connsiteY15" fmla="*/ 4439941 h 6128401"/>
                  <a:gd name="connsiteX16" fmla="*/ 3243251 w 4477595"/>
                  <a:gd name="connsiteY16" fmla="*/ 5318909 h 6128401"/>
                  <a:gd name="connsiteX17" fmla="*/ 2705531 w 4477595"/>
                  <a:gd name="connsiteY17" fmla="*/ 5880081 h 6128401"/>
                  <a:gd name="connsiteX18" fmla="*/ 2650833 w 4477595"/>
                  <a:gd name="connsiteY18" fmla="*/ 5880971 h 6128401"/>
                  <a:gd name="connsiteX19" fmla="*/ 2641784 w 4477595"/>
                  <a:gd name="connsiteY19" fmla="*/ 5910123 h 6128401"/>
                  <a:gd name="connsiteX20" fmla="*/ 2312476 w 4477595"/>
                  <a:gd name="connsiteY20" fmla="*/ 6128401 h 6128401"/>
                  <a:gd name="connsiteX21" fmla="*/ 2165118 w 4477595"/>
                  <a:gd name="connsiteY21" fmla="*/ 6128401 h 6128401"/>
                  <a:gd name="connsiteX22" fmla="*/ 1835810 w 4477595"/>
                  <a:gd name="connsiteY22" fmla="*/ 5910123 h 6128401"/>
                  <a:gd name="connsiteX23" fmla="*/ 1826975 w 4477595"/>
                  <a:gd name="connsiteY23" fmla="*/ 5881661 h 6128401"/>
                  <a:gd name="connsiteX24" fmla="*/ 1699568 w 4477595"/>
                  <a:gd name="connsiteY24" fmla="*/ 5881345 h 6128401"/>
                  <a:gd name="connsiteX25" fmla="*/ 1252464 w 4477595"/>
                  <a:gd name="connsiteY25" fmla="*/ 5306553 h 6128401"/>
                  <a:gd name="connsiteX26" fmla="*/ 1260702 w 4477595"/>
                  <a:gd name="connsiteY26" fmla="*/ 4439941 h 6128401"/>
                  <a:gd name="connsiteX27" fmla="*/ 1247395 w 4477595"/>
                  <a:gd name="connsiteY27" fmla="*/ 4251681 h 6128401"/>
                  <a:gd name="connsiteX28" fmla="*/ 1171654 w 4477595"/>
                  <a:gd name="connsiteY28" fmla="*/ 4207383 h 6128401"/>
                  <a:gd name="connsiteX29" fmla="*/ 0 w 4477595"/>
                  <a:gd name="connsiteY29" fmla="*/ 2238797 h 6128401"/>
                  <a:gd name="connsiteX30" fmla="*/ 2238797 w 4477595"/>
                  <a:gd name="connsiteY30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539568 w 4477595"/>
                  <a:gd name="connsiteY5" fmla="*/ 4531711 h 6128401"/>
                  <a:gd name="connsiteX6" fmla="*/ 2860637 w 4477595"/>
                  <a:gd name="connsiteY6" fmla="*/ 4311091 h 6128401"/>
                  <a:gd name="connsiteX7" fmla="*/ 3109338 w 4477595"/>
                  <a:gd name="connsiteY7" fmla="*/ 3834987 h 6128401"/>
                  <a:gd name="connsiteX8" fmla="*/ 3110879 w 4477595"/>
                  <a:gd name="connsiteY8" fmla="*/ 3834037 h 6128401"/>
                  <a:gd name="connsiteX9" fmla="*/ 3181541 w 4477595"/>
                  <a:gd name="connsiteY9" fmla="*/ 3791109 h 6128401"/>
                  <a:gd name="connsiteX10" fmla="*/ 4056807 w 4477595"/>
                  <a:gd name="connsiteY10" fmla="*/ 2238797 h 6128401"/>
                  <a:gd name="connsiteX11" fmla="*/ 2238798 w 4477595"/>
                  <a:gd name="connsiteY11" fmla="*/ 420786 h 6128401"/>
                  <a:gd name="connsiteX12" fmla="*/ 2238797 w 4477595"/>
                  <a:gd name="connsiteY12" fmla="*/ 0 h 6128401"/>
                  <a:gd name="connsiteX13" fmla="*/ 4477595 w 4477595"/>
                  <a:gd name="connsiteY13" fmla="*/ 2238797 h 6128401"/>
                  <a:gd name="connsiteX14" fmla="*/ 3305941 w 4477595"/>
                  <a:gd name="connsiteY14" fmla="*/ 4207383 h 6128401"/>
                  <a:gd name="connsiteX15" fmla="*/ 3243251 w 4477595"/>
                  <a:gd name="connsiteY15" fmla="*/ 4439941 h 6128401"/>
                  <a:gd name="connsiteX16" fmla="*/ 3243251 w 4477595"/>
                  <a:gd name="connsiteY16" fmla="*/ 5318909 h 6128401"/>
                  <a:gd name="connsiteX17" fmla="*/ 2705531 w 4477595"/>
                  <a:gd name="connsiteY17" fmla="*/ 5880081 h 6128401"/>
                  <a:gd name="connsiteX18" fmla="*/ 2650833 w 4477595"/>
                  <a:gd name="connsiteY18" fmla="*/ 5880971 h 6128401"/>
                  <a:gd name="connsiteX19" fmla="*/ 2641784 w 4477595"/>
                  <a:gd name="connsiteY19" fmla="*/ 5910123 h 6128401"/>
                  <a:gd name="connsiteX20" fmla="*/ 2312476 w 4477595"/>
                  <a:gd name="connsiteY20" fmla="*/ 6128401 h 6128401"/>
                  <a:gd name="connsiteX21" fmla="*/ 2165118 w 4477595"/>
                  <a:gd name="connsiteY21" fmla="*/ 6128401 h 6128401"/>
                  <a:gd name="connsiteX22" fmla="*/ 1835810 w 4477595"/>
                  <a:gd name="connsiteY22" fmla="*/ 5910123 h 6128401"/>
                  <a:gd name="connsiteX23" fmla="*/ 1826975 w 4477595"/>
                  <a:gd name="connsiteY23" fmla="*/ 5881661 h 6128401"/>
                  <a:gd name="connsiteX24" fmla="*/ 1699568 w 4477595"/>
                  <a:gd name="connsiteY24" fmla="*/ 5881345 h 6128401"/>
                  <a:gd name="connsiteX25" fmla="*/ 1252464 w 4477595"/>
                  <a:gd name="connsiteY25" fmla="*/ 5306553 h 6128401"/>
                  <a:gd name="connsiteX26" fmla="*/ 1260702 w 4477595"/>
                  <a:gd name="connsiteY26" fmla="*/ 4439941 h 6128401"/>
                  <a:gd name="connsiteX27" fmla="*/ 1247395 w 4477595"/>
                  <a:gd name="connsiteY27" fmla="*/ 4251681 h 6128401"/>
                  <a:gd name="connsiteX28" fmla="*/ 1171654 w 4477595"/>
                  <a:gd name="connsiteY28" fmla="*/ 4207383 h 6128401"/>
                  <a:gd name="connsiteX29" fmla="*/ 0 w 4477595"/>
                  <a:gd name="connsiteY29" fmla="*/ 2238797 h 6128401"/>
                  <a:gd name="connsiteX30" fmla="*/ 2238797 w 4477595"/>
                  <a:gd name="connsiteY30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27594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539568 w 4477595"/>
                  <a:gd name="connsiteY5" fmla="*/ 4531711 h 6128401"/>
                  <a:gd name="connsiteX6" fmla="*/ 2860637 w 4477595"/>
                  <a:gd name="connsiteY6" fmla="*/ 4311091 h 6128401"/>
                  <a:gd name="connsiteX7" fmla="*/ 3109338 w 4477595"/>
                  <a:gd name="connsiteY7" fmla="*/ 3834987 h 6128401"/>
                  <a:gd name="connsiteX8" fmla="*/ 3110879 w 4477595"/>
                  <a:gd name="connsiteY8" fmla="*/ 3834037 h 6128401"/>
                  <a:gd name="connsiteX9" fmla="*/ 3181541 w 4477595"/>
                  <a:gd name="connsiteY9" fmla="*/ 3791109 h 6128401"/>
                  <a:gd name="connsiteX10" fmla="*/ 4056807 w 4477595"/>
                  <a:gd name="connsiteY10" fmla="*/ 2238797 h 6128401"/>
                  <a:gd name="connsiteX11" fmla="*/ 2238798 w 4477595"/>
                  <a:gd name="connsiteY11" fmla="*/ 420786 h 6128401"/>
                  <a:gd name="connsiteX12" fmla="*/ 2238797 w 4477595"/>
                  <a:gd name="connsiteY12" fmla="*/ 0 h 6128401"/>
                  <a:gd name="connsiteX13" fmla="*/ 4477595 w 4477595"/>
                  <a:gd name="connsiteY13" fmla="*/ 2238797 h 6128401"/>
                  <a:gd name="connsiteX14" fmla="*/ 3305941 w 4477595"/>
                  <a:gd name="connsiteY14" fmla="*/ 4207383 h 6128401"/>
                  <a:gd name="connsiteX15" fmla="*/ 3243251 w 4477595"/>
                  <a:gd name="connsiteY15" fmla="*/ 4439941 h 6128401"/>
                  <a:gd name="connsiteX16" fmla="*/ 3243251 w 4477595"/>
                  <a:gd name="connsiteY16" fmla="*/ 5318909 h 6128401"/>
                  <a:gd name="connsiteX17" fmla="*/ 2705531 w 4477595"/>
                  <a:gd name="connsiteY17" fmla="*/ 5880081 h 6128401"/>
                  <a:gd name="connsiteX18" fmla="*/ 2650833 w 4477595"/>
                  <a:gd name="connsiteY18" fmla="*/ 5880971 h 6128401"/>
                  <a:gd name="connsiteX19" fmla="*/ 2641784 w 4477595"/>
                  <a:gd name="connsiteY19" fmla="*/ 5910123 h 6128401"/>
                  <a:gd name="connsiteX20" fmla="*/ 2312476 w 4477595"/>
                  <a:gd name="connsiteY20" fmla="*/ 6128401 h 6128401"/>
                  <a:gd name="connsiteX21" fmla="*/ 2165118 w 4477595"/>
                  <a:gd name="connsiteY21" fmla="*/ 6128401 h 6128401"/>
                  <a:gd name="connsiteX22" fmla="*/ 1835810 w 4477595"/>
                  <a:gd name="connsiteY22" fmla="*/ 5910123 h 6128401"/>
                  <a:gd name="connsiteX23" fmla="*/ 1826975 w 4477595"/>
                  <a:gd name="connsiteY23" fmla="*/ 5881661 h 6128401"/>
                  <a:gd name="connsiteX24" fmla="*/ 1699568 w 4477595"/>
                  <a:gd name="connsiteY24" fmla="*/ 5881345 h 6128401"/>
                  <a:gd name="connsiteX25" fmla="*/ 1252464 w 4477595"/>
                  <a:gd name="connsiteY25" fmla="*/ 5306553 h 6128401"/>
                  <a:gd name="connsiteX26" fmla="*/ 1260702 w 4477595"/>
                  <a:gd name="connsiteY26" fmla="*/ 4439941 h 6128401"/>
                  <a:gd name="connsiteX27" fmla="*/ 1247395 w 4477595"/>
                  <a:gd name="connsiteY27" fmla="*/ 4251681 h 6128401"/>
                  <a:gd name="connsiteX28" fmla="*/ 1171654 w 4477595"/>
                  <a:gd name="connsiteY28" fmla="*/ 4207383 h 6128401"/>
                  <a:gd name="connsiteX29" fmla="*/ 0 w 4477595"/>
                  <a:gd name="connsiteY29" fmla="*/ 2238797 h 6128401"/>
                  <a:gd name="connsiteX30" fmla="*/ 2238797 w 4477595"/>
                  <a:gd name="connsiteY30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27594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539568 w 4477595"/>
                  <a:gd name="connsiteY5" fmla="*/ 4531711 h 6128401"/>
                  <a:gd name="connsiteX6" fmla="*/ 2860637 w 4477595"/>
                  <a:gd name="connsiteY6" fmla="*/ 4311091 h 6128401"/>
                  <a:gd name="connsiteX7" fmla="*/ 3109338 w 4477595"/>
                  <a:gd name="connsiteY7" fmla="*/ 3834987 h 6128401"/>
                  <a:gd name="connsiteX8" fmla="*/ 3110879 w 4477595"/>
                  <a:gd name="connsiteY8" fmla="*/ 3834037 h 6128401"/>
                  <a:gd name="connsiteX9" fmla="*/ 3181541 w 4477595"/>
                  <a:gd name="connsiteY9" fmla="*/ 3791109 h 6128401"/>
                  <a:gd name="connsiteX10" fmla="*/ 4056807 w 4477595"/>
                  <a:gd name="connsiteY10" fmla="*/ 2238797 h 6128401"/>
                  <a:gd name="connsiteX11" fmla="*/ 2238798 w 4477595"/>
                  <a:gd name="connsiteY11" fmla="*/ 420786 h 6128401"/>
                  <a:gd name="connsiteX12" fmla="*/ 2238797 w 4477595"/>
                  <a:gd name="connsiteY12" fmla="*/ 0 h 6128401"/>
                  <a:gd name="connsiteX13" fmla="*/ 4477595 w 4477595"/>
                  <a:gd name="connsiteY13" fmla="*/ 2238797 h 6128401"/>
                  <a:gd name="connsiteX14" fmla="*/ 3305941 w 4477595"/>
                  <a:gd name="connsiteY14" fmla="*/ 4207383 h 6128401"/>
                  <a:gd name="connsiteX15" fmla="*/ 3243251 w 4477595"/>
                  <a:gd name="connsiteY15" fmla="*/ 4439941 h 6128401"/>
                  <a:gd name="connsiteX16" fmla="*/ 3243251 w 4477595"/>
                  <a:gd name="connsiteY16" fmla="*/ 5318909 h 6128401"/>
                  <a:gd name="connsiteX17" fmla="*/ 2705531 w 4477595"/>
                  <a:gd name="connsiteY17" fmla="*/ 5880081 h 6128401"/>
                  <a:gd name="connsiteX18" fmla="*/ 2650833 w 4477595"/>
                  <a:gd name="connsiteY18" fmla="*/ 5880971 h 6128401"/>
                  <a:gd name="connsiteX19" fmla="*/ 2641784 w 4477595"/>
                  <a:gd name="connsiteY19" fmla="*/ 5910123 h 6128401"/>
                  <a:gd name="connsiteX20" fmla="*/ 2312476 w 4477595"/>
                  <a:gd name="connsiteY20" fmla="*/ 6128401 h 6128401"/>
                  <a:gd name="connsiteX21" fmla="*/ 2165118 w 4477595"/>
                  <a:gd name="connsiteY21" fmla="*/ 6128401 h 6128401"/>
                  <a:gd name="connsiteX22" fmla="*/ 1835810 w 4477595"/>
                  <a:gd name="connsiteY22" fmla="*/ 5910123 h 6128401"/>
                  <a:gd name="connsiteX23" fmla="*/ 1826975 w 4477595"/>
                  <a:gd name="connsiteY23" fmla="*/ 5881661 h 6128401"/>
                  <a:gd name="connsiteX24" fmla="*/ 1699568 w 4477595"/>
                  <a:gd name="connsiteY24" fmla="*/ 5881345 h 6128401"/>
                  <a:gd name="connsiteX25" fmla="*/ 1252464 w 4477595"/>
                  <a:gd name="connsiteY25" fmla="*/ 5306553 h 6128401"/>
                  <a:gd name="connsiteX26" fmla="*/ 1260702 w 4477595"/>
                  <a:gd name="connsiteY26" fmla="*/ 4439941 h 6128401"/>
                  <a:gd name="connsiteX27" fmla="*/ 1247395 w 4477595"/>
                  <a:gd name="connsiteY27" fmla="*/ 4251681 h 6128401"/>
                  <a:gd name="connsiteX28" fmla="*/ 1171654 w 4477595"/>
                  <a:gd name="connsiteY28" fmla="*/ 4207383 h 6128401"/>
                  <a:gd name="connsiteX29" fmla="*/ 0 w 4477595"/>
                  <a:gd name="connsiteY29" fmla="*/ 2238797 h 6128401"/>
                  <a:gd name="connsiteX30" fmla="*/ 2238797 w 4477595"/>
                  <a:gd name="connsiteY30" fmla="*/ 0 h 6128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4477595" h="6128401">
                    <a:moveTo>
                      <a:pt x="2238798" y="420786"/>
                    </a:moveTo>
                    <a:cubicBezTo>
                      <a:pt x="1234738" y="420786"/>
                      <a:pt x="420787" y="1234737"/>
                      <a:pt x="420787" y="2238797"/>
                    </a:cubicBezTo>
                    <a:cubicBezTo>
                      <a:pt x="423730" y="2352803"/>
                      <a:pt x="351911" y="3087911"/>
                      <a:pt x="1223247" y="3754007"/>
                    </a:cubicBezTo>
                    <a:cubicBezTo>
                      <a:pt x="1717667" y="4011636"/>
                      <a:pt x="1619902" y="4226675"/>
                      <a:pt x="1627594" y="4311091"/>
                    </a:cubicBezTo>
                    <a:cubicBezTo>
                      <a:pt x="1617757" y="4418123"/>
                      <a:pt x="1705319" y="4534189"/>
                      <a:pt x="1936940" y="4531711"/>
                    </a:cubicBezTo>
                    <a:lnTo>
                      <a:pt x="2539568" y="4531711"/>
                    </a:lnTo>
                    <a:cubicBezTo>
                      <a:pt x="2771189" y="4534189"/>
                      <a:pt x="2870474" y="4418123"/>
                      <a:pt x="2860637" y="4311091"/>
                    </a:cubicBezTo>
                    <a:cubicBezTo>
                      <a:pt x="2867368" y="4237227"/>
                      <a:pt x="2823275" y="4027453"/>
                      <a:pt x="3109338" y="3834987"/>
                    </a:cubicBezTo>
                    <a:lnTo>
                      <a:pt x="3110879" y="3834037"/>
                    </a:lnTo>
                    <a:lnTo>
                      <a:pt x="3181541" y="3791109"/>
                    </a:lnTo>
                    <a:cubicBezTo>
                      <a:pt x="3939122" y="3371438"/>
                      <a:pt x="4058350" y="2583705"/>
                      <a:pt x="4056807" y="2238797"/>
                    </a:cubicBezTo>
                    <a:cubicBezTo>
                      <a:pt x="4056807" y="1234737"/>
                      <a:pt x="3242858" y="420786"/>
                      <a:pt x="2238798" y="420786"/>
                    </a:cubicBezTo>
                    <a:close/>
                    <a:moveTo>
                      <a:pt x="2238797" y="0"/>
                    </a:moveTo>
                    <a:cubicBezTo>
                      <a:pt x="3475250" y="0"/>
                      <a:pt x="4477595" y="1002344"/>
                      <a:pt x="4477595" y="2238797"/>
                    </a:cubicBezTo>
                    <a:cubicBezTo>
                      <a:pt x="4477595" y="3088857"/>
                      <a:pt x="4003830" y="3828265"/>
                      <a:pt x="3305941" y="4207383"/>
                    </a:cubicBezTo>
                    <a:cubicBezTo>
                      <a:pt x="3307381" y="4222369"/>
                      <a:pt x="3228811" y="4212497"/>
                      <a:pt x="3243251" y="4439941"/>
                    </a:cubicBezTo>
                    <a:lnTo>
                      <a:pt x="3243251" y="5318909"/>
                    </a:lnTo>
                    <a:cubicBezTo>
                      <a:pt x="3259726" y="5591157"/>
                      <a:pt x="3093445" y="5886389"/>
                      <a:pt x="2705531" y="5880081"/>
                    </a:cubicBezTo>
                    <a:lnTo>
                      <a:pt x="2650833" y="5880971"/>
                    </a:lnTo>
                    <a:lnTo>
                      <a:pt x="2641784" y="5910123"/>
                    </a:lnTo>
                    <a:cubicBezTo>
                      <a:pt x="2587529" y="6038395"/>
                      <a:pt x="2460513" y="6128401"/>
                      <a:pt x="2312476" y="6128401"/>
                    </a:cubicBezTo>
                    <a:lnTo>
                      <a:pt x="2165118" y="6128401"/>
                    </a:lnTo>
                    <a:cubicBezTo>
                      <a:pt x="2017081" y="6128401"/>
                      <a:pt x="1890065" y="6038395"/>
                      <a:pt x="1835810" y="5910123"/>
                    </a:cubicBezTo>
                    <a:lnTo>
                      <a:pt x="1826975" y="5881661"/>
                    </a:lnTo>
                    <a:lnTo>
                      <a:pt x="1699568" y="5881345"/>
                    </a:lnTo>
                    <a:cubicBezTo>
                      <a:pt x="1373774" y="5889581"/>
                      <a:pt x="1241446" y="5564849"/>
                      <a:pt x="1252464" y="5306553"/>
                    </a:cubicBezTo>
                    <a:lnTo>
                      <a:pt x="1260702" y="4439941"/>
                    </a:lnTo>
                    <a:cubicBezTo>
                      <a:pt x="1260702" y="4367661"/>
                      <a:pt x="1281375" y="4321187"/>
                      <a:pt x="1247395" y="4251681"/>
                    </a:cubicBezTo>
                    <a:lnTo>
                      <a:pt x="1171654" y="4207383"/>
                    </a:lnTo>
                    <a:cubicBezTo>
                      <a:pt x="473764" y="3828265"/>
                      <a:pt x="0" y="3088857"/>
                      <a:pt x="0" y="2238797"/>
                    </a:cubicBezTo>
                    <a:cubicBezTo>
                      <a:pt x="0" y="1002344"/>
                      <a:pt x="1002344" y="0"/>
                      <a:pt x="2238797" y="0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519970">
                  <a:defRPr/>
                </a:pPr>
                <a:r>
                  <a:rPr lang="en-US" sz="1842" kern="0">
                    <a:solidFill>
                      <a:prstClr val="white"/>
                    </a:solidFill>
                    <a:latin typeface="Calibri"/>
                  </a:rPr>
                  <a:t>  </a:t>
                </a:r>
              </a:p>
            </p:txBody>
          </p:sp>
          <p:grpSp>
            <p:nvGrpSpPr>
              <p:cNvPr id="569" name="Group 206"/>
              <p:cNvGrpSpPr/>
              <p:nvPr/>
            </p:nvGrpSpPr>
            <p:grpSpPr>
              <a:xfrm>
                <a:off x="11961036" y="15547980"/>
                <a:ext cx="6135815" cy="3060371"/>
                <a:chOff x="11961036" y="15547980"/>
                <a:chExt cx="6135815" cy="3060371"/>
              </a:xfrm>
              <a:grpFill/>
            </p:grpSpPr>
            <p:sp>
              <p:nvSpPr>
                <p:cNvPr id="570" name="Rounded Rectangle 207"/>
                <p:cNvSpPr/>
                <p:nvPr/>
              </p:nvSpPr>
              <p:spPr>
                <a:xfrm rot="16200000" flipH="1">
                  <a:off x="12119095" y="16790050"/>
                  <a:ext cx="271696" cy="587813"/>
                </a:xfrm>
                <a:prstGeom prst="roundRect">
                  <a:avLst>
                    <a:gd name="adj" fmla="val 46875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519970">
                    <a:defRPr/>
                  </a:pPr>
                  <a:endParaRPr lang="en-US" sz="1842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571" name="Rounded Rectangle 208"/>
                <p:cNvSpPr/>
                <p:nvPr/>
              </p:nvSpPr>
              <p:spPr>
                <a:xfrm rot="17791932" flipH="1">
                  <a:off x="12487809" y="15407565"/>
                  <a:ext cx="271696" cy="587813"/>
                </a:xfrm>
                <a:prstGeom prst="roundRect">
                  <a:avLst>
                    <a:gd name="adj" fmla="val 46875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519970">
                    <a:defRPr/>
                  </a:pPr>
                  <a:endParaRPr lang="en-US" sz="1842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572" name="Rounded Rectangle 209"/>
                <p:cNvSpPr/>
                <p:nvPr/>
              </p:nvSpPr>
              <p:spPr>
                <a:xfrm rot="3328556" flipH="1">
                  <a:off x="17277054" y="15389921"/>
                  <a:ext cx="271696" cy="587813"/>
                </a:xfrm>
                <a:prstGeom prst="roundRect">
                  <a:avLst>
                    <a:gd name="adj" fmla="val 46875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519970">
                    <a:defRPr/>
                  </a:pPr>
                  <a:endParaRPr lang="en-US" sz="1842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573" name="Rounded Rectangle 210"/>
                <p:cNvSpPr/>
                <p:nvPr/>
              </p:nvSpPr>
              <p:spPr>
                <a:xfrm rot="5578962" flipH="1">
                  <a:off x="17667097" y="16790050"/>
                  <a:ext cx="271696" cy="587813"/>
                </a:xfrm>
                <a:prstGeom prst="roundRect">
                  <a:avLst>
                    <a:gd name="adj" fmla="val 46875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519970">
                    <a:defRPr/>
                  </a:pPr>
                  <a:endParaRPr lang="en-US" sz="1842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574" name="Rounded Rectangle 211"/>
                <p:cNvSpPr/>
                <p:nvPr/>
              </p:nvSpPr>
              <p:spPr>
                <a:xfrm rot="7381646" flipH="1">
                  <a:off x="17287055" y="18178596"/>
                  <a:ext cx="271696" cy="587813"/>
                </a:xfrm>
                <a:prstGeom prst="roundRect">
                  <a:avLst>
                    <a:gd name="adj" fmla="val 46875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519970">
                    <a:defRPr/>
                  </a:pPr>
                  <a:endParaRPr lang="en-US" sz="1842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575" name="Rounded Rectangle 212"/>
                <p:cNvSpPr/>
                <p:nvPr/>
              </p:nvSpPr>
              <p:spPr>
                <a:xfrm rot="14497153" flipH="1">
                  <a:off x="12487809" y="18178594"/>
                  <a:ext cx="271696" cy="587813"/>
                </a:xfrm>
                <a:prstGeom prst="roundRect">
                  <a:avLst>
                    <a:gd name="adj" fmla="val 46875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519970">
                    <a:defRPr/>
                  </a:pPr>
                  <a:endParaRPr lang="en-US" sz="1842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</p:grpSp>
        </p:grpSp>
      </p:grp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7CCF248-FA51-4868-B03B-20A875196B2F}"/>
              </a:ext>
            </a:extLst>
          </p:cNvPr>
          <p:cNvCxnSpPr>
            <a:cxnSpLocks/>
          </p:cNvCxnSpPr>
          <p:nvPr/>
        </p:nvCxnSpPr>
        <p:spPr>
          <a:xfrm>
            <a:off x="8663908" y="4501192"/>
            <a:ext cx="0" cy="1732391"/>
          </a:xfrm>
          <a:prstGeom prst="line">
            <a:avLst/>
          </a:prstGeom>
          <a:ln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4" name="Rectangle 373">
            <a:extLst>
              <a:ext uri="{FF2B5EF4-FFF2-40B4-BE49-F238E27FC236}">
                <a16:creationId xmlns:a16="http://schemas.microsoft.com/office/drawing/2014/main" id="{B6BB4AB2-435E-4F51-B8E8-501296A583F0}"/>
              </a:ext>
            </a:extLst>
          </p:cNvPr>
          <p:cNvSpPr/>
          <p:nvPr/>
        </p:nvSpPr>
        <p:spPr>
          <a:xfrm>
            <a:off x="8437882" y="6368192"/>
            <a:ext cx="463588" cy="2120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27"/>
            <a:r>
              <a:rPr lang="en-US" sz="778" i="1">
                <a:solidFill>
                  <a:prstClr val="white">
                    <a:lumMod val="50000"/>
                  </a:prstClr>
                </a:solidFill>
                <a:latin typeface="Arial"/>
                <a:cs typeface="Arial" panose="020B0604020202020204" pitchFamily="34" charset="0"/>
              </a:rPr>
              <a:t>Today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9A5CE73-02A9-434F-A10E-E693C9DCEE33}"/>
              </a:ext>
            </a:extLst>
          </p:cNvPr>
          <p:cNvGrpSpPr/>
          <p:nvPr/>
        </p:nvGrpSpPr>
        <p:grpSpPr>
          <a:xfrm>
            <a:off x="203515" y="1144821"/>
            <a:ext cx="3182519" cy="709655"/>
            <a:chOff x="139137" y="1030340"/>
            <a:chExt cx="2864267" cy="638690"/>
          </a:xfrm>
        </p:grpSpPr>
        <p:sp>
          <p:nvSpPr>
            <p:cNvPr id="23" name="Round Same Side Corner Rectangle 22"/>
            <p:cNvSpPr/>
            <p:nvPr/>
          </p:nvSpPr>
          <p:spPr>
            <a:xfrm>
              <a:off x="139137" y="1030340"/>
              <a:ext cx="2864267" cy="298244"/>
            </a:xfrm>
            <a:prstGeom prst="round2SameRect">
              <a:avLst/>
            </a:prstGeom>
            <a:gradFill flip="none" rotWithShape="1">
              <a:gsLst>
                <a:gs pos="0">
                  <a:schemeClr val="tx2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8900000" scaled="1"/>
              <a:tileRect/>
            </a:gradFill>
          </p:spPr>
          <p:txBody>
            <a:bodyPr wrap="square" lIns="121920" tIns="0" bIns="60960" anchor="ctr">
              <a:noAutofit/>
            </a:bodyPr>
            <a:lstStyle/>
            <a:p>
              <a:pPr algn="ctr" defTabSz="1058286"/>
              <a:r>
                <a:rPr lang="en-US" sz="1400" b="1">
                  <a:solidFill>
                    <a:prstClr val="white"/>
                  </a:solidFill>
                  <a:latin typeface="Arial"/>
                  <a:cs typeface="DIN Next LT Arabic"/>
                </a:rPr>
                <a:t>Project Manager</a:t>
              </a:r>
            </a:p>
          </p:txBody>
        </p:sp>
        <p:sp>
          <p:nvSpPr>
            <p:cNvPr id="381" name="Rectangle 380">
              <a:extLst>
                <a:ext uri="{FF2B5EF4-FFF2-40B4-BE49-F238E27FC236}">
                  <a16:creationId xmlns:a16="http://schemas.microsoft.com/office/drawing/2014/main" id="{7D779BF8-3B5C-4B82-98FC-7644DB10E2C1}"/>
                </a:ext>
              </a:extLst>
            </p:cNvPr>
            <p:cNvSpPr/>
            <p:nvPr/>
          </p:nvSpPr>
          <p:spPr>
            <a:xfrm>
              <a:off x="139137" y="1306150"/>
              <a:ext cx="2864267" cy="3628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algn="ctr"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92" name="Rectangle 391">
              <a:extLst>
                <a:ext uri="{FF2B5EF4-FFF2-40B4-BE49-F238E27FC236}">
                  <a16:creationId xmlns:a16="http://schemas.microsoft.com/office/drawing/2014/main" id="{80FC6DC5-4FE4-4476-ABEF-A97BB110834C}"/>
                </a:ext>
              </a:extLst>
            </p:cNvPr>
            <p:cNvSpPr/>
            <p:nvPr/>
          </p:nvSpPr>
          <p:spPr>
            <a:xfrm>
              <a:off x="169029" y="1367714"/>
              <a:ext cx="2712040" cy="25235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pt-BR" sz="1222" b="1"/>
                <a:t>Maryam Al Bahri</a:t>
              </a:r>
              <a:endParaRPr lang="en-US" sz="1222" b="1"/>
            </a:p>
          </p:txBody>
        </p:sp>
      </p:grpSp>
      <p:grpSp>
        <p:nvGrpSpPr>
          <p:cNvPr id="393" name="Group 392">
            <a:extLst>
              <a:ext uri="{FF2B5EF4-FFF2-40B4-BE49-F238E27FC236}">
                <a16:creationId xmlns:a16="http://schemas.microsoft.com/office/drawing/2014/main" id="{B8D3427F-F685-4F6F-AAFC-5B0EAD38E18B}"/>
              </a:ext>
            </a:extLst>
          </p:cNvPr>
          <p:cNvGrpSpPr/>
          <p:nvPr/>
        </p:nvGrpSpPr>
        <p:grpSpPr>
          <a:xfrm>
            <a:off x="3945521" y="1144821"/>
            <a:ext cx="3182519" cy="709655"/>
            <a:chOff x="139137" y="1030340"/>
            <a:chExt cx="2864267" cy="638690"/>
          </a:xfrm>
        </p:grpSpPr>
        <p:sp>
          <p:nvSpPr>
            <p:cNvPr id="394" name="Round Same Side Corner Rectangle 22">
              <a:extLst>
                <a:ext uri="{FF2B5EF4-FFF2-40B4-BE49-F238E27FC236}">
                  <a16:creationId xmlns:a16="http://schemas.microsoft.com/office/drawing/2014/main" id="{54AA7BCD-3F0B-48E2-A6C2-28238D50BAF6}"/>
                </a:ext>
              </a:extLst>
            </p:cNvPr>
            <p:cNvSpPr/>
            <p:nvPr/>
          </p:nvSpPr>
          <p:spPr>
            <a:xfrm>
              <a:off x="139137" y="1030340"/>
              <a:ext cx="2864267" cy="298244"/>
            </a:xfrm>
            <a:prstGeom prst="round2SameRect">
              <a:avLst/>
            </a:prstGeom>
            <a:gradFill flip="none" rotWithShape="1">
              <a:gsLst>
                <a:gs pos="0">
                  <a:schemeClr val="tx2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8900000" scaled="1"/>
              <a:tileRect/>
            </a:gradFill>
          </p:spPr>
          <p:txBody>
            <a:bodyPr wrap="square" lIns="121920" tIns="0" bIns="60960" anchor="ctr">
              <a:noAutofit/>
            </a:bodyPr>
            <a:lstStyle/>
            <a:p>
              <a:pPr algn="ctr" defTabSz="1058286"/>
              <a:r>
                <a:rPr lang="en-US" sz="1400" b="1">
                  <a:solidFill>
                    <a:prstClr val="white"/>
                  </a:solidFill>
                  <a:latin typeface="Arial"/>
                  <a:cs typeface="DIN Next LT Arabic"/>
                </a:rPr>
                <a:t>Sponsor</a:t>
              </a:r>
            </a:p>
          </p:txBody>
        </p:sp>
        <p:sp>
          <p:nvSpPr>
            <p:cNvPr id="395" name="Rectangle 394">
              <a:extLst>
                <a:ext uri="{FF2B5EF4-FFF2-40B4-BE49-F238E27FC236}">
                  <a16:creationId xmlns:a16="http://schemas.microsoft.com/office/drawing/2014/main" id="{4060BCD0-1A60-4A53-8D45-148EB7FFF52D}"/>
                </a:ext>
              </a:extLst>
            </p:cNvPr>
            <p:cNvSpPr/>
            <p:nvPr/>
          </p:nvSpPr>
          <p:spPr>
            <a:xfrm>
              <a:off x="139137" y="1306150"/>
              <a:ext cx="2864267" cy="3628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algn="ctr"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96" name="Rectangle 395">
              <a:extLst>
                <a:ext uri="{FF2B5EF4-FFF2-40B4-BE49-F238E27FC236}">
                  <a16:creationId xmlns:a16="http://schemas.microsoft.com/office/drawing/2014/main" id="{E83DC2C4-A45D-47D3-B1E0-3C1FF243D9B8}"/>
                </a:ext>
              </a:extLst>
            </p:cNvPr>
            <p:cNvSpPr/>
            <p:nvPr/>
          </p:nvSpPr>
          <p:spPr>
            <a:xfrm>
              <a:off x="169029" y="1367714"/>
              <a:ext cx="2712040" cy="25235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22" b="1"/>
                <a:t>Miguel Neves</a:t>
              </a:r>
            </a:p>
          </p:txBody>
        </p:sp>
      </p:grpSp>
      <p:grpSp>
        <p:nvGrpSpPr>
          <p:cNvPr id="397" name="Group 396">
            <a:extLst>
              <a:ext uri="{FF2B5EF4-FFF2-40B4-BE49-F238E27FC236}">
                <a16:creationId xmlns:a16="http://schemas.microsoft.com/office/drawing/2014/main" id="{C733F652-2C64-42E0-9D60-E5666F31750A}"/>
              </a:ext>
            </a:extLst>
          </p:cNvPr>
          <p:cNvGrpSpPr/>
          <p:nvPr/>
        </p:nvGrpSpPr>
        <p:grpSpPr>
          <a:xfrm>
            <a:off x="9968165" y="2012376"/>
            <a:ext cx="1858457" cy="215793"/>
            <a:chOff x="2611843" y="2749253"/>
            <a:chExt cx="5845533" cy="225865"/>
          </a:xfrm>
        </p:grpSpPr>
        <p:sp>
          <p:nvSpPr>
            <p:cNvPr id="398" name="Rounded Rectangle 385">
              <a:extLst>
                <a:ext uri="{FF2B5EF4-FFF2-40B4-BE49-F238E27FC236}">
                  <a16:creationId xmlns:a16="http://schemas.microsoft.com/office/drawing/2014/main" id="{C441C946-799C-4E56-AC65-8B9DBF1F1832}"/>
                </a:ext>
              </a:extLst>
            </p:cNvPr>
            <p:cNvSpPr/>
            <p:nvPr/>
          </p:nvSpPr>
          <p:spPr>
            <a:xfrm>
              <a:off x="2611843" y="2749253"/>
              <a:ext cx="5845533" cy="225865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 w="10172">
              <a:noFill/>
            </a:ln>
          </p:spPr>
          <p:txBody>
            <a:bodyPr wrap="square" lIns="121920" tIns="121920" rIns="121920" bIns="121920" rtlCol="0" anchor="ctr"/>
            <a:lstStyle/>
            <a:p>
              <a:pPr defTabSz="1219176">
                <a:lnSpc>
                  <a:spcPts val="1467"/>
                </a:lnSpc>
              </a:pPr>
              <a:endParaRPr lang="en-US" sz="1333">
                <a:solidFill>
                  <a:srgbClr val="000000"/>
                </a:solidFill>
                <a:latin typeface="Arial"/>
                <a:ea typeface="Univers for KPMG Light" charset="0"/>
                <a:cs typeface="Univers for KPMG Light" charset="0"/>
              </a:endParaRPr>
            </a:p>
          </p:txBody>
        </p:sp>
        <p:sp>
          <p:nvSpPr>
            <p:cNvPr id="399" name="Rounded Rectangle 386">
              <a:extLst>
                <a:ext uri="{FF2B5EF4-FFF2-40B4-BE49-F238E27FC236}">
                  <a16:creationId xmlns:a16="http://schemas.microsoft.com/office/drawing/2014/main" id="{BCEC1C92-FB1E-4F9B-A257-B7DC4A28EC13}"/>
                </a:ext>
              </a:extLst>
            </p:cNvPr>
            <p:cNvSpPr/>
            <p:nvPr/>
          </p:nvSpPr>
          <p:spPr>
            <a:xfrm>
              <a:off x="2611843" y="2749253"/>
              <a:ext cx="794910" cy="15781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tx2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8900000" scaled="1"/>
              <a:tileRect/>
            </a:gradFill>
          </p:spPr>
          <p:txBody>
            <a:bodyPr wrap="square" lIns="121920" tIns="0" bIns="60960" anchor="ctr">
              <a:noAutofit/>
            </a:bodyPr>
            <a:lstStyle/>
            <a:p>
              <a:pPr algn="ctr" defTabSz="1058286"/>
              <a:endParaRPr lang="en-US" sz="1400" b="1">
                <a:solidFill>
                  <a:prstClr val="white"/>
                </a:solidFill>
                <a:latin typeface="Arial"/>
                <a:cs typeface="DIN Next LT Arabic"/>
              </a:endParaRPr>
            </a:p>
          </p:txBody>
        </p:sp>
      </p:grp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7D55C1C-3F64-4129-B4C8-A12260C96ED9}"/>
              </a:ext>
            </a:extLst>
          </p:cNvPr>
          <p:cNvCxnSpPr/>
          <p:nvPr/>
        </p:nvCxnSpPr>
        <p:spPr>
          <a:xfrm>
            <a:off x="10399222" y="1956377"/>
            <a:ext cx="0" cy="316907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0" name="Rectangle 399">
            <a:extLst>
              <a:ext uri="{FF2B5EF4-FFF2-40B4-BE49-F238E27FC236}">
                <a16:creationId xmlns:a16="http://schemas.microsoft.com/office/drawing/2014/main" id="{223DE6C2-F6A2-4F77-9F17-16658C151A76}"/>
              </a:ext>
            </a:extLst>
          </p:cNvPr>
          <p:cNvSpPr/>
          <p:nvPr/>
        </p:nvSpPr>
        <p:spPr>
          <a:xfrm>
            <a:off x="9991657" y="1721242"/>
            <a:ext cx="809838" cy="2120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27"/>
            <a:r>
              <a:rPr lang="en-US" sz="778" i="1">
                <a:solidFill>
                  <a:prstClr val="white">
                    <a:lumMod val="50000"/>
                  </a:prstClr>
                </a:solidFill>
                <a:latin typeface="Arial"/>
                <a:cs typeface="Arial" panose="020B0604020202020204" pitchFamily="34" charset="0"/>
              </a:rPr>
              <a:t>Planned: 10%</a:t>
            </a:r>
          </a:p>
        </p:txBody>
      </p:sp>
      <p:sp>
        <p:nvSpPr>
          <p:cNvPr id="404" name="Rectangle 403">
            <a:extLst>
              <a:ext uri="{FF2B5EF4-FFF2-40B4-BE49-F238E27FC236}">
                <a16:creationId xmlns:a16="http://schemas.microsoft.com/office/drawing/2014/main" id="{2ADF1972-6919-42F3-88A4-E64A07BFF412}"/>
              </a:ext>
            </a:extLst>
          </p:cNvPr>
          <p:cNvSpPr/>
          <p:nvPr/>
        </p:nvSpPr>
        <p:spPr>
          <a:xfrm>
            <a:off x="9965608" y="2012823"/>
            <a:ext cx="274509" cy="3317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27"/>
            <a:r>
              <a:rPr lang="en-US" sz="778" b="1" i="1">
                <a:solidFill>
                  <a:schemeClr val="bg1"/>
                </a:solidFill>
                <a:latin typeface="Arial"/>
                <a:cs typeface="Arial" panose="020B0604020202020204" pitchFamily="34" charset="0"/>
              </a:rPr>
              <a:t>5%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75E5899-6A04-49E8-9A1E-069A4424B858}"/>
              </a:ext>
            </a:extLst>
          </p:cNvPr>
          <p:cNvGrpSpPr/>
          <p:nvPr/>
        </p:nvGrpSpPr>
        <p:grpSpPr>
          <a:xfrm>
            <a:off x="107603" y="2034817"/>
            <a:ext cx="7014957" cy="2070160"/>
            <a:chOff x="638591" y="1470488"/>
            <a:chExt cx="6313461" cy="1863144"/>
          </a:xfrm>
        </p:grpSpPr>
        <p:graphicFrame>
          <p:nvGraphicFramePr>
            <p:cNvPr id="407" name="Chart 406">
              <a:extLst>
                <a:ext uri="{FF2B5EF4-FFF2-40B4-BE49-F238E27FC236}">
                  <a16:creationId xmlns:a16="http://schemas.microsoft.com/office/drawing/2014/main" id="{2DC1ED9C-6857-4C83-B158-AA08BB5CCA5F}"/>
                </a:ext>
              </a:extLst>
            </p:cNvPr>
            <p:cNvGraphicFramePr/>
            <p:nvPr/>
          </p:nvGraphicFramePr>
          <p:xfrm>
            <a:off x="4160327" y="1470488"/>
            <a:ext cx="2791725" cy="178171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cxnSp>
          <p:nvCxnSpPr>
            <p:cNvPr id="411" name="Straight Connector 410">
              <a:extLst>
                <a:ext uri="{FF2B5EF4-FFF2-40B4-BE49-F238E27FC236}">
                  <a16:creationId xmlns:a16="http://schemas.microsoft.com/office/drawing/2014/main" id="{89A117CA-CFF6-412E-AE1E-90E1352BAE6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527496" y="1478297"/>
              <a:ext cx="2" cy="1828381"/>
            </a:xfrm>
            <a:prstGeom prst="line">
              <a:avLst/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aphicFrame>
          <p:nvGraphicFramePr>
            <p:cNvPr id="414" name="Chart 413">
              <a:extLst>
                <a:ext uri="{FF2B5EF4-FFF2-40B4-BE49-F238E27FC236}">
                  <a16:creationId xmlns:a16="http://schemas.microsoft.com/office/drawing/2014/main" id="{F77E409F-B826-410B-9FD0-844EEE807211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69422710"/>
                </p:ext>
              </p:extLst>
            </p:nvPr>
          </p:nvGraphicFramePr>
          <p:xfrm>
            <a:off x="638591" y="1477877"/>
            <a:ext cx="3789628" cy="185575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</p:grpSp>
      <p:pic>
        <p:nvPicPr>
          <p:cNvPr id="1026" name="Picture 2">
            <a:extLst>
              <a:ext uri="{FF2B5EF4-FFF2-40B4-BE49-F238E27FC236}">
                <a16:creationId xmlns:a16="http://schemas.microsoft.com/office/drawing/2014/main" id="{CF9906FA-39A5-4178-980B-4F811C7E8A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8504" y="47601"/>
            <a:ext cx="1771924" cy="9830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4" name="TextBox 1">
            <a:extLst>
              <a:ext uri="{FF2B5EF4-FFF2-40B4-BE49-F238E27FC236}">
                <a16:creationId xmlns:a16="http://schemas.microsoft.com/office/drawing/2014/main" id="{F42667CD-9154-447A-A9A1-DDEE44B907C3}"/>
              </a:ext>
            </a:extLst>
          </p:cNvPr>
          <p:cNvSpPr txBox="1"/>
          <p:nvPr/>
        </p:nvSpPr>
        <p:spPr>
          <a:xfrm>
            <a:off x="5381100" y="2969226"/>
            <a:ext cx="1780642" cy="1555561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 sz="1500">
                <a:solidFill>
                  <a:schemeClr val="tx2"/>
                </a:solidFill>
              </a:rPr>
              <a:t>N/A</a:t>
            </a:r>
          </a:p>
        </p:txBody>
      </p:sp>
    </p:spTree>
    <p:extLst>
      <p:ext uri="{BB962C8B-B14F-4D97-AF65-F5344CB8AC3E}">
        <p14:creationId xmlns:p14="http://schemas.microsoft.com/office/powerpoint/2010/main" val="10186529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8" name="think-cell Slide" r:id="rId5" imgW="293" imgH="274" progId="TCLayout.ActiveDocument.1">
                  <p:embed/>
                </p:oleObj>
              </mc:Choice>
              <mc:Fallback>
                <p:oleObj name="think-cell Slide" r:id="rId5" imgW="293" imgH="274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1" name="Title 5"/>
          <p:cNvSpPr txBox="1">
            <a:spLocks/>
          </p:cNvSpPr>
          <p:nvPr/>
        </p:nvSpPr>
        <p:spPr>
          <a:xfrm>
            <a:off x="0" y="-4772"/>
            <a:ext cx="12192000" cy="1081733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61427" y="266394"/>
            <a:ext cx="8154804" cy="416216"/>
          </a:xfrm>
          <a:noFill/>
        </p:spPr>
        <p:txBody>
          <a:bodyPr anchor="t"/>
          <a:lstStyle/>
          <a:p>
            <a:pPr algn="l"/>
            <a:r>
              <a:rPr lang="en-US" sz="4889">
                <a:solidFill>
                  <a:schemeClr val="bg1"/>
                </a:solidFill>
              </a:rPr>
              <a:t>Week Planned Activities</a:t>
            </a:r>
            <a:br>
              <a:rPr lang="en-US" sz="4889">
                <a:solidFill>
                  <a:schemeClr val="bg1"/>
                </a:solidFill>
              </a:rPr>
            </a:br>
            <a:endParaRPr lang="en-US" sz="4889">
              <a:solidFill>
                <a:schemeClr val="bg1"/>
              </a:solidFill>
            </a:endParaRPr>
          </a:p>
        </p:txBody>
      </p:sp>
      <p:sp>
        <p:nvSpPr>
          <p:cNvPr id="235" name="Title 5"/>
          <p:cNvSpPr txBox="1">
            <a:spLocks/>
          </p:cNvSpPr>
          <p:nvPr/>
        </p:nvSpPr>
        <p:spPr>
          <a:xfrm>
            <a:off x="3" y="-4772"/>
            <a:ext cx="60959" cy="1081733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graphicFrame>
        <p:nvGraphicFramePr>
          <p:cNvPr id="126" name="Table 17">
            <a:extLst>
              <a:ext uri="{FF2B5EF4-FFF2-40B4-BE49-F238E27FC236}">
                <a16:creationId xmlns:a16="http://schemas.microsoft.com/office/drawing/2014/main" id="{C61DB3E8-4094-4EC0-8DD8-41D5437FD1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1341952"/>
              </p:ext>
            </p:extLst>
          </p:nvPr>
        </p:nvGraphicFramePr>
        <p:xfrm>
          <a:off x="313762" y="1924079"/>
          <a:ext cx="4997101" cy="14868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33211">
                  <a:extLst>
                    <a:ext uri="{9D8B030D-6E8A-4147-A177-3AD203B41FA5}">
                      <a16:colId xmlns:a16="http://schemas.microsoft.com/office/drawing/2014/main" val="296437597"/>
                    </a:ext>
                  </a:extLst>
                </a:gridCol>
                <a:gridCol w="1563890">
                  <a:extLst>
                    <a:ext uri="{9D8B030D-6E8A-4147-A177-3AD203B41FA5}">
                      <a16:colId xmlns:a16="http://schemas.microsoft.com/office/drawing/2014/main" val="499901164"/>
                    </a:ext>
                  </a:extLst>
                </a:gridCol>
              </a:tblGrid>
              <a:tr h="486867">
                <a:tc>
                  <a:txBody>
                    <a:bodyPr/>
                    <a:lstStyle/>
                    <a:p>
                      <a:r>
                        <a:rPr lang="en-US"/>
                        <a:t>Action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Owner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3193029576"/>
                  </a:ext>
                </a:extLst>
              </a:tr>
              <a:tr h="1000010">
                <a:tc>
                  <a:txBody>
                    <a:bodyPr/>
                    <a:lstStyle/>
                    <a:p>
                      <a:r>
                        <a:rPr lang="en-US" sz="1800"/>
                        <a:t>Waiting for client resourcing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Maryam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0684926"/>
                  </a:ext>
                </a:extLst>
              </a:tr>
            </a:tbl>
          </a:graphicData>
        </a:graphic>
      </p:graphicFrame>
      <p:graphicFrame>
        <p:nvGraphicFramePr>
          <p:cNvPr id="127" name="Table 17">
            <a:extLst>
              <a:ext uri="{FF2B5EF4-FFF2-40B4-BE49-F238E27FC236}">
                <a16:creationId xmlns:a16="http://schemas.microsoft.com/office/drawing/2014/main" id="{6BB49F05-B6D6-4A98-B667-DDCA133051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9354400"/>
              </p:ext>
            </p:extLst>
          </p:nvPr>
        </p:nvGraphicFramePr>
        <p:xfrm>
          <a:off x="6218549" y="1924079"/>
          <a:ext cx="5235018" cy="14868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46640">
                  <a:extLst>
                    <a:ext uri="{9D8B030D-6E8A-4147-A177-3AD203B41FA5}">
                      <a16:colId xmlns:a16="http://schemas.microsoft.com/office/drawing/2014/main" val="296437597"/>
                    </a:ext>
                  </a:extLst>
                </a:gridCol>
                <a:gridCol w="1288378">
                  <a:extLst>
                    <a:ext uri="{9D8B030D-6E8A-4147-A177-3AD203B41FA5}">
                      <a16:colId xmlns:a16="http://schemas.microsoft.com/office/drawing/2014/main" val="499901164"/>
                    </a:ext>
                  </a:extLst>
                </a:gridCol>
              </a:tblGrid>
              <a:tr h="609931">
                <a:tc>
                  <a:txBody>
                    <a:bodyPr/>
                    <a:lstStyle/>
                    <a:p>
                      <a:r>
                        <a:rPr lang="en-US"/>
                        <a:t>Action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Owner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3193029576"/>
                  </a:ext>
                </a:extLst>
              </a:tr>
              <a:tr h="876946">
                <a:tc>
                  <a:txBody>
                    <a:bodyPr/>
                    <a:lstStyle/>
                    <a:p>
                      <a:r>
                        <a:rPr lang="en-US" sz="1800"/>
                        <a:t>Waiting for client resourcing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Maryam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0684926"/>
                  </a:ext>
                </a:extLst>
              </a:tr>
            </a:tbl>
          </a:graphicData>
        </a:graphic>
      </p:graphicFrame>
      <p:sp>
        <p:nvSpPr>
          <p:cNvPr id="128" name="TextBox 127">
            <a:extLst>
              <a:ext uri="{FF2B5EF4-FFF2-40B4-BE49-F238E27FC236}">
                <a16:creationId xmlns:a16="http://schemas.microsoft.com/office/drawing/2014/main" id="{EEF0C109-852E-4562-9C9E-36891A97C81F}"/>
              </a:ext>
            </a:extLst>
          </p:cNvPr>
          <p:cNvSpPr txBox="1"/>
          <p:nvPr/>
        </p:nvSpPr>
        <p:spPr>
          <a:xfrm>
            <a:off x="5692618" y="1289219"/>
            <a:ext cx="468983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2"/>
            <a:r>
              <a:rPr lang="en-US" b="1"/>
              <a:t>Next Week Activities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1588BF1D-E64C-495F-A40A-34195FDCFF69}"/>
              </a:ext>
            </a:extLst>
          </p:cNvPr>
          <p:cNvSpPr txBox="1"/>
          <p:nvPr/>
        </p:nvSpPr>
        <p:spPr>
          <a:xfrm>
            <a:off x="161427" y="1253098"/>
            <a:ext cx="468983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2"/>
            <a:r>
              <a:rPr lang="en-US" b="1"/>
              <a:t>Key Planned Activiti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D55E246-3967-490A-8950-4BC4222F8444}"/>
              </a:ext>
            </a:extLst>
          </p:cNvPr>
          <p:cNvGrpSpPr/>
          <p:nvPr/>
        </p:nvGrpSpPr>
        <p:grpSpPr>
          <a:xfrm>
            <a:off x="245905" y="1701402"/>
            <a:ext cx="11537600" cy="1681942"/>
            <a:chOff x="820940" y="1345294"/>
            <a:chExt cx="9714968" cy="1681942"/>
          </a:xfrm>
          <a:solidFill>
            <a:schemeClr val="accent1"/>
          </a:solidFill>
        </p:grpSpPr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15F18D54-B8EB-47C0-8A74-23B914C9439C}"/>
                </a:ext>
              </a:extLst>
            </p:cNvPr>
            <p:cNvCxnSpPr/>
            <p:nvPr/>
          </p:nvCxnSpPr>
          <p:spPr>
            <a:xfrm>
              <a:off x="820940" y="1348740"/>
              <a:ext cx="4389120" cy="0"/>
            </a:xfrm>
            <a:prstGeom prst="line">
              <a:avLst/>
            </a:prstGeom>
            <a:grpFill/>
            <a:ln w="19050">
              <a:solidFill>
                <a:schemeClr val="accent1"/>
              </a:solidFill>
              <a:round/>
              <a:headEnd/>
              <a:tailEnd/>
            </a:ln>
          </p:spPr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A1AA525-5A93-41C4-B85F-348B4C9410EF}"/>
                </a:ext>
              </a:extLst>
            </p:cNvPr>
            <p:cNvCxnSpPr/>
            <p:nvPr/>
          </p:nvCxnSpPr>
          <p:spPr>
            <a:xfrm>
              <a:off x="5488420" y="1345294"/>
              <a:ext cx="5047488" cy="0"/>
            </a:xfrm>
            <a:prstGeom prst="line">
              <a:avLst/>
            </a:prstGeom>
            <a:grpFill/>
            <a:ln w="19050">
              <a:solidFill>
                <a:schemeClr val="accent1"/>
              </a:solidFill>
              <a:round/>
              <a:headEnd/>
              <a:tailEnd/>
            </a:ln>
          </p:spPr>
        </p:cxnSp>
        <p:grpSp>
          <p:nvGrpSpPr>
            <p:cNvPr id="133" name="Group 132">
              <a:extLst>
                <a:ext uri="{FF2B5EF4-FFF2-40B4-BE49-F238E27FC236}">
                  <a16:creationId xmlns:a16="http://schemas.microsoft.com/office/drawing/2014/main" id="{A607214F-07F5-4EFE-B00E-52D7837A97F1}"/>
                </a:ext>
              </a:extLst>
            </p:cNvPr>
            <p:cNvGrpSpPr/>
            <p:nvPr/>
          </p:nvGrpSpPr>
          <p:grpSpPr>
            <a:xfrm>
              <a:off x="5357998" y="1407493"/>
              <a:ext cx="219842" cy="1619743"/>
              <a:chOff x="7792398" y="2498501"/>
              <a:chExt cx="148875" cy="841963"/>
            </a:xfrm>
            <a:grpFill/>
          </p:grpSpPr>
          <p:sp>
            <p:nvSpPr>
              <p:cNvPr id="134" name="Rechteck 10">
                <a:extLst>
                  <a:ext uri="{FF2B5EF4-FFF2-40B4-BE49-F238E27FC236}">
                    <a16:creationId xmlns:a16="http://schemas.microsoft.com/office/drawing/2014/main" id="{C37C57D0-5A6A-4480-8822-C02E391FCA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 flipV="1">
                <a:off x="7388082" y="2902817"/>
                <a:ext cx="841963" cy="33332"/>
              </a:xfrm>
              <a:custGeom>
                <a:avLst/>
                <a:gdLst>
                  <a:gd name="connsiteX0" fmla="*/ 0 w 8928000"/>
                  <a:gd name="connsiteY0" fmla="*/ 0 h 216000"/>
                  <a:gd name="connsiteX1" fmla="*/ 8928000 w 8928000"/>
                  <a:gd name="connsiteY1" fmla="*/ 0 h 216000"/>
                  <a:gd name="connsiteX2" fmla="*/ 8928000 w 8928000"/>
                  <a:gd name="connsiteY2" fmla="*/ 216000 h 216000"/>
                  <a:gd name="connsiteX3" fmla="*/ 0 w 8928000"/>
                  <a:gd name="connsiteY3" fmla="*/ 216000 h 216000"/>
                  <a:gd name="connsiteX4" fmla="*/ 0 w 8928000"/>
                  <a:gd name="connsiteY4" fmla="*/ 0 h 216000"/>
                  <a:gd name="connsiteX0" fmla="*/ 8928000 w 9019440"/>
                  <a:gd name="connsiteY0" fmla="*/ 0 h 216000"/>
                  <a:gd name="connsiteX1" fmla="*/ 8928000 w 9019440"/>
                  <a:gd name="connsiteY1" fmla="*/ 216000 h 216000"/>
                  <a:gd name="connsiteX2" fmla="*/ 0 w 9019440"/>
                  <a:gd name="connsiteY2" fmla="*/ 216000 h 216000"/>
                  <a:gd name="connsiteX3" fmla="*/ 0 w 9019440"/>
                  <a:gd name="connsiteY3" fmla="*/ 0 h 216000"/>
                  <a:gd name="connsiteX4" fmla="*/ 9019440 w 9019440"/>
                  <a:gd name="connsiteY4" fmla="*/ 91440 h 216000"/>
                  <a:gd name="connsiteX0" fmla="*/ 8928000 w 8928000"/>
                  <a:gd name="connsiteY0" fmla="*/ 0 h 216000"/>
                  <a:gd name="connsiteX1" fmla="*/ 8928000 w 8928000"/>
                  <a:gd name="connsiteY1" fmla="*/ 216000 h 216000"/>
                  <a:gd name="connsiteX2" fmla="*/ 0 w 8928000"/>
                  <a:gd name="connsiteY2" fmla="*/ 216000 h 216000"/>
                  <a:gd name="connsiteX3" fmla="*/ 0 w 8928000"/>
                  <a:gd name="connsiteY3" fmla="*/ 0 h 216000"/>
                  <a:gd name="connsiteX0" fmla="*/ 8928000 w 8928000"/>
                  <a:gd name="connsiteY0" fmla="*/ 216000 h 216000"/>
                  <a:gd name="connsiteX1" fmla="*/ 0 w 8928000"/>
                  <a:gd name="connsiteY1" fmla="*/ 216000 h 216000"/>
                  <a:gd name="connsiteX2" fmla="*/ 0 w 8928000"/>
                  <a:gd name="connsiteY2" fmla="*/ 0 h 216000"/>
                  <a:gd name="connsiteX0" fmla="*/ 8928000 w 8928000"/>
                  <a:gd name="connsiteY0" fmla="*/ 0 h 0"/>
                  <a:gd name="connsiteX1" fmla="*/ 0 w 8928000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928000">
                    <a:moveTo>
                      <a:pt x="8928000" y="0"/>
                    </a:moveTo>
                    <a:lnTo>
                      <a:pt x="0" y="0"/>
                    </a:lnTo>
                  </a:path>
                </a:pathLst>
              </a:custGeom>
              <a:grpFill/>
              <a:ln w="1905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lIns="0" tIns="0" rIns="0" bIns="34368" anchor="b" anchorCtr="0"/>
              <a:lstStyle/>
              <a:p>
                <a:pPr algn="ctr" defTabSz="872947">
                  <a:defRPr/>
                </a:pPr>
                <a:endParaRPr lang="en-US" sz="954" b="1" kern="0">
                  <a:solidFill>
                    <a:srgbClr val="00338D"/>
                  </a:solidFill>
                </a:endParaRPr>
              </a:p>
            </p:txBody>
          </p:sp>
          <p:sp>
            <p:nvSpPr>
              <p:cNvPr id="135" name="Gleichschenkliges Dreieck 18">
                <a:extLst>
                  <a:ext uri="{FF2B5EF4-FFF2-40B4-BE49-F238E27FC236}">
                    <a16:creationId xmlns:a16="http://schemas.microsoft.com/office/drawing/2014/main" id="{0400274D-634D-4EE3-9E59-41B9B9D02ADC}"/>
                  </a:ext>
                </a:extLst>
              </p:cNvPr>
              <p:cNvSpPr/>
              <p:nvPr/>
            </p:nvSpPr>
            <p:spPr>
              <a:xfrm rot="5400000">
                <a:off x="7584763" y="2877968"/>
                <a:ext cx="567530" cy="145491"/>
              </a:xfrm>
              <a:prstGeom prst="triangle">
                <a:avLst/>
              </a:prstGeom>
              <a:grpFill/>
              <a:ln w="12700" cap="flat" cmpd="sng" algn="ctr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1552" tIns="51552" rIns="51552" bIns="51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06221" indent="-206221" algn="ctr" defTabSz="872947">
                  <a:spcAft>
                    <a:spcPts val="572"/>
                  </a:spcAft>
                  <a:buFont typeface="Arial" panose="020B0604020202020204" pitchFamily="34" charset="0"/>
                  <a:buChar char="—"/>
                  <a:defRPr/>
                </a:pPr>
                <a:endParaRPr lang="en-US" sz="860" kern="0">
                  <a:solidFill>
                    <a:prstClr val="white"/>
                  </a:solidFill>
                </a:endParaRPr>
              </a:p>
            </p:txBody>
          </p:sp>
        </p:grpSp>
      </p:grpSp>
      <p:pic>
        <p:nvPicPr>
          <p:cNvPr id="17" name="Picture 2">
            <a:extLst>
              <a:ext uri="{FF2B5EF4-FFF2-40B4-BE49-F238E27FC236}">
                <a16:creationId xmlns:a16="http://schemas.microsoft.com/office/drawing/2014/main" id="{13D12AAF-0707-4249-927D-8308B38552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8504" y="47601"/>
            <a:ext cx="1771924" cy="9830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766713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6" name="think-cell Slide" r:id="rId5" imgW="293" imgH="274" progId="TCLayout.ActiveDocument.1">
                  <p:embed/>
                </p:oleObj>
              </mc:Choice>
              <mc:Fallback>
                <p:oleObj name="think-cell Slide" r:id="rId5" imgW="293" imgH="274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1" name="Title 5"/>
          <p:cNvSpPr txBox="1">
            <a:spLocks/>
          </p:cNvSpPr>
          <p:nvPr/>
        </p:nvSpPr>
        <p:spPr>
          <a:xfrm>
            <a:off x="0" y="-4772"/>
            <a:ext cx="12192000" cy="1081733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61427" y="266394"/>
            <a:ext cx="8154804" cy="416216"/>
          </a:xfrm>
          <a:noFill/>
        </p:spPr>
        <p:txBody>
          <a:bodyPr anchor="t"/>
          <a:lstStyle/>
          <a:p>
            <a:pPr algn="l"/>
            <a:r>
              <a:rPr lang="en-US" sz="4889">
                <a:solidFill>
                  <a:schemeClr val="bg1"/>
                </a:solidFill>
              </a:rPr>
              <a:t>Key Accomplishments</a:t>
            </a:r>
            <a:br>
              <a:rPr lang="en-US" sz="4889">
                <a:solidFill>
                  <a:schemeClr val="bg1"/>
                </a:solidFill>
              </a:rPr>
            </a:br>
            <a:endParaRPr lang="en-US" sz="4889">
              <a:solidFill>
                <a:schemeClr val="bg1"/>
              </a:solidFill>
            </a:endParaRPr>
          </a:p>
        </p:txBody>
      </p:sp>
      <p:sp>
        <p:nvSpPr>
          <p:cNvPr id="235" name="Title 5"/>
          <p:cNvSpPr txBox="1">
            <a:spLocks/>
          </p:cNvSpPr>
          <p:nvPr/>
        </p:nvSpPr>
        <p:spPr>
          <a:xfrm>
            <a:off x="3" y="-4772"/>
            <a:ext cx="60959" cy="1081733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graphicFrame>
        <p:nvGraphicFramePr>
          <p:cNvPr id="17" name="Table 17">
            <a:extLst>
              <a:ext uri="{FF2B5EF4-FFF2-40B4-BE49-F238E27FC236}">
                <a16:creationId xmlns:a16="http://schemas.microsoft.com/office/drawing/2014/main" id="{99161DF2-A3DF-4C2F-8B40-ABC6AA2DC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4624957"/>
              </p:ext>
            </p:extLst>
          </p:nvPr>
        </p:nvGraphicFramePr>
        <p:xfrm>
          <a:off x="203200" y="1180459"/>
          <a:ext cx="11493500" cy="2834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1700">
                  <a:extLst>
                    <a:ext uri="{9D8B030D-6E8A-4147-A177-3AD203B41FA5}">
                      <a16:colId xmlns:a16="http://schemas.microsoft.com/office/drawing/2014/main" val="296437597"/>
                    </a:ext>
                  </a:extLst>
                </a:gridCol>
                <a:gridCol w="10591800">
                  <a:extLst>
                    <a:ext uri="{9D8B030D-6E8A-4147-A177-3AD203B41FA5}">
                      <a16:colId xmlns:a16="http://schemas.microsoft.com/office/drawing/2014/main" val="49990116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#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AU"/>
                        <a:t>Accomplishment Description </a:t>
                      </a:r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3193029576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algn="ctr"/>
                      <a:r>
                        <a:rPr lang="en-US" sz="1800" b="1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/>
                        <a:t>Finalized the data maturity assessment</a:t>
                      </a:r>
                      <a:endParaRPr lang="en-US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0684926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algn="ctr"/>
                      <a:r>
                        <a:rPr lang="en-US" sz="1800" b="1"/>
                        <a:t>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AU"/>
                        <a:t>Created a staged target route</a:t>
                      </a:r>
                      <a:endParaRPr lang="en-US" sz="180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0293556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algn="ctr"/>
                      <a:r>
                        <a:rPr lang="en-US" sz="1800" b="1"/>
                        <a:t>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AU"/>
                        <a:t>Finalized staged and target states to expedite value realiza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6333487"/>
                  </a:ext>
                </a:extLst>
              </a:tr>
            </a:tbl>
          </a:graphicData>
        </a:graphic>
      </p:graphicFrame>
      <p:pic>
        <p:nvPicPr>
          <p:cNvPr id="8" name="Picture 2">
            <a:extLst>
              <a:ext uri="{FF2B5EF4-FFF2-40B4-BE49-F238E27FC236}">
                <a16:creationId xmlns:a16="http://schemas.microsoft.com/office/drawing/2014/main" id="{0B9DB7CE-8977-4454-9D27-BE754E0348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8504" y="47601"/>
            <a:ext cx="1771924" cy="9830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B19701C4-2287-43B3-9E03-D8BC426638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9510814"/>
              </p:ext>
            </p:extLst>
          </p:nvPr>
        </p:nvGraphicFramePr>
        <p:xfrm>
          <a:off x="205856" y="3995410"/>
          <a:ext cx="11493500" cy="8317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1700">
                  <a:extLst>
                    <a:ext uri="{9D8B030D-6E8A-4147-A177-3AD203B41FA5}">
                      <a16:colId xmlns:a16="http://schemas.microsoft.com/office/drawing/2014/main" val="695178879"/>
                    </a:ext>
                  </a:extLst>
                </a:gridCol>
                <a:gridCol w="10591800">
                  <a:extLst>
                    <a:ext uri="{9D8B030D-6E8A-4147-A177-3AD203B41FA5}">
                      <a16:colId xmlns:a16="http://schemas.microsoft.com/office/drawing/2014/main" val="3098294401"/>
                    </a:ext>
                  </a:extLst>
                </a:gridCol>
              </a:tblGrid>
              <a:tr h="831771"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AU" b="0">
                          <a:solidFill>
                            <a:schemeClr val="tx1"/>
                          </a:solidFill>
                        </a:rPr>
                        <a:t>Created a roadmap that will ensure meeting the target stages (Stage 1 is a priority)</a:t>
                      </a:r>
                      <a:endParaRPr lang="en-US" sz="1800" b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653752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727263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4" name="think-cell Slide" r:id="rId5" imgW="293" imgH="274" progId="TCLayout.ActiveDocument.1">
                  <p:embed/>
                </p:oleObj>
              </mc:Choice>
              <mc:Fallback>
                <p:oleObj name="think-cell Slide" r:id="rId5" imgW="293" imgH="274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1" name="Title 5"/>
          <p:cNvSpPr txBox="1">
            <a:spLocks/>
          </p:cNvSpPr>
          <p:nvPr/>
        </p:nvSpPr>
        <p:spPr>
          <a:xfrm>
            <a:off x="0" y="-4772"/>
            <a:ext cx="12192000" cy="1081733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61427" y="266394"/>
            <a:ext cx="8154804" cy="416216"/>
          </a:xfrm>
          <a:noFill/>
        </p:spPr>
        <p:txBody>
          <a:bodyPr anchor="t"/>
          <a:lstStyle/>
          <a:p>
            <a:pPr algn="l"/>
            <a:r>
              <a:rPr lang="en-US" sz="4889" dirty="0">
                <a:solidFill>
                  <a:schemeClr val="bg1"/>
                </a:solidFill>
              </a:rPr>
              <a:t>Risks or Issues</a:t>
            </a:r>
          </a:p>
        </p:txBody>
      </p:sp>
      <p:sp>
        <p:nvSpPr>
          <p:cNvPr id="235" name="Title 5"/>
          <p:cNvSpPr txBox="1">
            <a:spLocks/>
          </p:cNvSpPr>
          <p:nvPr/>
        </p:nvSpPr>
        <p:spPr>
          <a:xfrm>
            <a:off x="3" y="-4772"/>
            <a:ext cx="60959" cy="1081733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graphicFrame>
        <p:nvGraphicFramePr>
          <p:cNvPr id="8" name="Table 2">
            <a:extLst>
              <a:ext uri="{FF2B5EF4-FFF2-40B4-BE49-F238E27FC236}">
                <a16:creationId xmlns:a16="http://schemas.microsoft.com/office/drawing/2014/main" id="{2793979A-DDCD-48F1-AB14-6021A109B3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3458802"/>
              </p:ext>
            </p:extLst>
          </p:nvPr>
        </p:nvGraphicFramePr>
        <p:xfrm>
          <a:off x="161427" y="1348127"/>
          <a:ext cx="11420974" cy="11780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7549">
                  <a:extLst>
                    <a:ext uri="{9D8B030D-6E8A-4147-A177-3AD203B41FA5}">
                      <a16:colId xmlns:a16="http://schemas.microsoft.com/office/drawing/2014/main" val="1196179294"/>
                    </a:ext>
                  </a:extLst>
                </a:gridCol>
                <a:gridCol w="4453960">
                  <a:extLst>
                    <a:ext uri="{9D8B030D-6E8A-4147-A177-3AD203B41FA5}">
                      <a16:colId xmlns:a16="http://schemas.microsoft.com/office/drawing/2014/main" val="2144674027"/>
                    </a:ext>
                  </a:extLst>
                </a:gridCol>
                <a:gridCol w="1861075">
                  <a:extLst>
                    <a:ext uri="{9D8B030D-6E8A-4147-A177-3AD203B41FA5}">
                      <a16:colId xmlns:a16="http://schemas.microsoft.com/office/drawing/2014/main" val="3809724858"/>
                    </a:ext>
                  </a:extLst>
                </a:gridCol>
                <a:gridCol w="2284195">
                  <a:extLst>
                    <a:ext uri="{9D8B030D-6E8A-4147-A177-3AD203B41FA5}">
                      <a16:colId xmlns:a16="http://schemas.microsoft.com/office/drawing/2014/main" val="2590904650"/>
                    </a:ext>
                  </a:extLst>
                </a:gridCol>
                <a:gridCol w="2284195">
                  <a:extLst>
                    <a:ext uri="{9D8B030D-6E8A-4147-A177-3AD203B41FA5}">
                      <a16:colId xmlns:a16="http://schemas.microsoft.com/office/drawing/2014/main" val="1885760172"/>
                    </a:ext>
                  </a:extLst>
                </a:gridCol>
              </a:tblGrid>
              <a:tr h="537922">
                <a:tc>
                  <a:txBody>
                    <a:bodyPr/>
                    <a:lstStyle/>
                    <a:p>
                      <a:r>
                        <a:rPr lang="en-US"/>
                        <a:t>#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Risk or Issue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Priority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Plan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Owner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2666802610"/>
                  </a:ext>
                </a:extLst>
              </a:tr>
              <a:tr h="537922">
                <a:tc>
                  <a:txBody>
                    <a:bodyPr/>
                    <a:lstStyle/>
                    <a:p>
                      <a:r>
                        <a:rPr lang="en-US"/>
                        <a:t>1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Client/KPMG under-resourcing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High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Push on KPMG proposal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Maryam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0138590"/>
                  </a:ext>
                </a:extLst>
              </a:tr>
            </a:tbl>
          </a:graphicData>
        </a:graphic>
      </p:graphicFrame>
      <p:pic>
        <p:nvPicPr>
          <p:cNvPr id="9" name="Picture 2">
            <a:extLst>
              <a:ext uri="{FF2B5EF4-FFF2-40B4-BE49-F238E27FC236}">
                <a16:creationId xmlns:a16="http://schemas.microsoft.com/office/drawing/2014/main" id="{B4BD9280-A4C4-4059-8736-E86F99DED0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8504" y="47601"/>
            <a:ext cx="1771924" cy="9830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74454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2" name="think-cell Slide" r:id="rId5" imgW="293" imgH="274" progId="TCLayout.ActiveDocument.1">
                  <p:embed/>
                </p:oleObj>
              </mc:Choice>
              <mc:Fallback>
                <p:oleObj name="think-cell Slide" r:id="rId5" imgW="293" imgH="274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2" name="Rectangle 381"/>
          <p:cNvSpPr/>
          <p:nvPr/>
        </p:nvSpPr>
        <p:spPr>
          <a:xfrm>
            <a:off x="154597" y="4305118"/>
            <a:ext cx="3182519" cy="23750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defTabSz="1058286"/>
            <a:endParaRPr lang="en-US" sz="1500" err="1">
              <a:solidFill>
                <a:prstClr val="white"/>
              </a:solidFill>
              <a:latin typeface="Arial"/>
            </a:endParaRPr>
          </a:p>
        </p:txBody>
      </p:sp>
      <p:sp>
        <p:nvSpPr>
          <p:cNvPr id="431" name="Title 5"/>
          <p:cNvSpPr txBox="1">
            <a:spLocks/>
          </p:cNvSpPr>
          <p:nvPr/>
        </p:nvSpPr>
        <p:spPr>
          <a:xfrm>
            <a:off x="0" y="-4772"/>
            <a:ext cx="12192000" cy="1081733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61427" y="266394"/>
            <a:ext cx="8154804" cy="416216"/>
          </a:xfrm>
          <a:noFill/>
        </p:spPr>
        <p:txBody>
          <a:bodyPr anchor="t"/>
          <a:lstStyle/>
          <a:p>
            <a:pPr algn="l"/>
            <a:r>
              <a:rPr lang="en-US" sz="4889">
                <a:solidFill>
                  <a:schemeClr val="bg1"/>
                </a:solidFill>
              </a:rPr>
              <a:t>MHRSD Project Health</a:t>
            </a:r>
          </a:p>
        </p:txBody>
      </p:sp>
      <p:sp>
        <p:nvSpPr>
          <p:cNvPr id="235" name="Title 5"/>
          <p:cNvSpPr txBox="1">
            <a:spLocks/>
          </p:cNvSpPr>
          <p:nvPr/>
        </p:nvSpPr>
        <p:spPr>
          <a:xfrm>
            <a:off x="3" y="-4772"/>
            <a:ext cx="60959" cy="1081733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cxnSp>
        <p:nvCxnSpPr>
          <p:cNvPr id="237" name="Straight Connector 236"/>
          <p:cNvCxnSpPr>
            <a:cxnSpLocks/>
          </p:cNvCxnSpPr>
          <p:nvPr/>
        </p:nvCxnSpPr>
        <p:spPr>
          <a:xfrm>
            <a:off x="308631" y="4305118"/>
            <a:ext cx="0" cy="231920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4" name="Round Same Side Corner Rectangle 243"/>
          <p:cNvSpPr/>
          <p:nvPr/>
        </p:nvSpPr>
        <p:spPr>
          <a:xfrm>
            <a:off x="154597" y="4289365"/>
            <a:ext cx="3182519" cy="331382"/>
          </a:xfrm>
          <a:prstGeom prst="round2Same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</p:spPr>
        <p:txBody>
          <a:bodyPr wrap="square" lIns="121920" tIns="0" bIns="60960" anchor="ctr">
            <a:noAutofit/>
          </a:bodyPr>
          <a:lstStyle/>
          <a:p>
            <a:pPr defTabSz="1058286"/>
            <a:r>
              <a:rPr lang="en-US" sz="1400" b="1">
                <a:solidFill>
                  <a:prstClr val="white"/>
                </a:solidFill>
                <a:latin typeface="Arial"/>
                <a:cs typeface="DIN Next LT Arabic"/>
              </a:rPr>
              <a:t>Other Key updates &amp; notes</a:t>
            </a:r>
          </a:p>
        </p:txBody>
      </p:sp>
      <p:sp>
        <p:nvSpPr>
          <p:cNvPr id="247" name="Rectangle 246"/>
          <p:cNvSpPr/>
          <p:nvPr/>
        </p:nvSpPr>
        <p:spPr>
          <a:xfrm>
            <a:off x="340381" y="4633350"/>
            <a:ext cx="3013378" cy="10326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90498" indent="-190498">
              <a:buFont typeface="Arial" panose="020B0604020202020204" pitchFamily="34" charset="0"/>
              <a:buChar char="•"/>
            </a:pPr>
            <a:r>
              <a:rPr lang="en-US" sz="1222"/>
              <a:t>KPMG team will finalize wave 1 in august</a:t>
            </a:r>
          </a:p>
          <a:p>
            <a:pPr marL="190498" indent="-190498">
              <a:buFont typeface="Arial" panose="020B0604020202020204" pitchFamily="34" charset="0"/>
              <a:buChar char="•"/>
            </a:pPr>
            <a:r>
              <a:rPr lang="en-US" sz="1222"/>
              <a:t>Dashboard model documentation was done</a:t>
            </a:r>
          </a:p>
          <a:p>
            <a:pPr marL="190498" indent="-190498">
              <a:buFont typeface="Arial" panose="020B0604020202020204" pitchFamily="34" charset="0"/>
              <a:buChar char="•"/>
            </a:pPr>
            <a:endParaRPr lang="en-US" sz="1222"/>
          </a:p>
        </p:txBody>
      </p:sp>
      <p:grpSp>
        <p:nvGrpSpPr>
          <p:cNvPr id="383" name="Group 382"/>
          <p:cNvGrpSpPr/>
          <p:nvPr/>
        </p:nvGrpSpPr>
        <p:grpSpPr>
          <a:xfrm>
            <a:off x="172640" y="6624523"/>
            <a:ext cx="3164476" cy="104129"/>
            <a:chOff x="170119" y="2637607"/>
            <a:chExt cx="2373357" cy="130724"/>
          </a:xfrm>
        </p:grpSpPr>
        <p:sp>
          <p:nvSpPr>
            <p:cNvPr id="384" name="Right Triangle 383"/>
            <p:cNvSpPr/>
            <p:nvPr/>
          </p:nvSpPr>
          <p:spPr>
            <a:xfrm flipH="1" flipV="1">
              <a:off x="173559" y="2637607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85" name="Right Triangle 384"/>
            <p:cNvSpPr/>
            <p:nvPr/>
          </p:nvSpPr>
          <p:spPr>
            <a:xfrm flipV="1">
              <a:off x="170119" y="2637607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</p:grpSp>
      <p:sp>
        <p:nvSpPr>
          <p:cNvPr id="388" name="Rectangle 387"/>
          <p:cNvSpPr/>
          <p:nvPr/>
        </p:nvSpPr>
        <p:spPr>
          <a:xfrm>
            <a:off x="7518400" y="2655532"/>
            <a:ext cx="4579204" cy="26302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defTabSz="1058286"/>
            <a:endParaRPr lang="en-US" sz="1500" err="1">
              <a:solidFill>
                <a:prstClr val="white"/>
              </a:solidFill>
              <a:latin typeface="Arial"/>
            </a:endParaRPr>
          </a:p>
        </p:txBody>
      </p:sp>
      <p:grpSp>
        <p:nvGrpSpPr>
          <p:cNvPr id="389" name="Group 388"/>
          <p:cNvGrpSpPr/>
          <p:nvPr/>
        </p:nvGrpSpPr>
        <p:grpSpPr>
          <a:xfrm>
            <a:off x="7527930" y="6612634"/>
            <a:ext cx="4558976" cy="135134"/>
            <a:chOff x="170119" y="2402504"/>
            <a:chExt cx="2373357" cy="130725"/>
          </a:xfrm>
        </p:grpSpPr>
        <p:sp>
          <p:nvSpPr>
            <p:cNvPr id="390" name="Right Triangle 389"/>
            <p:cNvSpPr/>
            <p:nvPr/>
          </p:nvSpPr>
          <p:spPr>
            <a:xfrm flipH="1" flipV="1">
              <a:off x="173559" y="2402505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91" name="Right Triangle 390"/>
            <p:cNvSpPr/>
            <p:nvPr/>
          </p:nvSpPr>
          <p:spPr>
            <a:xfrm flipV="1">
              <a:off x="170119" y="2402504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</p:grpSp>
      <p:sp>
        <p:nvSpPr>
          <p:cNvPr id="582" name="Rectangle 581"/>
          <p:cNvSpPr/>
          <p:nvPr/>
        </p:nvSpPr>
        <p:spPr>
          <a:xfrm>
            <a:off x="7518400" y="3993261"/>
            <a:ext cx="4579204" cy="7858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</p:spPr>
        <p:txBody>
          <a:bodyPr wrap="square" lIns="121920" tIns="0" bIns="60960" anchor="ctr">
            <a:noAutofit/>
          </a:bodyPr>
          <a:lstStyle/>
          <a:p>
            <a:pPr algn="ctr" defTabSz="1058286"/>
            <a:endParaRPr lang="en-US" sz="1400" b="1" err="1">
              <a:solidFill>
                <a:prstClr val="white"/>
              </a:solidFill>
              <a:latin typeface="Arial"/>
              <a:cs typeface="DIN Next LT Arabic"/>
            </a:endParaRPr>
          </a:p>
        </p:txBody>
      </p:sp>
      <p:sp>
        <p:nvSpPr>
          <p:cNvPr id="403" name="Freeform 402"/>
          <p:cNvSpPr>
            <a:spLocks/>
          </p:cNvSpPr>
          <p:nvPr/>
        </p:nvSpPr>
        <p:spPr bwMode="auto">
          <a:xfrm>
            <a:off x="7647207" y="3629794"/>
            <a:ext cx="293866" cy="302299"/>
          </a:xfrm>
          <a:custGeom>
            <a:avLst/>
            <a:gdLst>
              <a:gd name="connsiteX0" fmla="*/ 189015 w 931448"/>
              <a:gd name="connsiteY0" fmla="*/ 777 h 970477"/>
              <a:gd name="connsiteX1" fmla="*/ 194858 w 931448"/>
              <a:gd name="connsiteY1" fmla="*/ 8026 h 970477"/>
              <a:gd name="connsiteX2" fmla="*/ 255296 w 931448"/>
              <a:gd name="connsiteY2" fmla="*/ 26885 h 970477"/>
              <a:gd name="connsiteX3" fmla="*/ 451720 w 931448"/>
              <a:gd name="connsiteY3" fmla="*/ 57059 h 970477"/>
              <a:gd name="connsiteX4" fmla="*/ 648144 w 931448"/>
              <a:gd name="connsiteY4" fmla="*/ 155125 h 970477"/>
              <a:gd name="connsiteX5" fmla="*/ 931448 w 931448"/>
              <a:gd name="connsiteY5" fmla="*/ 158897 h 970477"/>
              <a:gd name="connsiteX6" fmla="*/ 878565 w 931448"/>
              <a:gd name="connsiteY6" fmla="*/ 471953 h 970477"/>
              <a:gd name="connsiteX7" fmla="*/ 871010 w 931448"/>
              <a:gd name="connsiteY7" fmla="*/ 498355 h 970477"/>
              <a:gd name="connsiteX8" fmla="*/ 708582 w 931448"/>
              <a:gd name="connsiteY8" fmla="*/ 622823 h 970477"/>
              <a:gd name="connsiteX9" fmla="*/ 512158 w 931448"/>
              <a:gd name="connsiteY9" fmla="*/ 554932 h 970477"/>
              <a:gd name="connsiteX10" fmla="*/ 334621 w 931448"/>
              <a:gd name="connsiteY10" fmla="*/ 468181 h 970477"/>
              <a:gd name="connsiteX11" fmla="*/ 240187 w 931448"/>
              <a:gd name="connsiteY11" fmla="*/ 453094 h 970477"/>
              <a:gd name="connsiteX12" fmla="*/ 111756 w 931448"/>
              <a:gd name="connsiteY12" fmla="*/ 562475 h 970477"/>
              <a:gd name="connsiteX13" fmla="*/ 39114 w 931448"/>
              <a:gd name="connsiteY13" fmla="*/ 970477 h 970477"/>
              <a:gd name="connsiteX14" fmla="*/ 0 w 931448"/>
              <a:gd name="connsiteY14" fmla="*/ 938205 h 970477"/>
              <a:gd name="connsiteX15" fmla="*/ 149529 w 931448"/>
              <a:gd name="connsiteY15" fmla="*/ 79690 h 970477"/>
              <a:gd name="connsiteX16" fmla="*/ 160862 w 931448"/>
              <a:gd name="connsiteY16" fmla="*/ 19341 h 970477"/>
              <a:gd name="connsiteX17" fmla="*/ 189015 w 931448"/>
              <a:gd name="connsiteY17" fmla="*/ 777 h 9704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931448" h="970477">
                <a:moveTo>
                  <a:pt x="189015" y="777"/>
                </a:moveTo>
                <a:cubicBezTo>
                  <a:pt x="191789" y="1897"/>
                  <a:pt x="193914" y="4254"/>
                  <a:pt x="194858" y="8026"/>
                </a:cubicBezTo>
                <a:cubicBezTo>
                  <a:pt x="206190" y="57059"/>
                  <a:pt x="232632" y="30657"/>
                  <a:pt x="255296" y="26885"/>
                </a:cubicBezTo>
                <a:cubicBezTo>
                  <a:pt x="323289" y="15570"/>
                  <a:pt x="391282" y="26885"/>
                  <a:pt x="451720" y="57059"/>
                </a:cubicBezTo>
                <a:cubicBezTo>
                  <a:pt x="519713" y="87233"/>
                  <a:pt x="583929" y="124951"/>
                  <a:pt x="648144" y="155125"/>
                </a:cubicBezTo>
                <a:cubicBezTo>
                  <a:pt x="738802" y="196614"/>
                  <a:pt x="829459" y="211701"/>
                  <a:pt x="931448" y="158897"/>
                </a:cubicBezTo>
                <a:cubicBezTo>
                  <a:pt x="912561" y="268278"/>
                  <a:pt x="893674" y="370115"/>
                  <a:pt x="878565" y="471953"/>
                </a:cubicBezTo>
                <a:cubicBezTo>
                  <a:pt x="874787" y="479496"/>
                  <a:pt x="874787" y="490812"/>
                  <a:pt x="871010" y="498355"/>
                </a:cubicBezTo>
                <a:cubicBezTo>
                  <a:pt x="855900" y="600193"/>
                  <a:pt x="814349" y="630367"/>
                  <a:pt x="708582" y="622823"/>
                </a:cubicBezTo>
                <a:cubicBezTo>
                  <a:pt x="640589" y="615280"/>
                  <a:pt x="576374" y="588877"/>
                  <a:pt x="512158" y="554932"/>
                </a:cubicBezTo>
                <a:cubicBezTo>
                  <a:pt x="455498" y="524757"/>
                  <a:pt x="398837" y="490812"/>
                  <a:pt x="334621" y="468181"/>
                </a:cubicBezTo>
                <a:cubicBezTo>
                  <a:pt x="304402" y="460637"/>
                  <a:pt x="274183" y="453094"/>
                  <a:pt x="240187" y="453094"/>
                </a:cubicBezTo>
                <a:cubicBezTo>
                  <a:pt x="145752" y="449322"/>
                  <a:pt x="126865" y="464409"/>
                  <a:pt x="111756" y="562475"/>
                </a:cubicBezTo>
                <a:lnTo>
                  <a:pt x="39114" y="970477"/>
                </a:lnTo>
                <a:lnTo>
                  <a:pt x="0" y="938205"/>
                </a:lnTo>
                <a:lnTo>
                  <a:pt x="149529" y="79690"/>
                </a:lnTo>
                <a:cubicBezTo>
                  <a:pt x="153307" y="60831"/>
                  <a:pt x="153307" y="38200"/>
                  <a:pt x="160862" y="19341"/>
                </a:cubicBezTo>
                <a:cubicBezTo>
                  <a:pt x="166528" y="5198"/>
                  <a:pt x="180693" y="-2582"/>
                  <a:pt x="189015" y="777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Autofit/>
          </a:bodyPr>
          <a:lstStyle/>
          <a:p>
            <a:pPr defTabSz="914391"/>
            <a:endParaRPr lang="en-US" sz="2533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5" name="Freeform 404"/>
          <p:cNvSpPr>
            <a:spLocks/>
          </p:cNvSpPr>
          <p:nvPr/>
        </p:nvSpPr>
        <p:spPr bwMode="auto">
          <a:xfrm flipH="1">
            <a:off x="11685154" y="3703426"/>
            <a:ext cx="293869" cy="302299"/>
          </a:xfrm>
          <a:custGeom>
            <a:avLst/>
            <a:gdLst>
              <a:gd name="connsiteX0" fmla="*/ 189015 w 931448"/>
              <a:gd name="connsiteY0" fmla="*/ 777 h 970477"/>
              <a:gd name="connsiteX1" fmla="*/ 194858 w 931448"/>
              <a:gd name="connsiteY1" fmla="*/ 8026 h 970477"/>
              <a:gd name="connsiteX2" fmla="*/ 255296 w 931448"/>
              <a:gd name="connsiteY2" fmla="*/ 26885 h 970477"/>
              <a:gd name="connsiteX3" fmla="*/ 451720 w 931448"/>
              <a:gd name="connsiteY3" fmla="*/ 57059 h 970477"/>
              <a:gd name="connsiteX4" fmla="*/ 648144 w 931448"/>
              <a:gd name="connsiteY4" fmla="*/ 155125 h 970477"/>
              <a:gd name="connsiteX5" fmla="*/ 931448 w 931448"/>
              <a:gd name="connsiteY5" fmla="*/ 158897 h 970477"/>
              <a:gd name="connsiteX6" fmla="*/ 878565 w 931448"/>
              <a:gd name="connsiteY6" fmla="*/ 471953 h 970477"/>
              <a:gd name="connsiteX7" fmla="*/ 871010 w 931448"/>
              <a:gd name="connsiteY7" fmla="*/ 498355 h 970477"/>
              <a:gd name="connsiteX8" fmla="*/ 708582 w 931448"/>
              <a:gd name="connsiteY8" fmla="*/ 622823 h 970477"/>
              <a:gd name="connsiteX9" fmla="*/ 512158 w 931448"/>
              <a:gd name="connsiteY9" fmla="*/ 554932 h 970477"/>
              <a:gd name="connsiteX10" fmla="*/ 334621 w 931448"/>
              <a:gd name="connsiteY10" fmla="*/ 468181 h 970477"/>
              <a:gd name="connsiteX11" fmla="*/ 240187 w 931448"/>
              <a:gd name="connsiteY11" fmla="*/ 453094 h 970477"/>
              <a:gd name="connsiteX12" fmla="*/ 111756 w 931448"/>
              <a:gd name="connsiteY12" fmla="*/ 562475 h 970477"/>
              <a:gd name="connsiteX13" fmla="*/ 39114 w 931448"/>
              <a:gd name="connsiteY13" fmla="*/ 970477 h 970477"/>
              <a:gd name="connsiteX14" fmla="*/ 0 w 931448"/>
              <a:gd name="connsiteY14" fmla="*/ 938205 h 970477"/>
              <a:gd name="connsiteX15" fmla="*/ 149529 w 931448"/>
              <a:gd name="connsiteY15" fmla="*/ 79690 h 970477"/>
              <a:gd name="connsiteX16" fmla="*/ 160862 w 931448"/>
              <a:gd name="connsiteY16" fmla="*/ 19341 h 970477"/>
              <a:gd name="connsiteX17" fmla="*/ 189015 w 931448"/>
              <a:gd name="connsiteY17" fmla="*/ 777 h 9704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931448" h="970477">
                <a:moveTo>
                  <a:pt x="189015" y="777"/>
                </a:moveTo>
                <a:cubicBezTo>
                  <a:pt x="191789" y="1897"/>
                  <a:pt x="193914" y="4254"/>
                  <a:pt x="194858" y="8026"/>
                </a:cubicBezTo>
                <a:cubicBezTo>
                  <a:pt x="206190" y="57059"/>
                  <a:pt x="232632" y="30657"/>
                  <a:pt x="255296" y="26885"/>
                </a:cubicBezTo>
                <a:cubicBezTo>
                  <a:pt x="323289" y="15570"/>
                  <a:pt x="391282" y="26885"/>
                  <a:pt x="451720" y="57059"/>
                </a:cubicBezTo>
                <a:cubicBezTo>
                  <a:pt x="519713" y="87233"/>
                  <a:pt x="583929" y="124951"/>
                  <a:pt x="648144" y="155125"/>
                </a:cubicBezTo>
                <a:cubicBezTo>
                  <a:pt x="738802" y="196614"/>
                  <a:pt x="829459" y="211701"/>
                  <a:pt x="931448" y="158897"/>
                </a:cubicBezTo>
                <a:cubicBezTo>
                  <a:pt x="912561" y="268278"/>
                  <a:pt x="893674" y="370115"/>
                  <a:pt x="878565" y="471953"/>
                </a:cubicBezTo>
                <a:cubicBezTo>
                  <a:pt x="874787" y="479496"/>
                  <a:pt x="874787" y="490812"/>
                  <a:pt x="871010" y="498355"/>
                </a:cubicBezTo>
                <a:cubicBezTo>
                  <a:pt x="855900" y="600193"/>
                  <a:pt x="814349" y="630367"/>
                  <a:pt x="708582" y="622823"/>
                </a:cubicBezTo>
                <a:cubicBezTo>
                  <a:pt x="640589" y="615280"/>
                  <a:pt x="576374" y="588877"/>
                  <a:pt x="512158" y="554932"/>
                </a:cubicBezTo>
                <a:cubicBezTo>
                  <a:pt x="455498" y="524757"/>
                  <a:pt x="398837" y="490812"/>
                  <a:pt x="334621" y="468181"/>
                </a:cubicBezTo>
                <a:cubicBezTo>
                  <a:pt x="304402" y="460637"/>
                  <a:pt x="274183" y="453094"/>
                  <a:pt x="240187" y="453094"/>
                </a:cubicBezTo>
                <a:cubicBezTo>
                  <a:pt x="145752" y="449322"/>
                  <a:pt x="126865" y="464409"/>
                  <a:pt x="111756" y="562475"/>
                </a:cubicBezTo>
                <a:lnTo>
                  <a:pt x="39114" y="970477"/>
                </a:lnTo>
                <a:lnTo>
                  <a:pt x="0" y="938205"/>
                </a:lnTo>
                <a:lnTo>
                  <a:pt x="149529" y="79690"/>
                </a:lnTo>
                <a:cubicBezTo>
                  <a:pt x="153307" y="60831"/>
                  <a:pt x="153307" y="38200"/>
                  <a:pt x="160862" y="19341"/>
                </a:cubicBezTo>
                <a:cubicBezTo>
                  <a:pt x="166528" y="5198"/>
                  <a:pt x="180693" y="-2582"/>
                  <a:pt x="189015" y="777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Autofit/>
          </a:bodyPr>
          <a:lstStyle/>
          <a:p>
            <a:pPr defTabSz="914391"/>
            <a:endParaRPr lang="en-US" sz="2533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10591584" y="3450103"/>
            <a:ext cx="95070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127"/>
            <a:r>
              <a:rPr lang="en-US" sz="1200">
                <a:solidFill>
                  <a:prstClr val="white">
                    <a:lumMod val="50000"/>
                  </a:prstClr>
                </a:solidFill>
                <a:latin typeface="Arial"/>
                <a:cs typeface="Arial" panose="020B0604020202020204" pitchFamily="34" charset="0"/>
              </a:rPr>
              <a:t>END DATE</a:t>
            </a:r>
          </a:p>
        </p:txBody>
      </p:sp>
      <p:sp>
        <p:nvSpPr>
          <p:cNvPr id="406" name="Rectangle 405"/>
          <p:cNvSpPr/>
          <p:nvPr/>
        </p:nvSpPr>
        <p:spPr>
          <a:xfrm>
            <a:off x="10581190" y="3687170"/>
            <a:ext cx="101983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127"/>
            <a:r>
              <a:rPr lang="en-US" sz="1200" b="1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March 2024</a:t>
            </a:r>
          </a:p>
        </p:txBody>
      </p:sp>
      <p:sp>
        <p:nvSpPr>
          <p:cNvPr id="408" name="Rectangle 407"/>
          <p:cNvSpPr/>
          <p:nvPr/>
        </p:nvSpPr>
        <p:spPr>
          <a:xfrm>
            <a:off x="7898338" y="3450103"/>
            <a:ext cx="111492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127"/>
            <a:r>
              <a:rPr lang="en-US" sz="1200">
                <a:solidFill>
                  <a:prstClr val="white">
                    <a:lumMod val="50000"/>
                  </a:prstClr>
                </a:solidFill>
                <a:latin typeface="Arial"/>
                <a:cs typeface="Arial" panose="020B0604020202020204" pitchFamily="34" charset="0"/>
              </a:rPr>
              <a:t>START DATE</a:t>
            </a:r>
          </a:p>
        </p:txBody>
      </p:sp>
      <p:sp>
        <p:nvSpPr>
          <p:cNvPr id="409" name="Rectangle 408"/>
          <p:cNvSpPr/>
          <p:nvPr/>
        </p:nvSpPr>
        <p:spPr>
          <a:xfrm>
            <a:off x="7898340" y="3687170"/>
            <a:ext cx="84830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127"/>
            <a:r>
              <a:rPr lang="en-US" sz="1200" b="1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Dec 2021</a:t>
            </a:r>
          </a:p>
        </p:txBody>
      </p:sp>
      <p:sp>
        <p:nvSpPr>
          <p:cNvPr id="410" name="Round Same Side Corner Rectangle 409"/>
          <p:cNvSpPr/>
          <p:nvPr/>
        </p:nvSpPr>
        <p:spPr>
          <a:xfrm>
            <a:off x="7592024" y="4294033"/>
            <a:ext cx="4443494" cy="290140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chemeClr val="tx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</a:gradFill>
          <a:ln>
            <a:solidFill>
              <a:schemeClr val="accent3"/>
            </a:solidFill>
          </a:ln>
        </p:spPr>
        <p:txBody>
          <a:bodyPr wrap="square" lIns="121920">
            <a:noAutofit/>
          </a:bodyPr>
          <a:lstStyle/>
          <a:p>
            <a:pPr defTabSz="1058286"/>
            <a:endParaRPr lang="en-US" sz="1400" b="1">
              <a:solidFill>
                <a:prstClr val="white"/>
              </a:solidFill>
              <a:latin typeface="Arial"/>
              <a:cs typeface="DIN Next LT Arabic"/>
            </a:endParaRPr>
          </a:p>
        </p:txBody>
      </p:sp>
      <p:graphicFrame>
        <p:nvGraphicFramePr>
          <p:cNvPr id="44" name="Table 43"/>
          <p:cNvGraphicFramePr>
            <a:graphicFrameLocks noGrp="1"/>
          </p:cNvGraphicFramePr>
          <p:nvPr/>
        </p:nvGraphicFramePr>
        <p:xfrm>
          <a:off x="7595578" y="4312867"/>
          <a:ext cx="4439944" cy="2773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42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71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71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77333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Apr</a:t>
                      </a:r>
                    </a:p>
                  </a:txBody>
                  <a:tcPr marL="18000" marR="18000" marT="54000" marB="54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May</a:t>
                      </a:r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Jun</a:t>
                      </a:r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Jul.</a:t>
                      </a:r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Aug</a:t>
                      </a:r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Sep</a:t>
                      </a:r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Oct</a:t>
                      </a:r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427" name="Table 426"/>
          <p:cNvGraphicFramePr>
            <a:graphicFrameLocks noGrp="1"/>
          </p:cNvGraphicFramePr>
          <p:nvPr/>
        </p:nvGraphicFramePr>
        <p:xfrm>
          <a:off x="7595578" y="4583797"/>
          <a:ext cx="4439944" cy="17735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42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71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71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1773579">
                <a:tc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16" name="Rounded Rectangle 415"/>
          <p:cNvSpPr/>
          <p:nvPr/>
        </p:nvSpPr>
        <p:spPr>
          <a:xfrm>
            <a:off x="7853699" y="4683626"/>
            <a:ext cx="1038687" cy="18442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 w="10172">
            <a:noFill/>
          </a:ln>
        </p:spPr>
        <p:txBody>
          <a:bodyPr wrap="square" lIns="121920" tIns="121920" rIns="121920" bIns="121920" rtlCol="0" anchor="ctr"/>
          <a:lstStyle/>
          <a:p>
            <a:pPr algn="ctr" defTabSz="1219176"/>
            <a:r>
              <a:rPr lang="en-US" sz="889" b="1">
                <a:solidFill>
                  <a:schemeClr val="bg1"/>
                </a:solidFill>
                <a:latin typeface="Arial"/>
                <a:ea typeface="Univers for KPMG Light" charset="0"/>
                <a:cs typeface="Univers for KPMG Light" charset="0"/>
              </a:rPr>
              <a:t>Activity 1</a:t>
            </a:r>
          </a:p>
        </p:txBody>
      </p:sp>
      <p:sp>
        <p:nvSpPr>
          <p:cNvPr id="418" name="Rounded Rectangle 417"/>
          <p:cNvSpPr/>
          <p:nvPr/>
        </p:nvSpPr>
        <p:spPr>
          <a:xfrm>
            <a:off x="8712458" y="5082583"/>
            <a:ext cx="939542" cy="18442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0172">
            <a:noFill/>
          </a:ln>
        </p:spPr>
        <p:txBody>
          <a:bodyPr wrap="square" lIns="121920" tIns="121920" rIns="121920" bIns="121920" rtlCol="0" anchor="ctr"/>
          <a:lstStyle/>
          <a:p>
            <a:pPr algn="ctr" defTabSz="1219176">
              <a:defRPr/>
            </a:pPr>
            <a:r>
              <a:rPr lang="en-US" sz="889" b="1">
                <a:solidFill>
                  <a:schemeClr val="bg1"/>
                </a:solidFill>
                <a:latin typeface="Arial"/>
                <a:ea typeface="Univers for KPMG Light" charset="0"/>
                <a:cs typeface="Univers for KPMG Light" charset="0"/>
              </a:rPr>
              <a:t>Activity 2</a:t>
            </a:r>
          </a:p>
        </p:txBody>
      </p:sp>
      <p:sp>
        <p:nvSpPr>
          <p:cNvPr id="420" name="Rounded Rectangle 419"/>
          <p:cNvSpPr/>
          <p:nvPr/>
        </p:nvSpPr>
        <p:spPr>
          <a:xfrm>
            <a:off x="9067706" y="5422530"/>
            <a:ext cx="1884777" cy="18442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10172">
            <a:noFill/>
          </a:ln>
        </p:spPr>
        <p:txBody>
          <a:bodyPr wrap="square" lIns="121920" tIns="121920" rIns="121920" bIns="121920" rtlCol="0" anchor="ctr"/>
          <a:lstStyle/>
          <a:p>
            <a:pPr algn="ctr" defTabSz="1219176">
              <a:defRPr/>
            </a:pPr>
            <a:r>
              <a:rPr lang="en-US" sz="889" b="1">
                <a:solidFill>
                  <a:schemeClr val="bg1"/>
                </a:solidFill>
                <a:latin typeface="Arial"/>
                <a:ea typeface="Univers for KPMG Light" charset="0"/>
                <a:cs typeface="Univers for KPMG Light" charset="0"/>
              </a:rPr>
              <a:t>Activity 3</a:t>
            </a:r>
          </a:p>
        </p:txBody>
      </p:sp>
      <p:grpSp>
        <p:nvGrpSpPr>
          <p:cNvPr id="132" name="Group 131"/>
          <p:cNvGrpSpPr/>
          <p:nvPr/>
        </p:nvGrpSpPr>
        <p:grpSpPr>
          <a:xfrm>
            <a:off x="7527930" y="3097452"/>
            <a:ext cx="4558976" cy="135133"/>
            <a:chOff x="5645947" y="4054307"/>
            <a:chExt cx="3419232" cy="146922"/>
          </a:xfrm>
        </p:grpSpPr>
        <p:sp>
          <p:nvSpPr>
            <p:cNvPr id="435" name="Right Triangle 434"/>
            <p:cNvSpPr/>
            <p:nvPr/>
          </p:nvSpPr>
          <p:spPr>
            <a:xfrm flipH="1" flipV="1">
              <a:off x="5650903" y="4054307"/>
              <a:ext cx="3414276" cy="146922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436" name="Right Triangle 435"/>
            <p:cNvSpPr/>
            <p:nvPr/>
          </p:nvSpPr>
          <p:spPr>
            <a:xfrm flipV="1">
              <a:off x="5645947" y="4054307"/>
              <a:ext cx="3414276" cy="146922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</p:grpSp>
      <p:sp>
        <p:nvSpPr>
          <p:cNvPr id="437" name="Rectangle 436"/>
          <p:cNvSpPr/>
          <p:nvPr/>
        </p:nvSpPr>
        <p:spPr>
          <a:xfrm>
            <a:off x="7518400" y="1127265"/>
            <a:ext cx="4579204" cy="13745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defTabSz="1058286"/>
            <a:endParaRPr lang="en-US" sz="1500" err="1">
              <a:solidFill>
                <a:prstClr val="white"/>
              </a:solidFill>
              <a:latin typeface="Arial"/>
            </a:endParaRPr>
          </a:p>
        </p:txBody>
      </p:sp>
      <p:sp>
        <p:nvSpPr>
          <p:cNvPr id="439" name="Rectangle 438"/>
          <p:cNvSpPr/>
          <p:nvPr/>
        </p:nvSpPr>
        <p:spPr>
          <a:xfrm>
            <a:off x="7829747" y="1158904"/>
            <a:ext cx="1335622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27"/>
            <a:r>
              <a:rPr lang="en-US" sz="1333" b="1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Project Health</a:t>
            </a:r>
          </a:p>
        </p:txBody>
      </p:sp>
      <p:sp>
        <p:nvSpPr>
          <p:cNvPr id="440" name="Rectangle 439"/>
          <p:cNvSpPr/>
          <p:nvPr/>
        </p:nvSpPr>
        <p:spPr>
          <a:xfrm>
            <a:off x="10403346" y="1158904"/>
            <a:ext cx="925253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27"/>
            <a:r>
              <a:rPr lang="en-US" sz="1333" b="1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Progress</a:t>
            </a:r>
          </a:p>
        </p:txBody>
      </p:sp>
      <p:cxnSp>
        <p:nvCxnSpPr>
          <p:cNvPr id="444" name="Straight Connector 443"/>
          <p:cNvCxnSpPr/>
          <p:nvPr/>
        </p:nvCxnSpPr>
        <p:spPr>
          <a:xfrm>
            <a:off x="10152800" y="2452170"/>
            <a:ext cx="1426344" cy="0"/>
          </a:xfrm>
          <a:prstGeom prst="line">
            <a:avLst/>
          </a:prstGeom>
          <a:ln w="3175">
            <a:solidFill>
              <a:schemeClr val="bg1">
                <a:alpha val="2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7" name="Oval 446"/>
          <p:cNvSpPr/>
          <p:nvPr/>
        </p:nvSpPr>
        <p:spPr>
          <a:xfrm>
            <a:off x="10190609" y="1699559"/>
            <a:ext cx="1264898" cy="1264896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91"/>
            <a:endParaRPr lang="en-IN" sz="2154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57" name="Straight Connector 56"/>
          <p:cNvCxnSpPr/>
          <p:nvPr/>
        </p:nvCxnSpPr>
        <p:spPr>
          <a:xfrm>
            <a:off x="7661463" y="1451278"/>
            <a:ext cx="167219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8" name="Straight Connector 447"/>
          <p:cNvCxnSpPr/>
          <p:nvPr/>
        </p:nvCxnSpPr>
        <p:spPr>
          <a:xfrm>
            <a:off x="9910209" y="1451278"/>
            <a:ext cx="197021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0" name="Group 449"/>
          <p:cNvGrpSpPr/>
          <p:nvPr/>
        </p:nvGrpSpPr>
        <p:grpSpPr>
          <a:xfrm>
            <a:off x="8249017" y="1724075"/>
            <a:ext cx="605435" cy="944212"/>
            <a:chOff x="722757" y="906549"/>
            <a:chExt cx="553599" cy="863372"/>
          </a:xfrm>
        </p:grpSpPr>
        <p:grpSp>
          <p:nvGrpSpPr>
            <p:cNvPr id="451" name="Group 450"/>
            <p:cNvGrpSpPr/>
            <p:nvPr/>
          </p:nvGrpSpPr>
          <p:grpSpPr>
            <a:xfrm>
              <a:off x="722757" y="906549"/>
              <a:ext cx="553599" cy="863372"/>
              <a:chOff x="5997254" y="2460747"/>
              <a:chExt cx="1616607" cy="2521202"/>
            </a:xfrm>
          </p:grpSpPr>
          <p:sp>
            <p:nvSpPr>
              <p:cNvPr id="470" name="Rectangle 469"/>
              <p:cNvSpPr/>
              <p:nvPr/>
            </p:nvSpPr>
            <p:spPr>
              <a:xfrm>
                <a:off x="6718885" y="4188898"/>
                <a:ext cx="177760" cy="793051"/>
              </a:xfrm>
              <a:prstGeom prst="rect">
                <a:avLst/>
              </a:prstGeom>
              <a:gradFill>
                <a:gsLst>
                  <a:gs pos="0">
                    <a:sysClr val="windowText" lastClr="000000">
                      <a:lumMod val="75000"/>
                      <a:lumOff val="25000"/>
                      <a:shade val="30000"/>
                      <a:satMod val="115000"/>
                    </a:sysClr>
                  </a:gs>
                  <a:gs pos="50000">
                    <a:sysClr val="window" lastClr="FFFFFF"/>
                  </a:gs>
                  <a:gs pos="100000">
                    <a:sysClr val="windowText" lastClr="000000">
                      <a:lumMod val="75000"/>
                      <a:lumOff val="25000"/>
                      <a:shade val="100000"/>
                      <a:satMod val="115000"/>
                    </a:sysClr>
                  </a:gs>
                </a:gsLst>
                <a:lin ang="0" scaled="0"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060737">
                  <a:defRPr/>
                </a:pPr>
                <a:endParaRPr lang="en-US" sz="2088" kern="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471" name="Freeform 26"/>
              <p:cNvSpPr>
                <a:spLocks noEditPoints="1"/>
              </p:cNvSpPr>
              <p:nvPr/>
            </p:nvSpPr>
            <p:spPr bwMode="auto">
              <a:xfrm>
                <a:off x="5997254" y="2460747"/>
                <a:ext cx="1616607" cy="1618702"/>
              </a:xfrm>
              <a:custGeom>
                <a:avLst/>
                <a:gdLst>
                  <a:gd name="T0" fmla="*/ 323 w 326"/>
                  <a:gd name="T1" fmla="*/ 157 h 326"/>
                  <a:gd name="T2" fmla="*/ 169 w 326"/>
                  <a:gd name="T3" fmla="*/ 2 h 326"/>
                  <a:gd name="T4" fmla="*/ 163 w 326"/>
                  <a:gd name="T5" fmla="*/ 0 h 326"/>
                  <a:gd name="T6" fmla="*/ 157 w 326"/>
                  <a:gd name="T7" fmla="*/ 2 h 326"/>
                  <a:gd name="T8" fmla="*/ 3 w 326"/>
                  <a:gd name="T9" fmla="*/ 157 h 326"/>
                  <a:gd name="T10" fmla="*/ 0 w 326"/>
                  <a:gd name="T11" fmla="*/ 163 h 326"/>
                  <a:gd name="T12" fmla="*/ 3 w 326"/>
                  <a:gd name="T13" fmla="*/ 169 h 326"/>
                  <a:gd name="T14" fmla="*/ 157 w 326"/>
                  <a:gd name="T15" fmla="*/ 323 h 326"/>
                  <a:gd name="T16" fmla="*/ 163 w 326"/>
                  <a:gd name="T17" fmla="*/ 326 h 326"/>
                  <a:gd name="T18" fmla="*/ 169 w 326"/>
                  <a:gd name="T19" fmla="*/ 323 h 326"/>
                  <a:gd name="T20" fmla="*/ 323 w 326"/>
                  <a:gd name="T21" fmla="*/ 169 h 326"/>
                  <a:gd name="T22" fmla="*/ 326 w 326"/>
                  <a:gd name="T23" fmla="*/ 163 h 326"/>
                  <a:gd name="T24" fmla="*/ 323 w 326"/>
                  <a:gd name="T25" fmla="*/ 157 h 326"/>
                  <a:gd name="T26" fmla="*/ 306 w 326"/>
                  <a:gd name="T27" fmla="*/ 168 h 326"/>
                  <a:gd name="T28" fmla="*/ 168 w 326"/>
                  <a:gd name="T29" fmla="*/ 306 h 326"/>
                  <a:gd name="T30" fmla="*/ 163 w 326"/>
                  <a:gd name="T31" fmla="*/ 308 h 326"/>
                  <a:gd name="T32" fmla="*/ 157 w 326"/>
                  <a:gd name="T33" fmla="*/ 306 h 326"/>
                  <a:gd name="T34" fmla="*/ 20 w 326"/>
                  <a:gd name="T35" fmla="*/ 168 h 326"/>
                  <a:gd name="T36" fmla="*/ 17 w 326"/>
                  <a:gd name="T37" fmla="*/ 163 h 326"/>
                  <a:gd name="T38" fmla="*/ 20 w 326"/>
                  <a:gd name="T39" fmla="*/ 157 h 326"/>
                  <a:gd name="T40" fmla="*/ 157 w 326"/>
                  <a:gd name="T41" fmla="*/ 19 h 326"/>
                  <a:gd name="T42" fmla="*/ 163 w 326"/>
                  <a:gd name="T43" fmla="*/ 17 h 326"/>
                  <a:gd name="T44" fmla="*/ 168 w 326"/>
                  <a:gd name="T45" fmla="*/ 19 h 326"/>
                  <a:gd name="T46" fmla="*/ 306 w 326"/>
                  <a:gd name="T47" fmla="*/ 157 h 326"/>
                  <a:gd name="T48" fmla="*/ 309 w 326"/>
                  <a:gd name="T49" fmla="*/ 163 h 326"/>
                  <a:gd name="T50" fmla="*/ 306 w 326"/>
                  <a:gd name="T51" fmla="*/ 168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6" h="326">
                    <a:moveTo>
                      <a:pt x="323" y="157"/>
                    </a:moveTo>
                    <a:cubicBezTo>
                      <a:pt x="169" y="2"/>
                      <a:pt x="169" y="2"/>
                      <a:pt x="169" y="2"/>
                    </a:cubicBezTo>
                    <a:cubicBezTo>
                      <a:pt x="167" y="0"/>
                      <a:pt x="164" y="0"/>
                      <a:pt x="163" y="0"/>
                    </a:cubicBezTo>
                    <a:cubicBezTo>
                      <a:pt x="162" y="0"/>
                      <a:pt x="159" y="0"/>
                      <a:pt x="157" y="2"/>
                    </a:cubicBezTo>
                    <a:cubicBezTo>
                      <a:pt x="3" y="157"/>
                      <a:pt x="3" y="157"/>
                      <a:pt x="3" y="157"/>
                    </a:cubicBezTo>
                    <a:cubicBezTo>
                      <a:pt x="1" y="158"/>
                      <a:pt x="0" y="160"/>
                      <a:pt x="0" y="163"/>
                    </a:cubicBezTo>
                    <a:cubicBezTo>
                      <a:pt x="0" y="165"/>
                      <a:pt x="1" y="167"/>
                      <a:pt x="3" y="169"/>
                    </a:cubicBezTo>
                    <a:cubicBezTo>
                      <a:pt x="157" y="323"/>
                      <a:pt x="157" y="323"/>
                      <a:pt x="157" y="323"/>
                    </a:cubicBezTo>
                    <a:cubicBezTo>
                      <a:pt x="159" y="325"/>
                      <a:pt x="162" y="326"/>
                      <a:pt x="163" y="326"/>
                    </a:cubicBezTo>
                    <a:cubicBezTo>
                      <a:pt x="164" y="326"/>
                      <a:pt x="167" y="325"/>
                      <a:pt x="169" y="323"/>
                    </a:cubicBezTo>
                    <a:cubicBezTo>
                      <a:pt x="323" y="169"/>
                      <a:pt x="323" y="169"/>
                      <a:pt x="323" y="169"/>
                    </a:cubicBezTo>
                    <a:cubicBezTo>
                      <a:pt x="325" y="167"/>
                      <a:pt x="326" y="164"/>
                      <a:pt x="326" y="163"/>
                    </a:cubicBezTo>
                    <a:cubicBezTo>
                      <a:pt x="326" y="161"/>
                      <a:pt x="325" y="159"/>
                      <a:pt x="323" y="157"/>
                    </a:cubicBezTo>
                    <a:close/>
                    <a:moveTo>
                      <a:pt x="306" y="168"/>
                    </a:moveTo>
                    <a:cubicBezTo>
                      <a:pt x="168" y="306"/>
                      <a:pt x="168" y="306"/>
                      <a:pt x="168" y="306"/>
                    </a:cubicBezTo>
                    <a:cubicBezTo>
                      <a:pt x="167" y="308"/>
                      <a:pt x="164" y="308"/>
                      <a:pt x="163" y="308"/>
                    </a:cubicBezTo>
                    <a:cubicBezTo>
                      <a:pt x="162" y="308"/>
                      <a:pt x="159" y="308"/>
                      <a:pt x="157" y="306"/>
                    </a:cubicBezTo>
                    <a:cubicBezTo>
                      <a:pt x="20" y="168"/>
                      <a:pt x="20" y="168"/>
                      <a:pt x="20" y="168"/>
                    </a:cubicBezTo>
                    <a:cubicBezTo>
                      <a:pt x="18" y="167"/>
                      <a:pt x="17" y="165"/>
                      <a:pt x="17" y="163"/>
                    </a:cubicBezTo>
                    <a:cubicBezTo>
                      <a:pt x="17" y="161"/>
                      <a:pt x="18" y="159"/>
                      <a:pt x="20" y="157"/>
                    </a:cubicBezTo>
                    <a:cubicBezTo>
                      <a:pt x="157" y="19"/>
                      <a:pt x="157" y="19"/>
                      <a:pt x="157" y="19"/>
                    </a:cubicBezTo>
                    <a:cubicBezTo>
                      <a:pt x="159" y="17"/>
                      <a:pt x="162" y="17"/>
                      <a:pt x="163" y="17"/>
                    </a:cubicBezTo>
                    <a:cubicBezTo>
                      <a:pt x="164" y="17"/>
                      <a:pt x="167" y="17"/>
                      <a:pt x="168" y="19"/>
                    </a:cubicBezTo>
                    <a:cubicBezTo>
                      <a:pt x="306" y="157"/>
                      <a:pt x="306" y="157"/>
                      <a:pt x="306" y="157"/>
                    </a:cubicBezTo>
                    <a:cubicBezTo>
                      <a:pt x="308" y="159"/>
                      <a:pt x="309" y="161"/>
                      <a:pt x="309" y="163"/>
                    </a:cubicBezTo>
                    <a:cubicBezTo>
                      <a:pt x="309" y="164"/>
                      <a:pt x="308" y="166"/>
                      <a:pt x="306" y="16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106072" tIns="53034" rIns="106072" bIns="53034" numCol="1" anchor="t" anchorCtr="0" compatLnSpc="1">
                <a:prstTxWarp prst="textNoShape">
                  <a:avLst/>
                </a:prstTxWarp>
              </a:bodyPr>
              <a:lstStyle/>
              <a:p>
                <a:pPr defTabSz="1060737">
                  <a:defRPr/>
                </a:pPr>
                <a:endParaRPr lang="en-US" sz="2088" kern="0">
                  <a:solidFill>
                    <a:prstClr val="black"/>
                  </a:solidFill>
                  <a:latin typeface="Arial"/>
                </a:endParaRPr>
              </a:p>
            </p:txBody>
          </p:sp>
        </p:grpSp>
        <p:grpSp>
          <p:nvGrpSpPr>
            <p:cNvPr id="452" name="Group 37"/>
            <p:cNvGrpSpPr/>
            <p:nvPr/>
          </p:nvGrpSpPr>
          <p:grpSpPr>
            <a:xfrm>
              <a:off x="758944" y="928520"/>
              <a:ext cx="476130" cy="740410"/>
              <a:chOff x="1903412" y="1676400"/>
              <a:chExt cx="1776606" cy="2835299"/>
            </a:xfrm>
          </p:grpSpPr>
          <p:sp>
            <p:nvSpPr>
              <p:cNvPr id="453" name="Freeform 7"/>
              <p:cNvSpPr>
                <a:spLocks/>
              </p:cNvSpPr>
              <p:nvPr/>
            </p:nvSpPr>
            <p:spPr bwMode="auto">
              <a:xfrm>
                <a:off x="2239650" y="1690031"/>
                <a:ext cx="1114733" cy="2809552"/>
              </a:xfrm>
              <a:custGeom>
                <a:avLst/>
                <a:gdLst/>
                <a:ahLst/>
                <a:cxnLst>
                  <a:cxn ang="0">
                    <a:pos x="79" y="0"/>
                  </a:cxn>
                  <a:cxn ang="0">
                    <a:pos x="657" y="0"/>
                  </a:cxn>
                  <a:cxn ang="0">
                    <a:pos x="675" y="2"/>
                  </a:cxn>
                  <a:cxn ang="0">
                    <a:pos x="691" y="8"/>
                  </a:cxn>
                  <a:cxn ang="0">
                    <a:pos x="706" y="17"/>
                  </a:cxn>
                  <a:cxn ang="0">
                    <a:pos x="718" y="29"/>
                  </a:cxn>
                  <a:cxn ang="0">
                    <a:pos x="728" y="44"/>
                  </a:cxn>
                  <a:cxn ang="0">
                    <a:pos x="733" y="60"/>
                  </a:cxn>
                  <a:cxn ang="0">
                    <a:pos x="736" y="79"/>
                  </a:cxn>
                  <a:cxn ang="0">
                    <a:pos x="736" y="1776"/>
                  </a:cxn>
                  <a:cxn ang="0">
                    <a:pos x="733" y="1794"/>
                  </a:cxn>
                  <a:cxn ang="0">
                    <a:pos x="728" y="1811"/>
                  </a:cxn>
                  <a:cxn ang="0">
                    <a:pos x="718" y="1825"/>
                  </a:cxn>
                  <a:cxn ang="0">
                    <a:pos x="706" y="1838"/>
                  </a:cxn>
                  <a:cxn ang="0">
                    <a:pos x="691" y="1847"/>
                  </a:cxn>
                  <a:cxn ang="0">
                    <a:pos x="675" y="1853"/>
                  </a:cxn>
                  <a:cxn ang="0">
                    <a:pos x="657" y="1855"/>
                  </a:cxn>
                  <a:cxn ang="0">
                    <a:pos x="79" y="1855"/>
                  </a:cxn>
                  <a:cxn ang="0">
                    <a:pos x="61" y="1853"/>
                  </a:cxn>
                  <a:cxn ang="0">
                    <a:pos x="44" y="1847"/>
                  </a:cxn>
                  <a:cxn ang="0">
                    <a:pos x="30" y="1838"/>
                  </a:cxn>
                  <a:cxn ang="0">
                    <a:pos x="17" y="1825"/>
                  </a:cxn>
                  <a:cxn ang="0">
                    <a:pos x="8" y="1811"/>
                  </a:cxn>
                  <a:cxn ang="0">
                    <a:pos x="2" y="1794"/>
                  </a:cxn>
                  <a:cxn ang="0">
                    <a:pos x="0" y="1776"/>
                  </a:cxn>
                  <a:cxn ang="0">
                    <a:pos x="0" y="79"/>
                  </a:cxn>
                  <a:cxn ang="0">
                    <a:pos x="2" y="60"/>
                  </a:cxn>
                  <a:cxn ang="0">
                    <a:pos x="8" y="44"/>
                  </a:cxn>
                  <a:cxn ang="0">
                    <a:pos x="17" y="29"/>
                  </a:cxn>
                  <a:cxn ang="0">
                    <a:pos x="30" y="17"/>
                  </a:cxn>
                  <a:cxn ang="0">
                    <a:pos x="44" y="8"/>
                  </a:cxn>
                  <a:cxn ang="0">
                    <a:pos x="61" y="2"/>
                  </a:cxn>
                  <a:cxn ang="0">
                    <a:pos x="79" y="0"/>
                  </a:cxn>
                </a:cxnLst>
                <a:rect l="0" t="0" r="r" b="b"/>
                <a:pathLst>
                  <a:path w="736" h="1855">
                    <a:moveTo>
                      <a:pt x="79" y="0"/>
                    </a:moveTo>
                    <a:lnTo>
                      <a:pt x="657" y="0"/>
                    </a:lnTo>
                    <a:lnTo>
                      <a:pt x="675" y="2"/>
                    </a:lnTo>
                    <a:lnTo>
                      <a:pt x="691" y="8"/>
                    </a:lnTo>
                    <a:lnTo>
                      <a:pt x="706" y="17"/>
                    </a:lnTo>
                    <a:lnTo>
                      <a:pt x="718" y="29"/>
                    </a:lnTo>
                    <a:lnTo>
                      <a:pt x="728" y="44"/>
                    </a:lnTo>
                    <a:lnTo>
                      <a:pt x="733" y="60"/>
                    </a:lnTo>
                    <a:lnTo>
                      <a:pt x="736" y="79"/>
                    </a:lnTo>
                    <a:lnTo>
                      <a:pt x="736" y="1776"/>
                    </a:lnTo>
                    <a:lnTo>
                      <a:pt x="733" y="1794"/>
                    </a:lnTo>
                    <a:lnTo>
                      <a:pt x="728" y="1811"/>
                    </a:lnTo>
                    <a:lnTo>
                      <a:pt x="718" y="1825"/>
                    </a:lnTo>
                    <a:lnTo>
                      <a:pt x="706" y="1838"/>
                    </a:lnTo>
                    <a:lnTo>
                      <a:pt x="691" y="1847"/>
                    </a:lnTo>
                    <a:lnTo>
                      <a:pt x="675" y="1853"/>
                    </a:lnTo>
                    <a:lnTo>
                      <a:pt x="657" y="1855"/>
                    </a:lnTo>
                    <a:lnTo>
                      <a:pt x="79" y="1855"/>
                    </a:lnTo>
                    <a:lnTo>
                      <a:pt x="61" y="1853"/>
                    </a:lnTo>
                    <a:lnTo>
                      <a:pt x="44" y="1847"/>
                    </a:lnTo>
                    <a:lnTo>
                      <a:pt x="30" y="1838"/>
                    </a:lnTo>
                    <a:lnTo>
                      <a:pt x="17" y="1825"/>
                    </a:lnTo>
                    <a:lnTo>
                      <a:pt x="8" y="1811"/>
                    </a:lnTo>
                    <a:lnTo>
                      <a:pt x="2" y="1794"/>
                    </a:lnTo>
                    <a:lnTo>
                      <a:pt x="0" y="1776"/>
                    </a:lnTo>
                    <a:lnTo>
                      <a:pt x="0" y="79"/>
                    </a:lnTo>
                    <a:lnTo>
                      <a:pt x="2" y="60"/>
                    </a:lnTo>
                    <a:lnTo>
                      <a:pt x="8" y="44"/>
                    </a:lnTo>
                    <a:lnTo>
                      <a:pt x="17" y="29"/>
                    </a:lnTo>
                    <a:lnTo>
                      <a:pt x="30" y="17"/>
                    </a:lnTo>
                    <a:lnTo>
                      <a:pt x="44" y="8"/>
                    </a:lnTo>
                    <a:lnTo>
                      <a:pt x="61" y="2"/>
                    </a:lnTo>
                    <a:lnTo>
                      <a:pt x="79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95000"/>
                      <a:lumOff val="5000"/>
                    </a:schemeClr>
                  </a:gs>
                  <a:gs pos="100000">
                    <a:schemeClr val="tx1">
                      <a:lumMod val="75000"/>
                      <a:lumOff val="2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4" name="Freeform 8"/>
              <p:cNvSpPr>
                <a:spLocks noEditPoints="1"/>
              </p:cNvSpPr>
              <p:nvPr/>
            </p:nvSpPr>
            <p:spPr bwMode="auto">
              <a:xfrm>
                <a:off x="2226018" y="1676400"/>
                <a:ext cx="1140482" cy="2835299"/>
              </a:xfrm>
              <a:custGeom>
                <a:avLst/>
                <a:gdLst/>
                <a:ahLst/>
                <a:cxnLst>
                  <a:cxn ang="0">
                    <a:pos x="72" y="19"/>
                  </a:cxn>
                  <a:cxn ang="0">
                    <a:pos x="44" y="33"/>
                  </a:cxn>
                  <a:cxn ang="0">
                    <a:pos x="25" y="56"/>
                  </a:cxn>
                  <a:cxn ang="0">
                    <a:pos x="18" y="88"/>
                  </a:cxn>
                  <a:cxn ang="0">
                    <a:pos x="20" y="1801"/>
                  </a:cxn>
                  <a:cxn ang="0">
                    <a:pos x="33" y="1829"/>
                  </a:cxn>
                  <a:cxn ang="0">
                    <a:pos x="57" y="1848"/>
                  </a:cxn>
                  <a:cxn ang="0">
                    <a:pos x="88" y="1855"/>
                  </a:cxn>
                  <a:cxn ang="0">
                    <a:pos x="682" y="1853"/>
                  </a:cxn>
                  <a:cxn ang="0">
                    <a:pos x="709" y="1840"/>
                  </a:cxn>
                  <a:cxn ang="0">
                    <a:pos x="729" y="1816"/>
                  </a:cxn>
                  <a:cxn ang="0">
                    <a:pos x="735" y="1785"/>
                  </a:cxn>
                  <a:cxn ang="0">
                    <a:pos x="734" y="72"/>
                  </a:cxn>
                  <a:cxn ang="0">
                    <a:pos x="720" y="44"/>
                  </a:cxn>
                  <a:cxn ang="0">
                    <a:pos x="697" y="25"/>
                  </a:cxn>
                  <a:cxn ang="0">
                    <a:pos x="666" y="18"/>
                  </a:cxn>
                  <a:cxn ang="0">
                    <a:pos x="88" y="0"/>
                  </a:cxn>
                  <a:cxn ang="0">
                    <a:pos x="686" y="3"/>
                  </a:cxn>
                  <a:cxn ang="0">
                    <a:pos x="720" y="19"/>
                  </a:cxn>
                  <a:cxn ang="0">
                    <a:pos x="744" y="49"/>
                  </a:cxn>
                  <a:cxn ang="0">
                    <a:pos x="753" y="88"/>
                  </a:cxn>
                  <a:cxn ang="0">
                    <a:pos x="751" y="1805"/>
                  </a:cxn>
                  <a:cxn ang="0">
                    <a:pos x="734" y="1840"/>
                  </a:cxn>
                  <a:cxn ang="0">
                    <a:pos x="704" y="1863"/>
                  </a:cxn>
                  <a:cxn ang="0">
                    <a:pos x="666" y="1872"/>
                  </a:cxn>
                  <a:cxn ang="0">
                    <a:pos x="68" y="1870"/>
                  </a:cxn>
                  <a:cxn ang="0">
                    <a:pos x="33" y="1853"/>
                  </a:cxn>
                  <a:cxn ang="0">
                    <a:pos x="10" y="1824"/>
                  </a:cxn>
                  <a:cxn ang="0">
                    <a:pos x="0" y="1785"/>
                  </a:cxn>
                  <a:cxn ang="0">
                    <a:pos x="3" y="67"/>
                  </a:cxn>
                  <a:cxn ang="0">
                    <a:pos x="20" y="33"/>
                  </a:cxn>
                  <a:cxn ang="0">
                    <a:pos x="50" y="9"/>
                  </a:cxn>
                  <a:cxn ang="0">
                    <a:pos x="88" y="0"/>
                  </a:cxn>
                </a:cxnLst>
                <a:rect l="0" t="0" r="r" b="b"/>
                <a:pathLst>
                  <a:path w="753" h="1872">
                    <a:moveTo>
                      <a:pt x="88" y="18"/>
                    </a:moveTo>
                    <a:lnTo>
                      <a:pt x="72" y="19"/>
                    </a:lnTo>
                    <a:lnTo>
                      <a:pt x="57" y="25"/>
                    </a:lnTo>
                    <a:lnTo>
                      <a:pt x="44" y="33"/>
                    </a:lnTo>
                    <a:lnTo>
                      <a:pt x="33" y="44"/>
                    </a:lnTo>
                    <a:lnTo>
                      <a:pt x="25" y="56"/>
                    </a:lnTo>
                    <a:lnTo>
                      <a:pt x="20" y="72"/>
                    </a:lnTo>
                    <a:lnTo>
                      <a:pt x="18" y="88"/>
                    </a:lnTo>
                    <a:lnTo>
                      <a:pt x="18" y="1785"/>
                    </a:lnTo>
                    <a:lnTo>
                      <a:pt x="20" y="1801"/>
                    </a:lnTo>
                    <a:lnTo>
                      <a:pt x="25" y="1816"/>
                    </a:lnTo>
                    <a:lnTo>
                      <a:pt x="33" y="1829"/>
                    </a:lnTo>
                    <a:lnTo>
                      <a:pt x="44" y="1840"/>
                    </a:lnTo>
                    <a:lnTo>
                      <a:pt x="57" y="1848"/>
                    </a:lnTo>
                    <a:lnTo>
                      <a:pt x="72" y="1853"/>
                    </a:lnTo>
                    <a:lnTo>
                      <a:pt x="88" y="1855"/>
                    </a:lnTo>
                    <a:lnTo>
                      <a:pt x="666" y="1855"/>
                    </a:lnTo>
                    <a:lnTo>
                      <a:pt x="682" y="1853"/>
                    </a:lnTo>
                    <a:lnTo>
                      <a:pt x="697" y="1848"/>
                    </a:lnTo>
                    <a:lnTo>
                      <a:pt x="709" y="1840"/>
                    </a:lnTo>
                    <a:lnTo>
                      <a:pt x="720" y="1829"/>
                    </a:lnTo>
                    <a:lnTo>
                      <a:pt x="729" y="1816"/>
                    </a:lnTo>
                    <a:lnTo>
                      <a:pt x="734" y="1801"/>
                    </a:lnTo>
                    <a:lnTo>
                      <a:pt x="735" y="1785"/>
                    </a:lnTo>
                    <a:lnTo>
                      <a:pt x="735" y="88"/>
                    </a:lnTo>
                    <a:lnTo>
                      <a:pt x="734" y="72"/>
                    </a:lnTo>
                    <a:lnTo>
                      <a:pt x="729" y="56"/>
                    </a:lnTo>
                    <a:lnTo>
                      <a:pt x="720" y="44"/>
                    </a:lnTo>
                    <a:lnTo>
                      <a:pt x="709" y="33"/>
                    </a:lnTo>
                    <a:lnTo>
                      <a:pt x="697" y="25"/>
                    </a:lnTo>
                    <a:lnTo>
                      <a:pt x="682" y="19"/>
                    </a:lnTo>
                    <a:lnTo>
                      <a:pt x="666" y="18"/>
                    </a:lnTo>
                    <a:lnTo>
                      <a:pt x="88" y="18"/>
                    </a:lnTo>
                    <a:close/>
                    <a:moveTo>
                      <a:pt x="88" y="0"/>
                    </a:moveTo>
                    <a:lnTo>
                      <a:pt x="666" y="0"/>
                    </a:lnTo>
                    <a:lnTo>
                      <a:pt x="686" y="3"/>
                    </a:lnTo>
                    <a:lnTo>
                      <a:pt x="704" y="9"/>
                    </a:lnTo>
                    <a:lnTo>
                      <a:pt x="720" y="19"/>
                    </a:lnTo>
                    <a:lnTo>
                      <a:pt x="734" y="33"/>
                    </a:lnTo>
                    <a:lnTo>
                      <a:pt x="744" y="49"/>
                    </a:lnTo>
                    <a:lnTo>
                      <a:pt x="751" y="67"/>
                    </a:lnTo>
                    <a:lnTo>
                      <a:pt x="753" y="88"/>
                    </a:lnTo>
                    <a:lnTo>
                      <a:pt x="753" y="1785"/>
                    </a:lnTo>
                    <a:lnTo>
                      <a:pt x="751" y="1805"/>
                    </a:lnTo>
                    <a:lnTo>
                      <a:pt x="744" y="1824"/>
                    </a:lnTo>
                    <a:lnTo>
                      <a:pt x="734" y="1840"/>
                    </a:lnTo>
                    <a:lnTo>
                      <a:pt x="720" y="1853"/>
                    </a:lnTo>
                    <a:lnTo>
                      <a:pt x="704" y="1863"/>
                    </a:lnTo>
                    <a:lnTo>
                      <a:pt x="686" y="1870"/>
                    </a:lnTo>
                    <a:lnTo>
                      <a:pt x="666" y="1872"/>
                    </a:lnTo>
                    <a:lnTo>
                      <a:pt x="88" y="1872"/>
                    </a:lnTo>
                    <a:lnTo>
                      <a:pt x="68" y="1870"/>
                    </a:lnTo>
                    <a:lnTo>
                      <a:pt x="50" y="1863"/>
                    </a:lnTo>
                    <a:lnTo>
                      <a:pt x="33" y="1853"/>
                    </a:lnTo>
                    <a:lnTo>
                      <a:pt x="20" y="1840"/>
                    </a:lnTo>
                    <a:lnTo>
                      <a:pt x="10" y="1824"/>
                    </a:lnTo>
                    <a:lnTo>
                      <a:pt x="3" y="1805"/>
                    </a:lnTo>
                    <a:lnTo>
                      <a:pt x="0" y="1785"/>
                    </a:lnTo>
                    <a:lnTo>
                      <a:pt x="0" y="88"/>
                    </a:lnTo>
                    <a:lnTo>
                      <a:pt x="3" y="67"/>
                    </a:lnTo>
                    <a:lnTo>
                      <a:pt x="10" y="49"/>
                    </a:lnTo>
                    <a:lnTo>
                      <a:pt x="20" y="33"/>
                    </a:lnTo>
                    <a:lnTo>
                      <a:pt x="33" y="19"/>
                    </a:lnTo>
                    <a:lnTo>
                      <a:pt x="50" y="9"/>
                    </a:lnTo>
                    <a:lnTo>
                      <a:pt x="68" y="3"/>
                    </a:lnTo>
                    <a:lnTo>
                      <a:pt x="88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  <a:shade val="30000"/>
                      <a:satMod val="115000"/>
                    </a:schemeClr>
                  </a:gs>
                  <a:gs pos="50000">
                    <a:schemeClr val="tx1">
                      <a:lumMod val="75000"/>
                      <a:lumOff val="25000"/>
                      <a:shade val="67500"/>
                      <a:satMod val="115000"/>
                    </a:schemeClr>
                  </a:gs>
                  <a:gs pos="100000">
                    <a:schemeClr val="tx1">
                      <a:lumMod val="75000"/>
                      <a:lumOff val="2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5" name="Freeform 24"/>
              <p:cNvSpPr>
                <a:spLocks/>
              </p:cNvSpPr>
              <p:nvPr/>
            </p:nvSpPr>
            <p:spPr bwMode="auto">
              <a:xfrm>
                <a:off x="1903412" y="1853606"/>
                <a:ext cx="322607" cy="75880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3" y="0"/>
                  </a:cxn>
                  <a:cxn ang="0">
                    <a:pos x="213" y="501"/>
                  </a:cxn>
                  <a:cxn ang="0">
                    <a:pos x="163" y="501"/>
                  </a:cxn>
                  <a:cxn ang="0">
                    <a:pos x="163" y="250"/>
                  </a:cxn>
                  <a:cxn ang="0">
                    <a:pos x="0" y="0"/>
                  </a:cxn>
                </a:cxnLst>
                <a:rect l="0" t="0" r="r" b="b"/>
                <a:pathLst>
                  <a:path w="213" h="501">
                    <a:moveTo>
                      <a:pt x="0" y="0"/>
                    </a:moveTo>
                    <a:lnTo>
                      <a:pt x="213" y="0"/>
                    </a:lnTo>
                    <a:lnTo>
                      <a:pt x="213" y="501"/>
                    </a:lnTo>
                    <a:lnTo>
                      <a:pt x="163" y="501"/>
                    </a:lnTo>
                    <a:lnTo>
                      <a:pt x="163" y="25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6" name="Freeform 25"/>
              <p:cNvSpPr>
                <a:spLocks/>
              </p:cNvSpPr>
              <p:nvPr/>
            </p:nvSpPr>
            <p:spPr bwMode="auto">
              <a:xfrm>
                <a:off x="1903412" y="2724491"/>
                <a:ext cx="322607" cy="75880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3" y="0"/>
                  </a:cxn>
                  <a:cxn ang="0">
                    <a:pos x="213" y="501"/>
                  </a:cxn>
                  <a:cxn ang="0">
                    <a:pos x="163" y="501"/>
                  </a:cxn>
                  <a:cxn ang="0">
                    <a:pos x="163" y="250"/>
                  </a:cxn>
                  <a:cxn ang="0">
                    <a:pos x="0" y="0"/>
                  </a:cxn>
                </a:cxnLst>
                <a:rect l="0" t="0" r="r" b="b"/>
                <a:pathLst>
                  <a:path w="213" h="501">
                    <a:moveTo>
                      <a:pt x="0" y="0"/>
                    </a:moveTo>
                    <a:lnTo>
                      <a:pt x="213" y="0"/>
                    </a:lnTo>
                    <a:lnTo>
                      <a:pt x="213" y="501"/>
                    </a:lnTo>
                    <a:lnTo>
                      <a:pt x="163" y="501"/>
                    </a:lnTo>
                    <a:lnTo>
                      <a:pt x="163" y="25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7" name="Freeform 26"/>
              <p:cNvSpPr>
                <a:spLocks/>
              </p:cNvSpPr>
              <p:nvPr/>
            </p:nvSpPr>
            <p:spPr bwMode="auto">
              <a:xfrm>
                <a:off x="1903412" y="3554483"/>
                <a:ext cx="322607" cy="75729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3" y="0"/>
                  </a:cxn>
                  <a:cxn ang="0">
                    <a:pos x="213" y="500"/>
                  </a:cxn>
                  <a:cxn ang="0">
                    <a:pos x="163" y="500"/>
                  </a:cxn>
                  <a:cxn ang="0">
                    <a:pos x="163" y="250"/>
                  </a:cxn>
                  <a:cxn ang="0">
                    <a:pos x="0" y="0"/>
                  </a:cxn>
                </a:cxnLst>
                <a:rect l="0" t="0" r="r" b="b"/>
                <a:pathLst>
                  <a:path w="213" h="500">
                    <a:moveTo>
                      <a:pt x="0" y="0"/>
                    </a:moveTo>
                    <a:lnTo>
                      <a:pt x="213" y="0"/>
                    </a:lnTo>
                    <a:lnTo>
                      <a:pt x="213" y="500"/>
                    </a:lnTo>
                    <a:lnTo>
                      <a:pt x="163" y="500"/>
                    </a:lnTo>
                    <a:lnTo>
                      <a:pt x="163" y="25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8" name="Freeform 27"/>
              <p:cNvSpPr>
                <a:spLocks/>
              </p:cNvSpPr>
              <p:nvPr/>
            </p:nvSpPr>
            <p:spPr bwMode="auto">
              <a:xfrm>
                <a:off x="3358926" y="1853606"/>
                <a:ext cx="321092" cy="75880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2" y="0"/>
                  </a:cxn>
                  <a:cxn ang="0">
                    <a:pos x="50" y="250"/>
                  </a:cxn>
                  <a:cxn ang="0">
                    <a:pos x="50" y="501"/>
                  </a:cxn>
                  <a:cxn ang="0">
                    <a:pos x="0" y="501"/>
                  </a:cxn>
                  <a:cxn ang="0">
                    <a:pos x="0" y="0"/>
                  </a:cxn>
                </a:cxnLst>
                <a:rect l="0" t="0" r="r" b="b"/>
                <a:pathLst>
                  <a:path w="212" h="501">
                    <a:moveTo>
                      <a:pt x="0" y="0"/>
                    </a:moveTo>
                    <a:lnTo>
                      <a:pt x="212" y="0"/>
                    </a:lnTo>
                    <a:lnTo>
                      <a:pt x="50" y="250"/>
                    </a:lnTo>
                    <a:lnTo>
                      <a:pt x="50" y="501"/>
                    </a:lnTo>
                    <a:lnTo>
                      <a:pt x="0" y="501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9" name="Freeform 28"/>
              <p:cNvSpPr>
                <a:spLocks/>
              </p:cNvSpPr>
              <p:nvPr/>
            </p:nvSpPr>
            <p:spPr bwMode="auto">
              <a:xfrm>
                <a:off x="3358926" y="2724491"/>
                <a:ext cx="321092" cy="75880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2" y="0"/>
                  </a:cxn>
                  <a:cxn ang="0">
                    <a:pos x="50" y="250"/>
                  </a:cxn>
                  <a:cxn ang="0">
                    <a:pos x="50" y="501"/>
                  </a:cxn>
                  <a:cxn ang="0">
                    <a:pos x="0" y="501"/>
                  </a:cxn>
                  <a:cxn ang="0">
                    <a:pos x="0" y="0"/>
                  </a:cxn>
                </a:cxnLst>
                <a:rect l="0" t="0" r="r" b="b"/>
                <a:pathLst>
                  <a:path w="212" h="501">
                    <a:moveTo>
                      <a:pt x="0" y="0"/>
                    </a:moveTo>
                    <a:lnTo>
                      <a:pt x="212" y="0"/>
                    </a:lnTo>
                    <a:lnTo>
                      <a:pt x="50" y="250"/>
                    </a:lnTo>
                    <a:lnTo>
                      <a:pt x="50" y="501"/>
                    </a:lnTo>
                    <a:lnTo>
                      <a:pt x="0" y="501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60" name="Freeform 29"/>
              <p:cNvSpPr>
                <a:spLocks/>
              </p:cNvSpPr>
              <p:nvPr/>
            </p:nvSpPr>
            <p:spPr bwMode="auto">
              <a:xfrm>
                <a:off x="3358926" y="3554483"/>
                <a:ext cx="321092" cy="75729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2" y="0"/>
                  </a:cxn>
                  <a:cxn ang="0">
                    <a:pos x="50" y="250"/>
                  </a:cxn>
                  <a:cxn ang="0">
                    <a:pos x="50" y="500"/>
                  </a:cxn>
                  <a:cxn ang="0">
                    <a:pos x="0" y="500"/>
                  </a:cxn>
                  <a:cxn ang="0">
                    <a:pos x="0" y="0"/>
                  </a:cxn>
                </a:cxnLst>
                <a:rect l="0" t="0" r="r" b="b"/>
                <a:pathLst>
                  <a:path w="212" h="500">
                    <a:moveTo>
                      <a:pt x="0" y="0"/>
                    </a:moveTo>
                    <a:lnTo>
                      <a:pt x="212" y="0"/>
                    </a:lnTo>
                    <a:lnTo>
                      <a:pt x="50" y="250"/>
                    </a:lnTo>
                    <a:lnTo>
                      <a:pt x="50" y="500"/>
                    </a:lnTo>
                    <a:lnTo>
                      <a:pt x="0" y="50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grpSp>
            <p:nvGrpSpPr>
              <p:cNvPr id="461" name="Group 33"/>
              <p:cNvGrpSpPr/>
              <p:nvPr/>
            </p:nvGrpSpPr>
            <p:grpSpPr>
              <a:xfrm>
                <a:off x="2442604" y="1894500"/>
                <a:ext cx="708825" cy="707311"/>
                <a:chOff x="5722938" y="1676401"/>
                <a:chExt cx="742950" cy="741363"/>
              </a:xfrm>
              <a:effectLst>
                <a:outerShdw blurRad="38100" dist="63500" dir="2700000" algn="tl" rotWithShape="0">
                  <a:prstClr val="black">
                    <a:alpha val="99000"/>
                  </a:prstClr>
                </a:outerShdw>
              </a:effectLst>
            </p:grpSpPr>
            <p:sp>
              <p:nvSpPr>
                <p:cNvPr id="468" name="Freeform 17"/>
                <p:cNvSpPr>
                  <a:spLocks/>
                </p:cNvSpPr>
                <p:nvPr/>
              </p:nvSpPr>
              <p:spPr bwMode="auto">
                <a:xfrm>
                  <a:off x="5722938" y="1676401"/>
                  <a:ext cx="742950" cy="741363"/>
                </a:xfrm>
                <a:custGeom>
                  <a:avLst/>
                  <a:gdLst/>
                  <a:ahLst/>
                  <a:cxnLst>
                    <a:cxn ang="0">
                      <a:pos x="234" y="0"/>
                    </a:cxn>
                    <a:cxn ang="0">
                      <a:pos x="266" y="2"/>
                    </a:cxn>
                    <a:cxn ang="0">
                      <a:pos x="296" y="8"/>
                    </a:cxn>
                    <a:cxn ang="0">
                      <a:pos x="325" y="18"/>
                    </a:cxn>
                    <a:cxn ang="0">
                      <a:pos x="352" y="32"/>
                    </a:cxn>
                    <a:cxn ang="0">
                      <a:pos x="377" y="48"/>
                    </a:cxn>
                    <a:cxn ang="0">
                      <a:pos x="400" y="68"/>
                    </a:cxn>
                    <a:cxn ang="0">
                      <a:pos x="420" y="90"/>
                    </a:cxn>
                    <a:cxn ang="0">
                      <a:pos x="436" y="115"/>
                    </a:cxn>
                    <a:cxn ang="0">
                      <a:pos x="450" y="142"/>
                    </a:cxn>
                    <a:cxn ang="0">
                      <a:pos x="460" y="171"/>
                    </a:cxn>
                    <a:cxn ang="0">
                      <a:pos x="466" y="201"/>
                    </a:cxn>
                    <a:cxn ang="0">
                      <a:pos x="468" y="233"/>
                    </a:cxn>
                    <a:cxn ang="0">
                      <a:pos x="466" y="265"/>
                    </a:cxn>
                    <a:cxn ang="0">
                      <a:pos x="460" y="295"/>
                    </a:cxn>
                    <a:cxn ang="0">
                      <a:pos x="450" y="324"/>
                    </a:cxn>
                    <a:cxn ang="0">
                      <a:pos x="436" y="351"/>
                    </a:cxn>
                    <a:cxn ang="0">
                      <a:pos x="420" y="376"/>
                    </a:cxn>
                    <a:cxn ang="0">
                      <a:pos x="400" y="399"/>
                    </a:cxn>
                    <a:cxn ang="0">
                      <a:pos x="377" y="418"/>
                    </a:cxn>
                    <a:cxn ang="0">
                      <a:pos x="352" y="435"/>
                    </a:cxn>
                    <a:cxn ang="0">
                      <a:pos x="325" y="449"/>
                    </a:cxn>
                    <a:cxn ang="0">
                      <a:pos x="296" y="459"/>
                    </a:cxn>
                    <a:cxn ang="0">
                      <a:pos x="266" y="465"/>
                    </a:cxn>
                    <a:cxn ang="0">
                      <a:pos x="234" y="467"/>
                    </a:cxn>
                    <a:cxn ang="0">
                      <a:pos x="202" y="465"/>
                    </a:cxn>
                    <a:cxn ang="0">
                      <a:pos x="171" y="459"/>
                    </a:cxn>
                    <a:cxn ang="0">
                      <a:pos x="142" y="449"/>
                    </a:cxn>
                    <a:cxn ang="0">
                      <a:pos x="116" y="435"/>
                    </a:cxn>
                    <a:cxn ang="0">
                      <a:pos x="91" y="418"/>
                    </a:cxn>
                    <a:cxn ang="0">
                      <a:pos x="68" y="399"/>
                    </a:cxn>
                    <a:cxn ang="0">
                      <a:pos x="49" y="376"/>
                    </a:cxn>
                    <a:cxn ang="0">
                      <a:pos x="32" y="351"/>
                    </a:cxn>
                    <a:cxn ang="0">
                      <a:pos x="18" y="324"/>
                    </a:cxn>
                    <a:cxn ang="0">
                      <a:pos x="8" y="295"/>
                    </a:cxn>
                    <a:cxn ang="0">
                      <a:pos x="2" y="265"/>
                    </a:cxn>
                    <a:cxn ang="0">
                      <a:pos x="0" y="233"/>
                    </a:cxn>
                    <a:cxn ang="0">
                      <a:pos x="2" y="201"/>
                    </a:cxn>
                    <a:cxn ang="0">
                      <a:pos x="8" y="171"/>
                    </a:cxn>
                    <a:cxn ang="0">
                      <a:pos x="18" y="142"/>
                    </a:cxn>
                    <a:cxn ang="0">
                      <a:pos x="32" y="115"/>
                    </a:cxn>
                    <a:cxn ang="0">
                      <a:pos x="49" y="90"/>
                    </a:cxn>
                    <a:cxn ang="0">
                      <a:pos x="68" y="68"/>
                    </a:cxn>
                    <a:cxn ang="0">
                      <a:pos x="91" y="48"/>
                    </a:cxn>
                    <a:cxn ang="0">
                      <a:pos x="116" y="32"/>
                    </a:cxn>
                    <a:cxn ang="0">
                      <a:pos x="142" y="18"/>
                    </a:cxn>
                    <a:cxn ang="0">
                      <a:pos x="171" y="8"/>
                    </a:cxn>
                    <a:cxn ang="0">
                      <a:pos x="202" y="2"/>
                    </a:cxn>
                    <a:cxn ang="0">
                      <a:pos x="234" y="0"/>
                    </a:cxn>
                  </a:cxnLst>
                  <a:rect l="0" t="0" r="r" b="b"/>
                  <a:pathLst>
                    <a:path w="468" h="467">
                      <a:moveTo>
                        <a:pt x="234" y="0"/>
                      </a:moveTo>
                      <a:lnTo>
                        <a:pt x="266" y="2"/>
                      </a:lnTo>
                      <a:lnTo>
                        <a:pt x="296" y="8"/>
                      </a:lnTo>
                      <a:lnTo>
                        <a:pt x="325" y="18"/>
                      </a:lnTo>
                      <a:lnTo>
                        <a:pt x="352" y="32"/>
                      </a:lnTo>
                      <a:lnTo>
                        <a:pt x="377" y="48"/>
                      </a:lnTo>
                      <a:lnTo>
                        <a:pt x="400" y="68"/>
                      </a:lnTo>
                      <a:lnTo>
                        <a:pt x="420" y="90"/>
                      </a:lnTo>
                      <a:lnTo>
                        <a:pt x="436" y="115"/>
                      </a:lnTo>
                      <a:lnTo>
                        <a:pt x="450" y="142"/>
                      </a:lnTo>
                      <a:lnTo>
                        <a:pt x="460" y="171"/>
                      </a:lnTo>
                      <a:lnTo>
                        <a:pt x="466" y="201"/>
                      </a:lnTo>
                      <a:lnTo>
                        <a:pt x="468" y="233"/>
                      </a:lnTo>
                      <a:lnTo>
                        <a:pt x="466" y="265"/>
                      </a:lnTo>
                      <a:lnTo>
                        <a:pt x="460" y="295"/>
                      </a:lnTo>
                      <a:lnTo>
                        <a:pt x="450" y="324"/>
                      </a:lnTo>
                      <a:lnTo>
                        <a:pt x="436" y="351"/>
                      </a:lnTo>
                      <a:lnTo>
                        <a:pt x="420" y="376"/>
                      </a:lnTo>
                      <a:lnTo>
                        <a:pt x="400" y="399"/>
                      </a:lnTo>
                      <a:lnTo>
                        <a:pt x="377" y="418"/>
                      </a:lnTo>
                      <a:lnTo>
                        <a:pt x="352" y="435"/>
                      </a:lnTo>
                      <a:lnTo>
                        <a:pt x="325" y="449"/>
                      </a:lnTo>
                      <a:lnTo>
                        <a:pt x="296" y="459"/>
                      </a:lnTo>
                      <a:lnTo>
                        <a:pt x="266" y="465"/>
                      </a:lnTo>
                      <a:lnTo>
                        <a:pt x="234" y="467"/>
                      </a:lnTo>
                      <a:lnTo>
                        <a:pt x="202" y="465"/>
                      </a:lnTo>
                      <a:lnTo>
                        <a:pt x="171" y="459"/>
                      </a:lnTo>
                      <a:lnTo>
                        <a:pt x="142" y="449"/>
                      </a:lnTo>
                      <a:lnTo>
                        <a:pt x="116" y="435"/>
                      </a:lnTo>
                      <a:lnTo>
                        <a:pt x="91" y="418"/>
                      </a:lnTo>
                      <a:lnTo>
                        <a:pt x="68" y="399"/>
                      </a:lnTo>
                      <a:lnTo>
                        <a:pt x="49" y="376"/>
                      </a:lnTo>
                      <a:lnTo>
                        <a:pt x="32" y="351"/>
                      </a:lnTo>
                      <a:lnTo>
                        <a:pt x="18" y="324"/>
                      </a:lnTo>
                      <a:lnTo>
                        <a:pt x="8" y="295"/>
                      </a:lnTo>
                      <a:lnTo>
                        <a:pt x="2" y="265"/>
                      </a:lnTo>
                      <a:lnTo>
                        <a:pt x="0" y="233"/>
                      </a:lnTo>
                      <a:lnTo>
                        <a:pt x="2" y="201"/>
                      </a:lnTo>
                      <a:lnTo>
                        <a:pt x="8" y="171"/>
                      </a:lnTo>
                      <a:lnTo>
                        <a:pt x="18" y="142"/>
                      </a:lnTo>
                      <a:lnTo>
                        <a:pt x="32" y="115"/>
                      </a:lnTo>
                      <a:lnTo>
                        <a:pt x="49" y="90"/>
                      </a:lnTo>
                      <a:lnTo>
                        <a:pt x="68" y="68"/>
                      </a:lnTo>
                      <a:lnTo>
                        <a:pt x="91" y="48"/>
                      </a:lnTo>
                      <a:lnTo>
                        <a:pt x="116" y="32"/>
                      </a:lnTo>
                      <a:lnTo>
                        <a:pt x="142" y="18"/>
                      </a:lnTo>
                      <a:lnTo>
                        <a:pt x="171" y="8"/>
                      </a:lnTo>
                      <a:lnTo>
                        <a:pt x="202" y="2"/>
                      </a:lnTo>
                      <a:lnTo>
                        <a:pt x="234" y="0"/>
                      </a:lnTo>
                      <a:close/>
                    </a:path>
                  </a:pathLst>
                </a:custGeom>
                <a:noFill/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128302" tIns="64151" rIns="128302" bIns="6415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710448"/>
                  <a:endParaRPr lang="en-US" sz="3368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469" name="Freeform 18"/>
                <p:cNvSpPr>
                  <a:spLocks/>
                </p:cNvSpPr>
                <p:nvPr/>
              </p:nvSpPr>
              <p:spPr bwMode="auto">
                <a:xfrm>
                  <a:off x="5746750" y="2032001"/>
                  <a:ext cx="695325" cy="36036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" y="31"/>
                    </a:cxn>
                    <a:cxn ang="0">
                      <a:pos x="12" y="61"/>
                    </a:cxn>
                    <a:cxn ang="0">
                      <a:pos x="23" y="89"/>
                    </a:cxn>
                    <a:cxn ang="0">
                      <a:pos x="38" y="115"/>
                    </a:cxn>
                    <a:cxn ang="0">
                      <a:pos x="56" y="138"/>
                    </a:cxn>
                    <a:cxn ang="0">
                      <a:pos x="78" y="159"/>
                    </a:cxn>
                    <a:cxn ang="0">
                      <a:pos x="102" y="176"/>
                    </a:cxn>
                    <a:cxn ang="0">
                      <a:pos x="128" y="190"/>
                    </a:cxn>
                    <a:cxn ang="0">
                      <a:pos x="157" y="200"/>
                    </a:cxn>
                    <a:cxn ang="0">
                      <a:pos x="187" y="207"/>
                    </a:cxn>
                    <a:cxn ang="0">
                      <a:pos x="219" y="209"/>
                    </a:cxn>
                    <a:cxn ang="0">
                      <a:pos x="250" y="207"/>
                    </a:cxn>
                    <a:cxn ang="0">
                      <a:pos x="280" y="200"/>
                    </a:cxn>
                    <a:cxn ang="0">
                      <a:pos x="309" y="190"/>
                    </a:cxn>
                    <a:cxn ang="0">
                      <a:pos x="335" y="176"/>
                    </a:cxn>
                    <a:cxn ang="0">
                      <a:pos x="360" y="159"/>
                    </a:cxn>
                    <a:cxn ang="0">
                      <a:pos x="381" y="138"/>
                    </a:cxn>
                    <a:cxn ang="0">
                      <a:pos x="399" y="115"/>
                    </a:cxn>
                    <a:cxn ang="0">
                      <a:pos x="414" y="89"/>
                    </a:cxn>
                    <a:cxn ang="0">
                      <a:pos x="426" y="61"/>
                    </a:cxn>
                    <a:cxn ang="0">
                      <a:pos x="433" y="31"/>
                    </a:cxn>
                    <a:cxn ang="0">
                      <a:pos x="437" y="0"/>
                    </a:cxn>
                    <a:cxn ang="0">
                      <a:pos x="437" y="3"/>
                    </a:cxn>
                    <a:cxn ang="0">
                      <a:pos x="438" y="6"/>
                    </a:cxn>
                    <a:cxn ang="0">
                      <a:pos x="438" y="8"/>
                    </a:cxn>
                    <a:cxn ang="0">
                      <a:pos x="436" y="41"/>
                    </a:cxn>
                    <a:cxn ang="0">
                      <a:pos x="429" y="71"/>
                    </a:cxn>
                    <a:cxn ang="0">
                      <a:pos x="417" y="100"/>
                    </a:cxn>
                    <a:cxn ang="0">
                      <a:pos x="403" y="127"/>
                    </a:cxn>
                    <a:cxn ang="0">
                      <a:pos x="384" y="152"/>
                    </a:cxn>
                    <a:cxn ang="0">
                      <a:pos x="363" y="173"/>
                    </a:cxn>
                    <a:cxn ang="0">
                      <a:pos x="338" y="192"/>
                    </a:cxn>
                    <a:cxn ang="0">
                      <a:pos x="311" y="206"/>
                    </a:cxn>
                    <a:cxn ang="0">
                      <a:pos x="282" y="218"/>
                    </a:cxn>
                    <a:cxn ang="0">
                      <a:pos x="251" y="225"/>
                    </a:cxn>
                    <a:cxn ang="0">
                      <a:pos x="219" y="227"/>
                    </a:cxn>
                    <a:cxn ang="0">
                      <a:pos x="186" y="225"/>
                    </a:cxn>
                    <a:cxn ang="0">
                      <a:pos x="155" y="218"/>
                    </a:cxn>
                    <a:cxn ang="0">
                      <a:pos x="127" y="206"/>
                    </a:cxn>
                    <a:cxn ang="0">
                      <a:pos x="100" y="192"/>
                    </a:cxn>
                    <a:cxn ang="0">
                      <a:pos x="76" y="173"/>
                    </a:cxn>
                    <a:cxn ang="0">
                      <a:pos x="53" y="152"/>
                    </a:cxn>
                    <a:cxn ang="0">
                      <a:pos x="35" y="127"/>
                    </a:cxn>
                    <a:cxn ang="0">
                      <a:pos x="21" y="100"/>
                    </a:cxn>
                    <a:cxn ang="0">
                      <a:pos x="9" y="71"/>
                    </a:cxn>
                    <a:cxn ang="0">
                      <a:pos x="2" y="41"/>
                    </a:cxn>
                    <a:cxn ang="0">
                      <a:pos x="0" y="8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38" h="227">
                      <a:moveTo>
                        <a:pt x="0" y="0"/>
                      </a:moveTo>
                      <a:lnTo>
                        <a:pt x="4" y="31"/>
                      </a:lnTo>
                      <a:lnTo>
                        <a:pt x="12" y="61"/>
                      </a:lnTo>
                      <a:lnTo>
                        <a:pt x="23" y="89"/>
                      </a:lnTo>
                      <a:lnTo>
                        <a:pt x="38" y="115"/>
                      </a:lnTo>
                      <a:lnTo>
                        <a:pt x="56" y="138"/>
                      </a:lnTo>
                      <a:lnTo>
                        <a:pt x="78" y="159"/>
                      </a:lnTo>
                      <a:lnTo>
                        <a:pt x="102" y="176"/>
                      </a:lnTo>
                      <a:lnTo>
                        <a:pt x="128" y="190"/>
                      </a:lnTo>
                      <a:lnTo>
                        <a:pt x="157" y="200"/>
                      </a:lnTo>
                      <a:lnTo>
                        <a:pt x="187" y="207"/>
                      </a:lnTo>
                      <a:lnTo>
                        <a:pt x="219" y="209"/>
                      </a:lnTo>
                      <a:lnTo>
                        <a:pt x="250" y="207"/>
                      </a:lnTo>
                      <a:lnTo>
                        <a:pt x="280" y="200"/>
                      </a:lnTo>
                      <a:lnTo>
                        <a:pt x="309" y="190"/>
                      </a:lnTo>
                      <a:lnTo>
                        <a:pt x="335" y="176"/>
                      </a:lnTo>
                      <a:lnTo>
                        <a:pt x="360" y="159"/>
                      </a:lnTo>
                      <a:lnTo>
                        <a:pt x="381" y="138"/>
                      </a:lnTo>
                      <a:lnTo>
                        <a:pt x="399" y="115"/>
                      </a:lnTo>
                      <a:lnTo>
                        <a:pt x="414" y="89"/>
                      </a:lnTo>
                      <a:lnTo>
                        <a:pt x="426" y="61"/>
                      </a:lnTo>
                      <a:lnTo>
                        <a:pt x="433" y="31"/>
                      </a:lnTo>
                      <a:lnTo>
                        <a:pt x="437" y="0"/>
                      </a:lnTo>
                      <a:lnTo>
                        <a:pt x="437" y="3"/>
                      </a:lnTo>
                      <a:lnTo>
                        <a:pt x="438" y="6"/>
                      </a:lnTo>
                      <a:lnTo>
                        <a:pt x="438" y="8"/>
                      </a:lnTo>
                      <a:lnTo>
                        <a:pt x="436" y="41"/>
                      </a:lnTo>
                      <a:lnTo>
                        <a:pt x="429" y="71"/>
                      </a:lnTo>
                      <a:lnTo>
                        <a:pt x="417" y="100"/>
                      </a:lnTo>
                      <a:lnTo>
                        <a:pt x="403" y="127"/>
                      </a:lnTo>
                      <a:lnTo>
                        <a:pt x="384" y="152"/>
                      </a:lnTo>
                      <a:lnTo>
                        <a:pt x="363" y="173"/>
                      </a:lnTo>
                      <a:lnTo>
                        <a:pt x="338" y="192"/>
                      </a:lnTo>
                      <a:lnTo>
                        <a:pt x="311" y="206"/>
                      </a:lnTo>
                      <a:lnTo>
                        <a:pt x="282" y="218"/>
                      </a:lnTo>
                      <a:lnTo>
                        <a:pt x="251" y="225"/>
                      </a:lnTo>
                      <a:lnTo>
                        <a:pt x="219" y="227"/>
                      </a:lnTo>
                      <a:lnTo>
                        <a:pt x="186" y="225"/>
                      </a:lnTo>
                      <a:lnTo>
                        <a:pt x="155" y="218"/>
                      </a:lnTo>
                      <a:lnTo>
                        <a:pt x="127" y="206"/>
                      </a:lnTo>
                      <a:lnTo>
                        <a:pt x="100" y="192"/>
                      </a:lnTo>
                      <a:lnTo>
                        <a:pt x="76" y="173"/>
                      </a:lnTo>
                      <a:lnTo>
                        <a:pt x="53" y="152"/>
                      </a:lnTo>
                      <a:lnTo>
                        <a:pt x="35" y="127"/>
                      </a:lnTo>
                      <a:lnTo>
                        <a:pt x="21" y="100"/>
                      </a:lnTo>
                      <a:lnTo>
                        <a:pt x="9" y="71"/>
                      </a:lnTo>
                      <a:lnTo>
                        <a:pt x="2" y="41"/>
                      </a:ln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>
                    <a:alpha val="33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128302" tIns="64151" rIns="128302" bIns="6415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710448"/>
                  <a:endParaRPr lang="en-US" sz="3368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462" name="Group 34"/>
              <p:cNvGrpSpPr/>
              <p:nvPr/>
            </p:nvGrpSpPr>
            <p:grpSpPr>
              <a:xfrm>
                <a:off x="2442610" y="1937231"/>
                <a:ext cx="708826" cy="1502142"/>
                <a:chOff x="5722937" y="1721192"/>
                <a:chExt cx="742950" cy="1574459"/>
              </a:xfrm>
              <a:effectLst>
                <a:outerShdw blurRad="38100" dist="63500" dir="2700000" algn="tl" rotWithShape="0">
                  <a:prstClr val="black">
                    <a:alpha val="99000"/>
                  </a:prstClr>
                </a:outerShdw>
              </a:effectLst>
            </p:grpSpPr>
            <p:sp>
              <p:nvSpPr>
                <p:cNvPr id="466" name="Freeform 13"/>
                <p:cNvSpPr>
                  <a:spLocks/>
                </p:cNvSpPr>
                <p:nvPr/>
              </p:nvSpPr>
              <p:spPr bwMode="auto">
                <a:xfrm>
                  <a:off x="5722937" y="1721192"/>
                  <a:ext cx="742950" cy="741363"/>
                </a:xfrm>
                <a:custGeom>
                  <a:avLst/>
                  <a:gdLst/>
                  <a:ahLst/>
                  <a:cxnLst>
                    <a:cxn ang="0">
                      <a:pos x="234" y="0"/>
                    </a:cxn>
                    <a:cxn ang="0">
                      <a:pos x="266" y="2"/>
                    </a:cxn>
                    <a:cxn ang="0">
                      <a:pos x="296" y="8"/>
                    </a:cxn>
                    <a:cxn ang="0">
                      <a:pos x="325" y="18"/>
                    </a:cxn>
                    <a:cxn ang="0">
                      <a:pos x="352" y="32"/>
                    </a:cxn>
                    <a:cxn ang="0">
                      <a:pos x="377" y="48"/>
                    </a:cxn>
                    <a:cxn ang="0">
                      <a:pos x="400" y="68"/>
                    </a:cxn>
                    <a:cxn ang="0">
                      <a:pos x="420" y="90"/>
                    </a:cxn>
                    <a:cxn ang="0">
                      <a:pos x="436" y="115"/>
                    </a:cxn>
                    <a:cxn ang="0">
                      <a:pos x="450" y="142"/>
                    </a:cxn>
                    <a:cxn ang="0">
                      <a:pos x="460" y="171"/>
                    </a:cxn>
                    <a:cxn ang="0">
                      <a:pos x="466" y="201"/>
                    </a:cxn>
                    <a:cxn ang="0">
                      <a:pos x="468" y="233"/>
                    </a:cxn>
                    <a:cxn ang="0">
                      <a:pos x="466" y="265"/>
                    </a:cxn>
                    <a:cxn ang="0">
                      <a:pos x="460" y="295"/>
                    </a:cxn>
                    <a:cxn ang="0">
                      <a:pos x="450" y="324"/>
                    </a:cxn>
                    <a:cxn ang="0">
                      <a:pos x="436" y="351"/>
                    </a:cxn>
                    <a:cxn ang="0">
                      <a:pos x="420" y="376"/>
                    </a:cxn>
                    <a:cxn ang="0">
                      <a:pos x="400" y="398"/>
                    </a:cxn>
                    <a:cxn ang="0">
                      <a:pos x="377" y="418"/>
                    </a:cxn>
                    <a:cxn ang="0">
                      <a:pos x="352" y="435"/>
                    </a:cxn>
                    <a:cxn ang="0">
                      <a:pos x="325" y="448"/>
                    </a:cxn>
                    <a:cxn ang="0">
                      <a:pos x="296" y="458"/>
                    </a:cxn>
                    <a:cxn ang="0">
                      <a:pos x="266" y="464"/>
                    </a:cxn>
                    <a:cxn ang="0">
                      <a:pos x="234" y="467"/>
                    </a:cxn>
                    <a:cxn ang="0">
                      <a:pos x="202" y="464"/>
                    </a:cxn>
                    <a:cxn ang="0">
                      <a:pos x="171" y="458"/>
                    </a:cxn>
                    <a:cxn ang="0">
                      <a:pos x="142" y="448"/>
                    </a:cxn>
                    <a:cxn ang="0">
                      <a:pos x="116" y="435"/>
                    </a:cxn>
                    <a:cxn ang="0">
                      <a:pos x="91" y="418"/>
                    </a:cxn>
                    <a:cxn ang="0">
                      <a:pos x="68" y="398"/>
                    </a:cxn>
                    <a:cxn ang="0">
                      <a:pos x="49" y="376"/>
                    </a:cxn>
                    <a:cxn ang="0">
                      <a:pos x="32" y="351"/>
                    </a:cxn>
                    <a:cxn ang="0">
                      <a:pos x="18" y="324"/>
                    </a:cxn>
                    <a:cxn ang="0">
                      <a:pos x="8" y="295"/>
                    </a:cxn>
                    <a:cxn ang="0">
                      <a:pos x="2" y="265"/>
                    </a:cxn>
                    <a:cxn ang="0">
                      <a:pos x="0" y="233"/>
                    </a:cxn>
                    <a:cxn ang="0">
                      <a:pos x="2" y="201"/>
                    </a:cxn>
                    <a:cxn ang="0">
                      <a:pos x="8" y="171"/>
                    </a:cxn>
                    <a:cxn ang="0">
                      <a:pos x="18" y="142"/>
                    </a:cxn>
                    <a:cxn ang="0">
                      <a:pos x="32" y="115"/>
                    </a:cxn>
                    <a:cxn ang="0">
                      <a:pos x="49" y="90"/>
                    </a:cxn>
                    <a:cxn ang="0">
                      <a:pos x="68" y="68"/>
                    </a:cxn>
                    <a:cxn ang="0">
                      <a:pos x="91" y="48"/>
                    </a:cxn>
                    <a:cxn ang="0">
                      <a:pos x="116" y="32"/>
                    </a:cxn>
                    <a:cxn ang="0">
                      <a:pos x="142" y="18"/>
                    </a:cxn>
                    <a:cxn ang="0">
                      <a:pos x="171" y="8"/>
                    </a:cxn>
                    <a:cxn ang="0">
                      <a:pos x="202" y="2"/>
                    </a:cxn>
                    <a:cxn ang="0">
                      <a:pos x="234" y="0"/>
                    </a:cxn>
                  </a:cxnLst>
                  <a:rect l="0" t="0" r="r" b="b"/>
                  <a:pathLst>
                    <a:path w="468" h="467">
                      <a:moveTo>
                        <a:pt x="234" y="0"/>
                      </a:moveTo>
                      <a:lnTo>
                        <a:pt x="266" y="2"/>
                      </a:lnTo>
                      <a:lnTo>
                        <a:pt x="296" y="8"/>
                      </a:lnTo>
                      <a:lnTo>
                        <a:pt x="325" y="18"/>
                      </a:lnTo>
                      <a:lnTo>
                        <a:pt x="352" y="32"/>
                      </a:lnTo>
                      <a:lnTo>
                        <a:pt x="377" y="48"/>
                      </a:lnTo>
                      <a:lnTo>
                        <a:pt x="400" y="68"/>
                      </a:lnTo>
                      <a:lnTo>
                        <a:pt x="420" y="90"/>
                      </a:lnTo>
                      <a:lnTo>
                        <a:pt x="436" y="115"/>
                      </a:lnTo>
                      <a:lnTo>
                        <a:pt x="450" y="142"/>
                      </a:lnTo>
                      <a:lnTo>
                        <a:pt x="460" y="171"/>
                      </a:lnTo>
                      <a:lnTo>
                        <a:pt x="466" y="201"/>
                      </a:lnTo>
                      <a:lnTo>
                        <a:pt x="468" y="233"/>
                      </a:lnTo>
                      <a:lnTo>
                        <a:pt x="466" y="265"/>
                      </a:lnTo>
                      <a:lnTo>
                        <a:pt x="460" y="295"/>
                      </a:lnTo>
                      <a:lnTo>
                        <a:pt x="450" y="324"/>
                      </a:lnTo>
                      <a:lnTo>
                        <a:pt x="436" y="351"/>
                      </a:lnTo>
                      <a:lnTo>
                        <a:pt x="420" y="376"/>
                      </a:lnTo>
                      <a:lnTo>
                        <a:pt x="400" y="398"/>
                      </a:lnTo>
                      <a:lnTo>
                        <a:pt x="377" y="418"/>
                      </a:lnTo>
                      <a:lnTo>
                        <a:pt x="352" y="435"/>
                      </a:lnTo>
                      <a:lnTo>
                        <a:pt x="325" y="448"/>
                      </a:lnTo>
                      <a:lnTo>
                        <a:pt x="296" y="458"/>
                      </a:lnTo>
                      <a:lnTo>
                        <a:pt x="266" y="464"/>
                      </a:lnTo>
                      <a:lnTo>
                        <a:pt x="234" y="467"/>
                      </a:lnTo>
                      <a:lnTo>
                        <a:pt x="202" y="464"/>
                      </a:lnTo>
                      <a:lnTo>
                        <a:pt x="171" y="458"/>
                      </a:lnTo>
                      <a:lnTo>
                        <a:pt x="142" y="448"/>
                      </a:lnTo>
                      <a:lnTo>
                        <a:pt x="116" y="435"/>
                      </a:lnTo>
                      <a:lnTo>
                        <a:pt x="91" y="418"/>
                      </a:lnTo>
                      <a:lnTo>
                        <a:pt x="68" y="398"/>
                      </a:lnTo>
                      <a:lnTo>
                        <a:pt x="49" y="376"/>
                      </a:lnTo>
                      <a:lnTo>
                        <a:pt x="32" y="351"/>
                      </a:lnTo>
                      <a:lnTo>
                        <a:pt x="18" y="324"/>
                      </a:lnTo>
                      <a:lnTo>
                        <a:pt x="8" y="295"/>
                      </a:lnTo>
                      <a:lnTo>
                        <a:pt x="2" y="265"/>
                      </a:lnTo>
                      <a:lnTo>
                        <a:pt x="0" y="233"/>
                      </a:lnTo>
                      <a:lnTo>
                        <a:pt x="2" y="201"/>
                      </a:lnTo>
                      <a:lnTo>
                        <a:pt x="8" y="171"/>
                      </a:lnTo>
                      <a:lnTo>
                        <a:pt x="18" y="142"/>
                      </a:lnTo>
                      <a:lnTo>
                        <a:pt x="32" y="115"/>
                      </a:lnTo>
                      <a:lnTo>
                        <a:pt x="49" y="90"/>
                      </a:lnTo>
                      <a:lnTo>
                        <a:pt x="68" y="68"/>
                      </a:lnTo>
                      <a:lnTo>
                        <a:pt x="91" y="48"/>
                      </a:lnTo>
                      <a:lnTo>
                        <a:pt x="116" y="32"/>
                      </a:lnTo>
                      <a:lnTo>
                        <a:pt x="142" y="18"/>
                      </a:lnTo>
                      <a:lnTo>
                        <a:pt x="171" y="8"/>
                      </a:lnTo>
                      <a:lnTo>
                        <a:pt x="202" y="2"/>
                      </a:lnTo>
                      <a:lnTo>
                        <a:pt x="234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128302" tIns="64151" rIns="128302" bIns="6415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710448"/>
                  <a:endParaRPr lang="en-US" sz="3368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467" name="Freeform 14"/>
                <p:cNvSpPr>
                  <a:spLocks/>
                </p:cNvSpPr>
                <p:nvPr/>
              </p:nvSpPr>
              <p:spPr bwMode="auto">
                <a:xfrm>
                  <a:off x="5746750" y="2935288"/>
                  <a:ext cx="695325" cy="36036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" y="31"/>
                    </a:cxn>
                    <a:cxn ang="0">
                      <a:pos x="12" y="60"/>
                    </a:cxn>
                    <a:cxn ang="0">
                      <a:pos x="23" y="89"/>
                    </a:cxn>
                    <a:cxn ang="0">
                      <a:pos x="38" y="114"/>
                    </a:cxn>
                    <a:cxn ang="0">
                      <a:pos x="56" y="137"/>
                    </a:cxn>
                    <a:cxn ang="0">
                      <a:pos x="78" y="158"/>
                    </a:cxn>
                    <a:cxn ang="0">
                      <a:pos x="102" y="176"/>
                    </a:cxn>
                    <a:cxn ang="0">
                      <a:pos x="128" y="190"/>
                    </a:cxn>
                    <a:cxn ang="0">
                      <a:pos x="157" y="200"/>
                    </a:cxn>
                    <a:cxn ang="0">
                      <a:pos x="187" y="207"/>
                    </a:cxn>
                    <a:cxn ang="0">
                      <a:pos x="219" y="209"/>
                    </a:cxn>
                    <a:cxn ang="0">
                      <a:pos x="250" y="207"/>
                    </a:cxn>
                    <a:cxn ang="0">
                      <a:pos x="280" y="200"/>
                    </a:cxn>
                    <a:cxn ang="0">
                      <a:pos x="309" y="190"/>
                    </a:cxn>
                    <a:cxn ang="0">
                      <a:pos x="335" y="176"/>
                    </a:cxn>
                    <a:cxn ang="0">
                      <a:pos x="360" y="158"/>
                    </a:cxn>
                    <a:cxn ang="0">
                      <a:pos x="381" y="137"/>
                    </a:cxn>
                    <a:cxn ang="0">
                      <a:pos x="399" y="114"/>
                    </a:cxn>
                    <a:cxn ang="0">
                      <a:pos x="414" y="89"/>
                    </a:cxn>
                    <a:cxn ang="0">
                      <a:pos x="426" y="60"/>
                    </a:cxn>
                    <a:cxn ang="0">
                      <a:pos x="433" y="31"/>
                    </a:cxn>
                    <a:cxn ang="0">
                      <a:pos x="437" y="0"/>
                    </a:cxn>
                    <a:cxn ang="0">
                      <a:pos x="437" y="3"/>
                    </a:cxn>
                    <a:cxn ang="0">
                      <a:pos x="438" y="5"/>
                    </a:cxn>
                    <a:cxn ang="0">
                      <a:pos x="438" y="8"/>
                    </a:cxn>
                    <a:cxn ang="0">
                      <a:pos x="436" y="41"/>
                    </a:cxn>
                    <a:cxn ang="0">
                      <a:pos x="429" y="71"/>
                    </a:cxn>
                    <a:cxn ang="0">
                      <a:pos x="417" y="100"/>
                    </a:cxn>
                    <a:cxn ang="0">
                      <a:pos x="403" y="127"/>
                    </a:cxn>
                    <a:cxn ang="0">
                      <a:pos x="384" y="152"/>
                    </a:cxn>
                    <a:cxn ang="0">
                      <a:pos x="363" y="173"/>
                    </a:cxn>
                    <a:cxn ang="0">
                      <a:pos x="338" y="192"/>
                    </a:cxn>
                    <a:cxn ang="0">
                      <a:pos x="311" y="206"/>
                    </a:cxn>
                    <a:cxn ang="0">
                      <a:pos x="282" y="218"/>
                    </a:cxn>
                    <a:cxn ang="0">
                      <a:pos x="251" y="224"/>
                    </a:cxn>
                    <a:cxn ang="0">
                      <a:pos x="219" y="227"/>
                    </a:cxn>
                    <a:cxn ang="0">
                      <a:pos x="186" y="224"/>
                    </a:cxn>
                    <a:cxn ang="0">
                      <a:pos x="155" y="218"/>
                    </a:cxn>
                    <a:cxn ang="0">
                      <a:pos x="127" y="206"/>
                    </a:cxn>
                    <a:cxn ang="0">
                      <a:pos x="100" y="192"/>
                    </a:cxn>
                    <a:cxn ang="0">
                      <a:pos x="76" y="173"/>
                    </a:cxn>
                    <a:cxn ang="0">
                      <a:pos x="53" y="152"/>
                    </a:cxn>
                    <a:cxn ang="0">
                      <a:pos x="35" y="127"/>
                    </a:cxn>
                    <a:cxn ang="0">
                      <a:pos x="21" y="100"/>
                    </a:cxn>
                    <a:cxn ang="0">
                      <a:pos x="9" y="71"/>
                    </a:cxn>
                    <a:cxn ang="0">
                      <a:pos x="2" y="41"/>
                    </a:cxn>
                    <a:cxn ang="0">
                      <a:pos x="0" y="8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38" h="227">
                      <a:moveTo>
                        <a:pt x="0" y="0"/>
                      </a:moveTo>
                      <a:lnTo>
                        <a:pt x="4" y="31"/>
                      </a:lnTo>
                      <a:lnTo>
                        <a:pt x="12" y="60"/>
                      </a:lnTo>
                      <a:lnTo>
                        <a:pt x="23" y="89"/>
                      </a:lnTo>
                      <a:lnTo>
                        <a:pt x="38" y="114"/>
                      </a:lnTo>
                      <a:lnTo>
                        <a:pt x="56" y="137"/>
                      </a:lnTo>
                      <a:lnTo>
                        <a:pt x="78" y="158"/>
                      </a:lnTo>
                      <a:lnTo>
                        <a:pt x="102" y="176"/>
                      </a:lnTo>
                      <a:lnTo>
                        <a:pt x="128" y="190"/>
                      </a:lnTo>
                      <a:lnTo>
                        <a:pt x="157" y="200"/>
                      </a:lnTo>
                      <a:lnTo>
                        <a:pt x="187" y="207"/>
                      </a:lnTo>
                      <a:lnTo>
                        <a:pt x="219" y="209"/>
                      </a:lnTo>
                      <a:lnTo>
                        <a:pt x="250" y="207"/>
                      </a:lnTo>
                      <a:lnTo>
                        <a:pt x="280" y="200"/>
                      </a:lnTo>
                      <a:lnTo>
                        <a:pt x="309" y="190"/>
                      </a:lnTo>
                      <a:lnTo>
                        <a:pt x="335" y="176"/>
                      </a:lnTo>
                      <a:lnTo>
                        <a:pt x="360" y="158"/>
                      </a:lnTo>
                      <a:lnTo>
                        <a:pt x="381" y="137"/>
                      </a:lnTo>
                      <a:lnTo>
                        <a:pt x="399" y="114"/>
                      </a:lnTo>
                      <a:lnTo>
                        <a:pt x="414" y="89"/>
                      </a:lnTo>
                      <a:lnTo>
                        <a:pt x="426" y="60"/>
                      </a:lnTo>
                      <a:lnTo>
                        <a:pt x="433" y="31"/>
                      </a:lnTo>
                      <a:lnTo>
                        <a:pt x="437" y="0"/>
                      </a:lnTo>
                      <a:lnTo>
                        <a:pt x="437" y="3"/>
                      </a:lnTo>
                      <a:lnTo>
                        <a:pt x="438" y="5"/>
                      </a:lnTo>
                      <a:lnTo>
                        <a:pt x="438" y="8"/>
                      </a:lnTo>
                      <a:lnTo>
                        <a:pt x="436" y="41"/>
                      </a:lnTo>
                      <a:lnTo>
                        <a:pt x="429" y="71"/>
                      </a:lnTo>
                      <a:lnTo>
                        <a:pt x="417" y="100"/>
                      </a:lnTo>
                      <a:lnTo>
                        <a:pt x="403" y="127"/>
                      </a:lnTo>
                      <a:lnTo>
                        <a:pt x="384" y="152"/>
                      </a:lnTo>
                      <a:lnTo>
                        <a:pt x="363" y="173"/>
                      </a:lnTo>
                      <a:lnTo>
                        <a:pt x="338" y="192"/>
                      </a:lnTo>
                      <a:lnTo>
                        <a:pt x="311" y="206"/>
                      </a:lnTo>
                      <a:lnTo>
                        <a:pt x="282" y="218"/>
                      </a:lnTo>
                      <a:lnTo>
                        <a:pt x="251" y="224"/>
                      </a:lnTo>
                      <a:lnTo>
                        <a:pt x="219" y="227"/>
                      </a:lnTo>
                      <a:lnTo>
                        <a:pt x="186" y="224"/>
                      </a:lnTo>
                      <a:lnTo>
                        <a:pt x="155" y="218"/>
                      </a:lnTo>
                      <a:lnTo>
                        <a:pt x="127" y="206"/>
                      </a:lnTo>
                      <a:lnTo>
                        <a:pt x="100" y="192"/>
                      </a:lnTo>
                      <a:lnTo>
                        <a:pt x="76" y="173"/>
                      </a:lnTo>
                      <a:lnTo>
                        <a:pt x="53" y="152"/>
                      </a:lnTo>
                      <a:lnTo>
                        <a:pt x="35" y="127"/>
                      </a:lnTo>
                      <a:lnTo>
                        <a:pt x="21" y="100"/>
                      </a:lnTo>
                      <a:lnTo>
                        <a:pt x="9" y="71"/>
                      </a:lnTo>
                      <a:lnTo>
                        <a:pt x="2" y="41"/>
                      </a:ln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>
                    <a:alpha val="33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128302" tIns="64151" rIns="128302" bIns="6415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710448"/>
                  <a:endParaRPr lang="en-US" sz="3368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463" name="Group 35"/>
              <p:cNvGrpSpPr/>
              <p:nvPr/>
            </p:nvGrpSpPr>
            <p:grpSpPr>
              <a:xfrm>
                <a:off x="2442609" y="3616581"/>
                <a:ext cx="708825" cy="708825"/>
                <a:chOff x="5722943" y="3481390"/>
                <a:chExt cx="742950" cy="742950"/>
              </a:xfrm>
              <a:effectLst>
                <a:outerShdw blurRad="38100" dist="63500" dir="2700000" algn="tl" rotWithShape="0">
                  <a:prstClr val="black">
                    <a:alpha val="99000"/>
                  </a:prstClr>
                </a:outerShdw>
              </a:effectLst>
            </p:grpSpPr>
            <p:sp>
              <p:nvSpPr>
                <p:cNvPr id="464" name="Freeform 9"/>
                <p:cNvSpPr>
                  <a:spLocks/>
                </p:cNvSpPr>
                <p:nvPr/>
              </p:nvSpPr>
              <p:spPr bwMode="auto">
                <a:xfrm>
                  <a:off x="5722943" y="3481390"/>
                  <a:ext cx="742950" cy="742950"/>
                </a:xfrm>
                <a:custGeom>
                  <a:avLst/>
                  <a:gdLst/>
                  <a:ahLst/>
                  <a:cxnLst>
                    <a:cxn ang="0">
                      <a:pos x="234" y="0"/>
                    </a:cxn>
                    <a:cxn ang="0">
                      <a:pos x="266" y="3"/>
                    </a:cxn>
                    <a:cxn ang="0">
                      <a:pos x="296" y="9"/>
                    </a:cxn>
                    <a:cxn ang="0">
                      <a:pos x="325" y="19"/>
                    </a:cxn>
                    <a:cxn ang="0">
                      <a:pos x="352" y="32"/>
                    </a:cxn>
                    <a:cxn ang="0">
                      <a:pos x="377" y="49"/>
                    </a:cxn>
                    <a:cxn ang="0">
                      <a:pos x="400" y="69"/>
                    </a:cxn>
                    <a:cxn ang="0">
                      <a:pos x="420" y="91"/>
                    </a:cxn>
                    <a:cxn ang="0">
                      <a:pos x="436" y="116"/>
                    </a:cxn>
                    <a:cxn ang="0">
                      <a:pos x="450" y="142"/>
                    </a:cxn>
                    <a:cxn ang="0">
                      <a:pos x="460" y="171"/>
                    </a:cxn>
                    <a:cxn ang="0">
                      <a:pos x="466" y="202"/>
                    </a:cxn>
                    <a:cxn ang="0">
                      <a:pos x="468" y="234"/>
                    </a:cxn>
                    <a:cxn ang="0">
                      <a:pos x="466" y="266"/>
                    </a:cxn>
                    <a:cxn ang="0">
                      <a:pos x="460" y="296"/>
                    </a:cxn>
                    <a:cxn ang="0">
                      <a:pos x="450" y="325"/>
                    </a:cxn>
                    <a:cxn ang="0">
                      <a:pos x="436" y="351"/>
                    </a:cxn>
                    <a:cxn ang="0">
                      <a:pos x="420" y="376"/>
                    </a:cxn>
                    <a:cxn ang="0">
                      <a:pos x="400" y="399"/>
                    </a:cxn>
                    <a:cxn ang="0">
                      <a:pos x="377" y="419"/>
                    </a:cxn>
                    <a:cxn ang="0">
                      <a:pos x="352" y="436"/>
                    </a:cxn>
                    <a:cxn ang="0">
                      <a:pos x="325" y="449"/>
                    </a:cxn>
                    <a:cxn ang="0">
                      <a:pos x="296" y="459"/>
                    </a:cxn>
                    <a:cxn ang="0">
                      <a:pos x="266" y="465"/>
                    </a:cxn>
                    <a:cxn ang="0">
                      <a:pos x="234" y="468"/>
                    </a:cxn>
                    <a:cxn ang="0">
                      <a:pos x="202" y="465"/>
                    </a:cxn>
                    <a:cxn ang="0">
                      <a:pos x="171" y="459"/>
                    </a:cxn>
                    <a:cxn ang="0">
                      <a:pos x="142" y="449"/>
                    </a:cxn>
                    <a:cxn ang="0">
                      <a:pos x="116" y="436"/>
                    </a:cxn>
                    <a:cxn ang="0">
                      <a:pos x="91" y="419"/>
                    </a:cxn>
                    <a:cxn ang="0">
                      <a:pos x="68" y="399"/>
                    </a:cxn>
                    <a:cxn ang="0">
                      <a:pos x="49" y="376"/>
                    </a:cxn>
                    <a:cxn ang="0">
                      <a:pos x="32" y="351"/>
                    </a:cxn>
                    <a:cxn ang="0">
                      <a:pos x="18" y="325"/>
                    </a:cxn>
                    <a:cxn ang="0">
                      <a:pos x="8" y="296"/>
                    </a:cxn>
                    <a:cxn ang="0">
                      <a:pos x="2" y="266"/>
                    </a:cxn>
                    <a:cxn ang="0">
                      <a:pos x="0" y="234"/>
                    </a:cxn>
                    <a:cxn ang="0">
                      <a:pos x="2" y="202"/>
                    </a:cxn>
                    <a:cxn ang="0">
                      <a:pos x="8" y="171"/>
                    </a:cxn>
                    <a:cxn ang="0">
                      <a:pos x="18" y="142"/>
                    </a:cxn>
                    <a:cxn ang="0">
                      <a:pos x="32" y="116"/>
                    </a:cxn>
                    <a:cxn ang="0">
                      <a:pos x="49" y="91"/>
                    </a:cxn>
                    <a:cxn ang="0">
                      <a:pos x="68" y="69"/>
                    </a:cxn>
                    <a:cxn ang="0">
                      <a:pos x="91" y="49"/>
                    </a:cxn>
                    <a:cxn ang="0">
                      <a:pos x="116" y="32"/>
                    </a:cxn>
                    <a:cxn ang="0">
                      <a:pos x="142" y="19"/>
                    </a:cxn>
                    <a:cxn ang="0">
                      <a:pos x="171" y="9"/>
                    </a:cxn>
                    <a:cxn ang="0">
                      <a:pos x="202" y="3"/>
                    </a:cxn>
                    <a:cxn ang="0">
                      <a:pos x="234" y="0"/>
                    </a:cxn>
                  </a:cxnLst>
                  <a:rect l="0" t="0" r="r" b="b"/>
                  <a:pathLst>
                    <a:path w="468" h="468">
                      <a:moveTo>
                        <a:pt x="234" y="0"/>
                      </a:moveTo>
                      <a:lnTo>
                        <a:pt x="266" y="3"/>
                      </a:lnTo>
                      <a:lnTo>
                        <a:pt x="296" y="9"/>
                      </a:lnTo>
                      <a:lnTo>
                        <a:pt x="325" y="19"/>
                      </a:lnTo>
                      <a:lnTo>
                        <a:pt x="352" y="32"/>
                      </a:lnTo>
                      <a:lnTo>
                        <a:pt x="377" y="49"/>
                      </a:lnTo>
                      <a:lnTo>
                        <a:pt x="400" y="69"/>
                      </a:lnTo>
                      <a:lnTo>
                        <a:pt x="420" y="91"/>
                      </a:lnTo>
                      <a:lnTo>
                        <a:pt x="436" y="116"/>
                      </a:lnTo>
                      <a:lnTo>
                        <a:pt x="450" y="142"/>
                      </a:lnTo>
                      <a:lnTo>
                        <a:pt x="460" y="171"/>
                      </a:lnTo>
                      <a:lnTo>
                        <a:pt x="466" y="202"/>
                      </a:lnTo>
                      <a:lnTo>
                        <a:pt x="468" y="234"/>
                      </a:lnTo>
                      <a:lnTo>
                        <a:pt x="466" y="266"/>
                      </a:lnTo>
                      <a:lnTo>
                        <a:pt x="460" y="296"/>
                      </a:lnTo>
                      <a:lnTo>
                        <a:pt x="450" y="325"/>
                      </a:lnTo>
                      <a:lnTo>
                        <a:pt x="436" y="351"/>
                      </a:lnTo>
                      <a:lnTo>
                        <a:pt x="420" y="376"/>
                      </a:lnTo>
                      <a:lnTo>
                        <a:pt x="400" y="399"/>
                      </a:lnTo>
                      <a:lnTo>
                        <a:pt x="377" y="419"/>
                      </a:lnTo>
                      <a:lnTo>
                        <a:pt x="352" y="436"/>
                      </a:lnTo>
                      <a:lnTo>
                        <a:pt x="325" y="449"/>
                      </a:lnTo>
                      <a:lnTo>
                        <a:pt x="296" y="459"/>
                      </a:lnTo>
                      <a:lnTo>
                        <a:pt x="266" y="465"/>
                      </a:lnTo>
                      <a:lnTo>
                        <a:pt x="234" y="468"/>
                      </a:lnTo>
                      <a:lnTo>
                        <a:pt x="202" y="465"/>
                      </a:lnTo>
                      <a:lnTo>
                        <a:pt x="171" y="459"/>
                      </a:lnTo>
                      <a:lnTo>
                        <a:pt x="142" y="449"/>
                      </a:lnTo>
                      <a:lnTo>
                        <a:pt x="116" y="436"/>
                      </a:lnTo>
                      <a:lnTo>
                        <a:pt x="91" y="419"/>
                      </a:lnTo>
                      <a:lnTo>
                        <a:pt x="68" y="399"/>
                      </a:lnTo>
                      <a:lnTo>
                        <a:pt x="49" y="376"/>
                      </a:lnTo>
                      <a:lnTo>
                        <a:pt x="32" y="351"/>
                      </a:lnTo>
                      <a:lnTo>
                        <a:pt x="18" y="325"/>
                      </a:lnTo>
                      <a:lnTo>
                        <a:pt x="8" y="296"/>
                      </a:lnTo>
                      <a:lnTo>
                        <a:pt x="2" y="266"/>
                      </a:lnTo>
                      <a:lnTo>
                        <a:pt x="0" y="234"/>
                      </a:lnTo>
                      <a:lnTo>
                        <a:pt x="2" y="202"/>
                      </a:lnTo>
                      <a:lnTo>
                        <a:pt x="8" y="171"/>
                      </a:lnTo>
                      <a:lnTo>
                        <a:pt x="18" y="142"/>
                      </a:lnTo>
                      <a:lnTo>
                        <a:pt x="32" y="116"/>
                      </a:lnTo>
                      <a:lnTo>
                        <a:pt x="49" y="91"/>
                      </a:lnTo>
                      <a:lnTo>
                        <a:pt x="68" y="69"/>
                      </a:lnTo>
                      <a:lnTo>
                        <a:pt x="91" y="49"/>
                      </a:lnTo>
                      <a:lnTo>
                        <a:pt x="116" y="32"/>
                      </a:lnTo>
                      <a:lnTo>
                        <a:pt x="142" y="19"/>
                      </a:lnTo>
                      <a:lnTo>
                        <a:pt x="171" y="9"/>
                      </a:lnTo>
                      <a:lnTo>
                        <a:pt x="202" y="3"/>
                      </a:lnTo>
                      <a:lnTo>
                        <a:pt x="234" y="0"/>
                      </a:lnTo>
                      <a:close/>
                    </a:path>
                  </a:pathLst>
                </a:custGeom>
                <a:noFill/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128302" tIns="64151" rIns="128302" bIns="6415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710448"/>
                  <a:endParaRPr lang="en-US" sz="3368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465" name="Freeform 12"/>
                <p:cNvSpPr>
                  <a:spLocks/>
                </p:cNvSpPr>
                <p:nvPr/>
              </p:nvSpPr>
              <p:spPr bwMode="auto">
                <a:xfrm>
                  <a:off x="5746750" y="3838576"/>
                  <a:ext cx="695325" cy="36036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" y="31"/>
                    </a:cxn>
                    <a:cxn ang="0">
                      <a:pos x="12" y="60"/>
                    </a:cxn>
                    <a:cxn ang="0">
                      <a:pos x="23" y="88"/>
                    </a:cxn>
                    <a:cxn ang="0">
                      <a:pos x="38" y="114"/>
                    </a:cxn>
                    <a:cxn ang="0">
                      <a:pos x="56" y="137"/>
                    </a:cxn>
                    <a:cxn ang="0">
                      <a:pos x="78" y="157"/>
                    </a:cxn>
                    <a:cxn ang="0">
                      <a:pos x="102" y="176"/>
                    </a:cxn>
                    <a:cxn ang="0">
                      <a:pos x="128" y="189"/>
                    </a:cxn>
                    <a:cxn ang="0">
                      <a:pos x="157" y="200"/>
                    </a:cxn>
                    <a:cxn ang="0">
                      <a:pos x="187" y="207"/>
                    </a:cxn>
                    <a:cxn ang="0">
                      <a:pos x="219" y="209"/>
                    </a:cxn>
                    <a:cxn ang="0">
                      <a:pos x="250" y="207"/>
                    </a:cxn>
                    <a:cxn ang="0">
                      <a:pos x="280" y="200"/>
                    </a:cxn>
                    <a:cxn ang="0">
                      <a:pos x="309" y="189"/>
                    </a:cxn>
                    <a:cxn ang="0">
                      <a:pos x="335" y="176"/>
                    </a:cxn>
                    <a:cxn ang="0">
                      <a:pos x="360" y="157"/>
                    </a:cxn>
                    <a:cxn ang="0">
                      <a:pos x="381" y="137"/>
                    </a:cxn>
                    <a:cxn ang="0">
                      <a:pos x="399" y="114"/>
                    </a:cxn>
                    <a:cxn ang="0">
                      <a:pos x="414" y="88"/>
                    </a:cxn>
                    <a:cxn ang="0">
                      <a:pos x="426" y="60"/>
                    </a:cxn>
                    <a:cxn ang="0">
                      <a:pos x="433" y="31"/>
                    </a:cxn>
                    <a:cxn ang="0">
                      <a:pos x="437" y="0"/>
                    </a:cxn>
                    <a:cxn ang="0">
                      <a:pos x="437" y="3"/>
                    </a:cxn>
                    <a:cxn ang="0">
                      <a:pos x="438" y="5"/>
                    </a:cxn>
                    <a:cxn ang="0">
                      <a:pos x="438" y="8"/>
                    </a:cxn>
                    <a:cxn ang="0">
                      <a:pos x="436" y="41"/>
                    </a:cxn>
                    <a:cxn ang="0">
                      <a:pos x="429" y="71"/>
                    </a:cxn>
                    <a:cxn ang="0">
                      <a:pos x="417" y="100"/>
                    </a:cxn>
                    <a:cxn ang="0">
                      <a:pos x="403" y="127"/>
                    </a:cxn>
                    <a:cxn ang="0">
                      <a:pos x="384" y="151"/>
                    </a:cxn>
                    <a:cxn ang="0">
                      <a:pos x="363" y="173"/>
                    </a:cxn>
                    <a:cxn ang="0">
                      <a:pos x="338" y="192"/>
                    </a:cxn>
                    <a:cxn ang="0">
                      <a:pos x="311" y="206"/>
                    </a:cxn>
                    <a:cxn ang="0">
                      <a:pos x="282" y="217"/>
                    </a:cxn>
                    <a:cxn ang="0">
                      <a:pos x="251" y="224"/>
                    </a:cxn>
                    <a:cxn ang="0">
                      <a:pos x="219" y="227"/>
                    </a:cxn>
                    <a:cxn ang="0">
                      <a:pos x="186" y="224"/>
                    </a:cxn>
                    <a:cxn ang="0">
                      <a:pos x="155" y="217"/>
                    </a:cxn>
                    <a:cxn ang="0">
                      <a:pos x="127" y="206"/>
                    </a:cxn>
                    <a:cxn ang="0">
                      <a:pos x="100" y="192"/>
                    </a:cxn>
                    <a:cxn ang="0">
                      <a:pos x="76" y="173"/>
                    </a:cxn>
                    <a:cxn ang="0">
                      <a:pos x="53" y="151"/>
                    </a:cxn>
                    <a:cxn ang="0">
                      <a:pos x="35" y="127"/>
                    </a:cxn>
                    <a:cxn ang="0">
                      <a:pos x="21" y="100"/>
                    </a:cxn>
                    <a:cxn ang="0">
                      <a:pos x="9" y="71"/>
                    </a:cxn>
                    <a:cxn ang="0">
                      <a:pos x="2" y="41"/>
                    </a:cxn>
                    <a:cxn ang="0">
                      <a:pos x="0" y="8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38" h="227">
                      <a:moveTo>
                        <a:pt x="0" y="0"/>
                      </a:moveTo>
                      <a:lnTo>
                        <a:pt x="4" y="31"/>
                      </a:lnTo>
                      <a:lnTo>
                        <a:pt x="12" y="60"/>
                      </a:lnTo>
                      <a:lnTo>
                        <a:pt x="23" y="88"/>
                      </a:lnTo>
                      <a:lnTo>
                        <a:pt x="38" y="114"/>
                      </a:lnTo>
                      <a:lnTo>
                        <a:pt x="56" y="137"/>
                      </a:lnTo>
                      <a:lnTo>
                        <a:pt x="78" y="157"/>
                      </a:lnTo>
                      <a:lnTo>
                        <a:pt x="102" y="176"/>
                      </a:lnTo>
                      <a:lnTo>
                        <a:pt x="128" y="189"/>
                      </a:lnTo>
                      <a:lnTo>
                        <a:pt x="157" y="200"/>
                      </a:lnTo>
                      <a:lnTo>
                        <a:pt x="187" y="207"/>
                      </a:lnTo>
                      <a:lnTo>
                        <a:pt x="219" y="209"/>
                      </a:lnTo>
                      <a:lnTo>
                        <a:pt x="250" y="207"/>
                      </a:lnTo>
                      <a:lnTo>
                        <a:pt x="280" y="200"/>
                      </a:lnTo>
                      <a:lnTo>
                        <a:pt x="309" y="189"/>
                      </a:lnTo>
                      <a:lnTo>
                        <a:pt x="335" y="176"/>
                      </a:lnTo>
                      <a:lnTo>
                        <a:pt x="360" y="157"/>
                      </a:lnTo>
                      <a:lnTo>
                        <a:pt x="381" y="137"/>
                      </a:lnTo>
                      <a:lnTo>
                        <a:pt x="399" y="114"/>
                      </a:lnTo>
                      <a:lnTo>
                        <a:pt x="414" y="88"/>
                      </a:lnTo>
                      <a:lnTo>
                        <a:pt x="426" y="60"/>
                      </a:lnTo>
                      <a:lnTo>
                        <a:pt x="433" y="31"/>
                      </a:lnTo>
                      <a:lnTo>
                        <a:pt x="437" y="0"/>
                      </a:lnTo>
                      <a:lnTo>
                        <a:pt x="437" y="3"/>
                      </a:lnTo>
                      <a:lnTo>
                        <a:pt x="438" y="5"/>
                      </a:lnTo>
                      <a:lnTo>
                        <a:pt x="438" y="8"/>
                      </a:lnTo>
                      <a:lnTo>
                        <a:pt x="436" y="41"/>
                      </a:lnTo>
                      <a:lnTo>
                        <a:pt x="429" y="71"/>
                      </a:lnTo>
                      <a:lnTo>
                        <a:pt x="417" y="100"/>
                      </a:lnTo>
                      <a:lnTo>
                        <a:pt x="403" y="127"/>
                      </a:lnTo>
                      <a:lnTo>
                        <a:pt x="384" y="151"/>
                      </a:lnTo>
                      <a:lnTo>
                        <a:pt x="363" y="173"/>
                      </a:lnTo>
                      <a:lnTo>
                        <a:pt x="338" y="192"/>
                      </a:lnTo>
                      <a:lnTo>
                        <a:pt x="311" y="206"/>
                      </a:lnTo>
                      <a:lnTo>
                        <a:pt x="282" y="217"/>
                      </a:lnTo>
                      <a:lnTo>
                        <a:pt x="251" y="224"/>
                      </a:lnTo>
                      <a:lnTo>
                        <a:pt x="219" y="227"/>
                      </a:lnTo>
                      <a:lnTo>
                        <a:pt x="186" y="224"/>
                      </a:lnTo>
                      <a:lnTo>
                        <a:pt x="155" y="217"/>
                      </a:lnTo>
                      <a:lnTo>
                        <a:pt x="127" y="206"/>
                      </a:lnTo>
                      <a:lnTo>
                        <a:pt x="100" y="192"/>
                      </a:lnTo>
                      <a:lnTo>
                        <a:pt x="76" y="173"/>
                      </a:lnTo>
                      <a:lnTo>
                        <a:pt x="53" y="151"/>
                      </a:lnTo>
                      <a:lnTo>
                        <a:pt x="35" y="127"/>
                      </a:lnTo>
                      <a:lnTo>
                        <a:pt x="21" y="100"/>
                      </a:lnTo>
                      <a:lnTo>
                        <a:pt x="9" y="71"/>
                      </a:lnTo>
                      <a:lnTo>
                        <a:pt x="2" y="41"/>
                      </a:ln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>
                    <a:alpha val="33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128302" tIns="64151" rIns="128302" bIns="6415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710448"/>
                  <a:endParaRPr lang="en-US" sz="3368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</p:grpSp>
        </p:grpSp>
      </p:grpSp>
      <p:sp>
        <p:nvSpPr>
          <p:cNvPr id="480" name="Rectangle 479"/>
          <p:cNvSpPr/>
          <p:nvPr/>
        </p:nvSpPr>
        <p:spPr>
          <a:xfrm>
            <a:off x="3652575" y="4610013"/>
            <a:ext cx="1717707" cy="2070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121920" rIns="54611" bIns="54611" rtlCol="0" anchor="t"/>
          <a:lstStyle/>
          <a:p>
            <a:pPr marL="228595" indent="-228595" defTabSz="1058286">
              <a:buFont typeface="Arial" panose="020B0604020202020204" pitchFamily="34" charset="0"/>
              <a:buChar char="•"/>
            </a:pPr>
            <a:r>
              <a:rPr lang="en-US" sz="1200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None Noted</a:t>
            </a:r>
            <a:endParaRPr lang="en-US" sz="1500">
              <a:solidFill>
                <a:prstClr val="white"/>
              </a:solidFill>
              <a:latin typeface="Arial"/>
            </a:endParaRPr>
          </a:p>
        </p:txBody>
      </p:sp>
      <p:sp>
        <p:nvSpPr>
          <p:cNvPr id="481" name="Round Same Side Corner Rectangle 480"/>
          <p:cNvSpPr/>
          <p:nvPr/>
        </p:nvSpPr>
        <p:spPr>
          <a:xfrm>
            <a:off x="3652575" y="4305118"/>
            <a:ext cx="1717707" cy="331382"/>
          </a:xfrm>
          <a:prstGeom prst="round2Same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</p:spPr>
        <p:txBody>
          <a:bodyPr wrap="square" lIns="121920" tIns="0" bIns="60960" anchor="ctr">
            <a:noAutofit/>
          </a:bodyPr>
          <a:lstStyle/>
          <a:p>
            <a:pPr defTabSz="1058286"/>
            <a:r>
              <a:rPr lang="en-US" sz="1400" b="1">
                <a:solidFill>
                  <a:prstClr val="white"/>
                </a:solidFill>
                <a:latin typeface="Arial"/>
                <a:cs typeface="DIN Next LT Arabic"/>
              </a:rPr>
              <a:t>Dependency </a:t>
            </a:r>
          </a:p>
        </p:txBody>
      </p:sp>
      <p:grpSp>
        <p:nvGrpSpPr>
          <p:cNvPr id="482" name="Group 481"/>
          <p:cNvGrpSpPr/>
          <p:nvPr/>
        </p:nvGrpSpPr>
        <p:grpSpPr>
          <a:xfrm>
            <a:off x="3662317" y="6624523"/>
            <a:ext cx="1707969" cy="104129"/>
            <a:chOff x="170119" y="2637607"/>
            <a:chExt cx="2373357" cy="130724"/>
          </a:xfrm>
        </p:grpSpPr>
        <p:sp>
          <p:nvSpPr>
            <p:cNvPr id="483" name="Right Triangle 482"/>
            <p:cNvSpPr/>
            <p:nvPr/>
          </p:nvSpPr>
          <p:spPr>
            <a:xfrm flipH="1" flipV="1">
              <a:off x="173559" y="2637607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484" name="Right Triangle 483"/>
            <p:cNvSpPr/>
            <p:nvPr/>
          </p:nvSpPr>
          <p:spPr>
            <a:xfrm flipV="1">
              <a:off x="170119" y="2637607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</p:grpSp>
      <p:sp>
        <p:nvSpPr>
          <p:cNvPr id="523" name="Rectangle 522"/>
          <p:cNvSpPr/>
          <p:nvPr/>
        </p:nvSpPr>
        <p:spPr>
          <a:xfrm>
            <a:off x="5502664" y="4610013"/>
            <a:ext cx="1717707" cy="2070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121920" rIns="54611" bIns="54611" rtlCol="0" anchor="t"/>
          <a:lstStyle/>
          <a:p>
            <a:pPr marL="228595" indent="-228595" defTabSz="1058286">
              <a:buFont typeface="Arial" panose="020B0604020202020204" pitchFamily="34" charset="0"/>
              <a:buChar char="•"/>
            </a:pPr>
            <a:r>
              <a:rPr lang="en-US" sz="1200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No risks identified</a:t>
            </a:r>
          </a:p>
        </p:txBody>
      </p:sp>
      <p:sp>
        <p:nvSpPr>
          <p:cNvPr id="524" name="Round Same Side Corner Rectangle 523"/>
          <p:cNvSpPr/>
          <p:nvPr/>
        </p:nvSpPr>
        <p:spPr>
          <a:xfrm>
            <a:off x="5502664" y="4305118"/>
            <a:ext cx="1717707" cy="331382"/>
          </a:xfrm>
          <a:prstGeom prst="round2Same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</p:spPr>
        <p:txBody>
          <a:bodyPr wrap="square" lIns="121920" tIns="0" bIns="60960" anchor="ctr">
            <a:noAutofit/>
          </a:bodyPr>
          <a:lstStyle/>
          <a:p>
            <a:pPr defTabSz="1058286"/>
            <a:r>
              <a:rPr lang="en-US" sz="1400" b="1">
                <a:solidFill>
                  <a:prstClr val="white"/>
                </a:solidFill>
                <a:latin typeface="Arial"/>
                <a:cs typeface="DIN Next LT Arabic"/>
              </a:rPr>
              <a:t>Risk</a:t>
            </a:r>
          </a:p>
        </p:txBody>
      </p:sp>
      <p:grpSp>
        <p:nvGrpSpPr>
          <p:cNvPr id="525" name="Group 524"/>
          <p:cNvGrpSpPr/>
          <p:nvPr/>
        </p:nvGrpSpPr>
        <p:grpSpPr>
          <a:xfrm>
            <a:off x="5512403" y="6624523"/>
            <a:ext cx="1707969" cy="104129"/>
            <a:chOff x="170119" y="2637607"/>
            <a:chExt cx="2373357" cy="130724"/>
          </a:xfrm>
        </p:grpSpPr>
        <p:sp>
          <p:nvSpPr>
            <p:cNvPr id="526" name="Right Triangle 525"/>
            <p:cNvSpPr/>
            <p:nvPr/>
          </p:nvSpPr>
          <p:spPr>
            <a:xfrm flipH="1" flipV="1">
              <a:off x="173559" y="2637607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527" name="Right Triangle 526"/>
            <p:cNvSpPr/>
            <p:nvPr/>
          </p:nvSpPr>
          <p:spPr>
            <a:xfrm flipV="1">
              <a:off x="170119" y="2637607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</p:grpSp>
      <p:grpSp>
        <p:nvGrpSpPr>
          <p:cNvPr id="534" name="Group 84"/>
          <p:cNvGrpSpPr>
            <a:grpSpLocks noChangeAspect="1"/>
          </p:cNvGrpSpPr>
          <p:nvPr/>
        </p:nvGrpSpPr>
        <p:grpSpPr bwMode="auto">
          <a:xfrm>
            <a:off x="6855887" y="4334996"/>
            <a:ext cx="310301" cy="267459"/>
            <a:chOff x="3333" y="1722"/>
            <a:chExt cx="1014" cy="874"/>
          </a:xfrm>
          <a:solidFill>
            <a:schemeClr val="bg1"/>
          </a:solidFill>
        </p:grpSpPr>
        <p:sp>
          <p:nvSpPr>
            <p:cNvPr id="535" name="Freeform 85"/>
            <p:cNvSpPr>
              <a:spLocks noEditPoints="1"/>
            </p:cNvSpPr>
            <p:nvPr/>
          </p:nvSpPr>
          <p:spPr bwMode="auto">
            <a:xfrm>
              <a:off x="3333" y="1722"/>
              <a:ext cx="1014" cy="874"/>
            </a:xfrm>
            <a:custGeom>
              <a:avLst/>
              <a:gdLst>
                <a:gd name="T0" fmla="*/ 213 w 426"/>
                <a:gd name="T1" fmla="*/ 366 h 367"/>
                <a:gd name="T2" fmla="*/ 36 w 426"/>
                <a:gd name="T3" fmla="*/ 367 h 367"/>
                <a:gd name="T4" fmla="*/ 6 w 426"/>
                <a:gd name="T5" fmla="*/ 351 h 367"/>
                <a:gd name="T6" fmla="*/ 9 w 426"/>
                <a:gd name="T7" fmla="*/ 318 h 367"/>
                <a:gd name="T8" fmla="*/ 183 w 426"/>
                <a:gd name="T9" fmla="*/ 20 h 367"/>
                <a:gd name="T10" fmla="*/ 214 w 426"/>
                <a:gd name="T11" fmla="*/ 0 h 367"/>
                <a:gd name="T12" fmla="*/ 243 w 426"/>
                <a:gd name="T13" fmla="*/ 20 h 367"/>
                <a:gd name="T14" fmla="*/ 417 w 426"/>
                <a:gd name="T15" fmla="*/ 318 h 367"/>
                <a:gd name="T16" fmla="*/ 420 w 426"/>
                <a:gd name="T17" fmla="*/ 351 h 367"/>
                <a:gd name="T18" fmla="*/ 390 w 426"/>
                <a:gd name="T19" fmla="*/ 367 h 367"/>
                <a:gd name="T20" fmla="*/ 213 w 426"/>
                <a:gd name="T21" fmla="*/ 366 h 367"/>
                <a:gd name="T22" fmla="*/ 213 w 426"/>
                <a:gd name="T23" fmla="*/ 336 h 367"/>
                <a:gd name="T24" fmla="*/ 375 w 426"/>
                <a:gd name="T25" fmla="*/ 336 h 367"/>
                <a:gd name="T26" fmla="*/ 384 w 426"/>
                <a:gd name="T27" fmla="*/ 323 h 367"/>
                <a:gd name="T28" fmla="*/ 221 w 426"/>
                <a:gd name="T29" fmla="*/ 46 h 367"/>
                <a:gd name="T30" fmla="*/ 205 w 426"/>
                <a:gd name="T31" fmla="*/ 45 h 367"/>
                <a:gd name="T32" fmla="*/ 44 w 426"/>
                <a:gd name="T33" fmla="*/ 321 h 367"/>
                <a:gd name="T34" fmla="*/ 54 w 426"/>
                <a:gd name="T35" fmla="*/ 336 h 367"/>
                <a:gd name="T36" fmla="*/ 213 w 426"/>
                <a:gd name="T37" fmla="*/ 336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26" h="367">
                  <a:moveTo>
                    <a:pt x="213" y="366"/>
                  </a:moveTo>
                  <a:cubicBezTo>
                    <a:pt x="154" y="366"/>
                    <a:pt x="95" y="366"/>
                    <a:pt x="36" y="367"/>
                  </a:cubicBezTo>
                  <a:cubicBezTo>
                    <a:pt x="23" y="367"/>
                    <a:pt x="12" y="363"/>
                    <a:pt x="6" y="351"/>
                  </a:cubicBezTo>
                  <a:cubicBezTo>
                    <a:pt x="0" y="340"/>
                    <a:pt x="3" y="329"/>
                    <a:pt x="9" y="318"/>
                  </a:cubicBezTo>
                  <a:cubicBezTo>
                    <a:pt x="67" y="219"/>
                    <a:pt x="125" y="119"/>
                    <a:pt x="183" y="20"/>
                  </a:cubicBezTo>
                  <a:cubicBezTo>
                    <a:pt x="190" y="8"/>
                    <a:pt x="199" y="0"/>
                    <a:pt x="214" y="0"/>
                  </a:cubicBezTo>
                  <a:cubicBezTo>
                    <a:pt x="228" y="0"/>
                    <a:pt x="236" y="9"/>
                    <a:pt x="243" y="20"/>
                  </a:cubicBezTo>
                  <a:cubicBezTo>
                    <a:pt x="300" y="120"/>
                    <a:pt x="358" y="219"/>
                    <a:pt x="417" y="318"/>
                  </a:cubicBezTo>
                  <a:cubicBezTo>
                    <a:pt x="423" y="329"/>
                    <a:pt x="426" y="340"/>
                    <a:pt x="420" y="351"/>
                  </a:cubicBezTo>
                  <a:cubicBezTo>
                    <a:pt x="414" y="363"/>
                    <a:pt x="403" y="367"/>
                    <a:pt x="390" y="367"/>
                  </a:cubicBezTo>
                  <a:cubicBezTo>
                    <a:pt x="331" y="366"/>
                    <a:pt x="272" y="366"/>
                    <a:pt x="213" y="366"/>
                  </a:cubicBezTo>
                  <a:close/>
                  <a:moveTo>
                    <a:pt x="213" y="336"/>
                  </a:moveTo>
                  <a:cubicBezTo>
                    <a:pt x="267" y="336"/>
                    <a:pt x="321" y="336"/>
                    <a:pt x="375" y="336"/>
                  </a:cubicBezTo>
                  <a:cubicBezTo>
                    <a:pt x="383" y="336"/>
                    <a:pt x="392" y="336"/>
                    <a:pt x="384" y="323"/>
                  </a:cubicBezTo>
                  <a:cubicBezTo>
                    <a:pt x="330" y="231"/>
                    <a:pt x="275" y="138"/>
                    <a:pt x="221" y="46"/>
                  </a:cubicBezTo>
                  <a:cubicBezTo>
                    <a:pt x="215" y="35"/>
                    <a:pt x="212" y="33"/>
                    <a:pt x="205" y="45"/>
                  </a:cubicBezTo>
                  <a:cubicBezTo>
                    <a:pt x="151" y="137"/>
                    <a:pt x="97" y="229"/>
                    <a:pt x="44" y="321"/>
                  </a:cubicBezTo>
                  <a:cubicBezTo>
                    <a:pt x="35" y="335"/>
                    <a:pt x="36" y="336"/>
                    <a:pt x="54" y="336"/>
                  </a:cubicBezTo>
                  <a:cubicBezTo>
                    <a:pt x="107" y="336"/>
                    <a:pt x="160" y="336"/>
                    <a:pt x="213" y="3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36" name="Freeform 86"/>
            <p:cNvSpPr>
              <a:spLocks/>
            </p:cNvSpPr>
            <p:nvPr/>
          </p:nvSpPr>
          <p:spPr bwMode="auto">
            <a:xfrm>
              <a:off x="3797" y="1943"/>
              <a:ext cx="88" cy="393"/>
            </a:xfrm>
            <a:custGeom>
              <a:avLst/>
              <a:gdLst>
                <a:gd name="T0" fmla="*/ 37 w 37"/>
                <a:gd name="T1" fmla="*/ 41 h 165"/>
                <a:gd name="T2" fmla="*/ 27 w 37"/>
                <a:gd name="T3" fmla="*/ 152 h 165"/>
                <a:gd name="T4" fmla="*/ 18 w 37"/>
                <a:gd name="T5" fmla="*/ 165 h 165"/>
                <a:gd name="T6" fmla="*/ 9 w 37"/>
                <a:gd name="T7" fmla="*/ 153 h 165"/>
                <a:gd name="T8" fmla="*/ 0 w 37"/>
                <a:gd name="T9" fmla="*/ 22 h 165"/>
                <a:gd name="T10" fmla="*/ 1 w 37"/>
                <a:gd name="T11" fmla="*/ 13 h 165"/>
                <a:gd name="T12" fmla="*/ 18 w 37"/>
                <a:gd name="T13" fmla="*/ 0 h 165"/>
                <a:gd name="T14" fmla="*/ 35 w 37"/>
                <a:gd name="T15" fmla="*/ 14 h 165"/>
                <a:gd name="T16" fmla="*/ 35 w 37"/>
                <a:gd name="T17" fmla="*/ 41 h 165"/>
                <a:gd name="T18" fmla="*/ 37 w 37"/>
                <a:gd name="T19" fmla="*/ 41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165">
                  <a:moveTo>
                    <a:pt x="37" y="41"/>
                  </a:moveTo>
                  <a:cubicBezTo>
                    <a:pt x="34" y="78"/>
                    <a:pt x="30" y="115"/>
                    <a:pt x="27" y="152"/>
                  </a:cubicBezTo>
                  <a:cubicBezTo>
                    <a:pt x="27" y="158"/>
                    <a:pt x="26" y="165"/>
                    <a:pt x="18" y="165"/>
                  </a:cubicBezTo>
                  <a:cubicBezTo>
                    <a:pt x="10" y="165"/>
                    <a:pt x="9" y="159"/>
                    <a:pt x="9" y="153"/>
                  </a:cubicBezTo>
                  <a:cubicBezTo>
                    <a:pt x="5" y="110"/>
                    <a:pt x="0" y="66"/>
                    <a:pt x="0" y="22"/>
                  </a:cubicBezTo>
                  <a:cubicBezTo>
                    <a:pt x="0" y="19"/>
                    <a:pt x="0" y="16"/>
                    <a:pt x="1" y="13"/>
                  </a:cubicBezTo>
                  <a:cubicBezTo>
                    <a:pt x="3" y="4"/>
                    <a:pt x="9" y="0"/>
                    <a:pt x="18" y="0"/>
                  </a:cubicBezTo>
                  <a:cubicBezTo>
                    <a:pt x="27" y="0"/>
                    <a:pt x="34" y="5"/>
                    <a:pt x="35" y="14"/>
                  </a:cubicBezTo>
                  <a:cubicBezTo>
                    <a:pt x="36" y="23"/>
                    <a:pt x="35" y="32"/>
                    <a:pt x="35" y="41"/>
                  </a:cubicBezTo>
                  <a:cubicBezTo>
                    <a:pt x="36" y="41"/>
                    <a:pt x="36" y="41"/>
                    <a:pt x="37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37" name="Freeform 87"/>
            <p:cNvSpPr>
              <a:spLocks/>
            </p:cNvSpPr>
            <p:nvPr/>
          </p:nvSpPr>
          <p:spPr bwMode="auto">
            <a:xfrm>
              <a:off x="3790" y="2379"/>
              <a:ext cx="95" cy="93"/>
            </a:xfrm>
            <a:custGeom>
              <a:avLst/>
              <a:gdLst>
                <a:gd name="T0" fmla="*/ 21 w 40"/>
                <a:gd name="T1" fmla="*/ 39 h 39"/>
                <a:gd name="T2" fmla="*/ 1 w 40"/>
                <a:gd name="T3" fmla="*/ 21 h 39"/>
                <a:gd name="T4" fmla="*/ 21 w 40"/>
                <a:gd name="T5" fmla="*/ 1 h 39"/>
                <a:gd name="T6" fmla="*/ 40 w 40"/>
                <a:gd name="T7" fmla="*/ 20 h 39"/>
                <a:gd name="T8" fmla="*/ 21 w 40"/>
                <a:gd name="T9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9">
                  <a:moveTo>
                    <a:pt x="21" y="39"/>
                  </a:moveTo>
                  <a:cubicBezTo>
                    <a:pt x="10" y="38"/>
                    <a:pt x="3" y="32"/>
                    <a:pt x="1" y="21"/>
                  </a:cubicBezTo>
                  <a:cubicBezTo>
                    <a:pt x="0" y="11"/>
                    <a:pt x="11" y="0"/>
                    <a:pt x="21" y="1"/>
                  </a:cubicBezTo>
                  <a:cubicBezTo>
                    <a:pt x="32" y="2"/>
                    <a:pt x="40" y="9"/>
                    <a:pt x="40" y="20"/>
                  </a:cubicBezTo>
                  <a:cubicBezTo>
                    <a:pt x="40" y="31"/>
                    <a:pt x="33" y="38"/>
                    <a:pt x="21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538" name="Group 55"/>
          <p:cNvGrpSpPr>
            <a:grpSpLocks noChangeAspect="1"/>
          </p:cNvGrpSpPr>
          <p:nvPr/>
        </p:nvGrpSpPr>
        <p:grpSpPr bwMode="auto">
          <a:xfrm>
            <a:off x="2982384" y="4305118"/>
            <a:ext cx="295909" cy="295666"/>
            <a:chOff x="2017" y="342"/>
            <a:chExt cx="3641" cy="3638"/>
          </a:xfrm>
          <a:solidFill>
            <a:schemeClr val="bg1"/>
          </a:solidFill>
        </p:grpSpPr>
        <p:sp>
          <p:nvSpPr>
            <p:cNvPr id="539" name="Freeform 56"/>
            <p:cNvSpPr>
              <a:spLocks noEditPoints="1"/>
            </p:cNvSpPr>
            <p:nvPr/>
          </p:nvSpPr>
          <p:spPr bwMode="auto">
            <a:xfrm>
              <a:off x="2017" y="342"/>
              <a:ext cx="3641" cy="3638"/>
            </a:xfrm>
            <a:custGeom>
              <a:avLst/>
              <a:gdLst>
                <a:gd name="T0" fmla="*/ 701 w 1538"/>
                <a:gd name="T1" fmla="*/ 0 h 1537"/>
                <a:gd name="T2" fmla="*/ 839 w 1538"/>
                <a:gd name="T3" fmla="*/ 0 h 1537"/>
                <a:gd name="T4" fmla="*/ 849 w 1538"/>
                <a:gd name="T5" fmla="*/ 4 h 1537"/>
                <a:gd name="T6" fmla="*/ 905 w 1538"/>
                <a:gd name="T7" fmla="*/ 11 h 1537"/>
                <a:gd name="T8" fmla="*/ 1083 w 1538"/>
                <a:gd name="T9" fmla="*/ 66 h 1537"/>
                <a:gd name="T10" fmla="*/ 1279 w 1538"/>
                <a:gd name="T11" fmla="*/ 192 h 1537"/>
                <a:gd name="T12" fmla="*/ 1451 w 1538"/>
                <a:gd name="T13" fmla="*/ 411 h 1537"/>
                <a:gd name="T14" fmla="*/ 1532 w 1538"/>
                <a:gd name="T15" fmla="*/ 666 h 1537"/>
                <a:gd name="T16" fmla="*/ 1538 w 1538"/>
                <a:gd name="T17" fmla="*/ 699 h 1537"/>
                <a:gd name="T18" fmla="*/ 1538 w 1538"/>
                <a:gd name="T19" fmla="*/ 837 h 1537"/>
                <a:gd name="T20" fmla="*/ 1534 w 1538"/>
                <a:gd name="T21" fmla="*/ 845 h 1537"/>
                <a:gd name="T22" fmla="*/ 1527 w 1538"/>
                <a:gd name="T23" fmla="*/ 901 h 1537"/>
                <a:gd name="T24" fmla="*/ 1440 w 1538"/>
                <a:gd name="T25" fmla="*/ 1144 h 1537"/>
                <a:gd name="T26" fmla="*/ 1258 w 1538"/>
                <a:gd name="T27" fmla="*/ 1362 h 1537"/>
                <a:gd name="T28" fmla="*/ 1055 w 1538"/>
                <a:gd name="T29" fmla="*/ 1482 h 1537"/>
                <a:gd name="T30" fmla="*/ 828 w 1538"/>
                <a:gd name="T31" fmla="*/ 1534 h 1537"/>
                <a:gd name="T32" fmla="*/ 695 w 1538"/>
                <a:gd name="T33" fmla="*/ 1533 h 1537"/>
                <a:gd name="T34" fmla="*/ 579 w 1538"/>
                <a:gd name="T35" fmla="*/ 1512 h 1537"/>
                <a:gd name="T36" fmla="*/ 372 w 1538"/>
                <a:gd name="T37" fmla="*/ 1426 h 1537"/>
                <a:gd name="T38" fmla="*/ 191 w 1538"/>
                <a:gd name="T39" fmla="*/ 1274 h 1537"/>
                <a:gd name="T40" fmla="*/ 64 w 1538"/>
                <a:gd name="T41" fmla="*/ 1073 h 1537"/>
                <a:gd name="T42" fmla="*/ 4 w 1538"/>
                <a:gd name="T43" fmla="*/ 827 h 1537"/>
                <a:gd name="T44" fmla="*/ 11 w 1538"/>
                <a:gd name="T45" fmla="*/ 646 h 1537"/>
                <a:gd name="T46" fmla="*/ 75 w 1538"/>
                <a:gd name="T47" fmla="*/ 439 h 1537"/>
                <a:gd name="T48" fmla="*/ 290 w 1538"/>
                <a:gd name="T49" fmla="*/ 168 h 1537"/>
                <a:gd name="T50" fmla="*/ 517 w 1538"/>
                <a:gd name="T51" fmla="*/ 42 h 1537"/>
                <a:gd name="T52" fmla="*/ 669 w 1538"/>
                <a:gd name="T53" fmla="*/ 6 h 1537"/>
                <a:gd name="T54" fmla="*/ 701 w 1538"/>
                <a:gd name="T55" fmla="*/ 0 h 1537"/>
                <a:gd name="T56" fmla="*/ 425 w 1538"/>
                <a:gd name="T57" fmla="*/ 775 h 1537"/>
                <a:gd name="T58" fmla="*/ 424 w 1538"/>
                <a:gd name="T59" fmla="*/ 1232 h 1537"/>
                <a:gd name="T60" fmla="*/ 441 w 1538"/>
                <a:gd name="T61" fmla="*/ 1249 h 1537"/>
                <a:gd name="T62" fmla="*/ 1097 w 1538"/>
                <a:gd name="T63" fmla="*/ 1249 h 1537"/>
                <a:gd name="T64" fmla="*/ 1113 w 1538"/>
                <a:gd name="T65" fmla="*/ 1233 h 1537"/>
                <a:gd name="T66" fmla="*/ 1113 w 1538"/>
                <a:gd name="T67" fmla="*/ 453 h 1537"/>
                <a:gd name="T68" fmla="*/ 1107 w 1538"/>
                <a:gd name="T69" fmla="*/ 432 h 1537"/>
                <a:gd name="T70" fmla="*/ 1035 w 1538"/>
                <a:gd name="T71" fmla="*/ 315 h 1537"/>
                <a:gd name="T72" fmla="*/ 1013 w 1538"/>
                <a:gd name="T73" fmla="*/ 302 h 1537"/>
                <a:gd name="T74" fmla="*/ 442 w 1538"/>
                <a:gd name="T75" fmla="*/ 302 h 1537"/>
                <a:gd name="T76" fmla="*/ 424 w 1538"/>
                <a:gd name="T77" fmla="*/ 319 h 1537"/>
                <a:gd name="T78" fmla="*/ 425 w 1538"/>
                <a:gd name="T79" fmla="*/ 775 h 1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38" h="1537">
                  <a:moveTo>
                    <a:pt x="701" y="0"/>
                  </a:moveTo>
                  <a:cubicBezTo>
                    <a:pt x="747" y="0"/>
                    <a:pt x="793" y="0"/>
                    <a:pt x="839" y="0"/>
                  </a:cubicBezTo>
                  <a:cubicBezTo>
                    <a:pt x="840" y="6"/>
                    <a:pt x="845" y="3"/>
                    <a:pt x="849" y="4"/>
                  </a:cubicBezTo>
                  <a:cubicBezTo>
                    <a:pt x="868" y="6"/>
                    <a:pt x="886" y="7"/>
                    <a:pt x="905" y="11"/>
                  </a:cubicBezTo>
                  <a:cubicBezTo>
                    <a:pt x="966" y="23"/>
                    <a:pt x="1025" y="41"/>
                    <a:pt x="1083" y="66"/>
                  </a:cubicBezTo>
                  <a:cubicBezTo>
                    <a:pt x="1155" y="97"/>
                    <a:pt x="1221" y="140"/>
                    <a:pt x="1279" y="192"/>
                  </a:cubicBezTo>
                  <a:cubicBezTo>
                    <a:pt x="1350" y="255"/>
                    <a:pt x="1407" y="327"/>
                    <a:pt x="1451" y="411"/>
                  </a:cubicBezTo>
                  <a:cubicBezTo>
                    <a:pt x="1492" y="492"/>
                    <a:pt x="1520" y="576"/>
                    <a:pt x="1532" y="666"/>
                  </a:cubicBezTo>
                  <a:cubicBezTo>
                    <a:pt x="1533" y="677"/>
                    <a:pt x="1529" y="689"/>
                    <a:pt x="1538" y="699"/>
                  </a:cubicBezTo>
                  <a:cubicBezTo>
                    <a:pt x="1538" y="745"/>
                    <a:pt x="1538" y="791"/>
                    <a:pt x="1538" y="837"/>
                  </a:cubicBezTo>
                  <a:cubicBezTo>
                    <a:pt x="1533" y="838"/>
                    <a:pt x="1534" y="842"/>
                    <a:pt x="1534" y="845"/>
                  </a:cubicBezTo>
                  <a:cubicBezTo>
                    <a:pt x="1534" y="864"/>
                    <a:pt x="1531" y="883"/>
                    <a:pt x="1527" y="901"/>
                  </a:cubicBezTo>
                  <a:cubicBezTo>
                    <a:pt x="1511" y="987"/>
                    <a:pt x="1483" y="1068"/>
                    <a:pt x="1440" y="1144"/>
                  </a:cubicBezTo>
                  <a:cubicBezTo>
                    <a:pt x="1393" y="1229"/>
                    <a:pt x="1332" y="1301"/>
                    <a:pt x="1258" y="1362"/>
                  </a:cubicBezTo>
                  <a:cubicBezTo>
                    <a:pt x="1197" y="1413"/>
                    <a:pt x="1129" y="1453"/>
                    <a:pt x="1055" y="1482"/>
                  </a:cubicBezTo>
                  <a:cubicBezTo>
                    <a:pt x="982" y="1511"/>
                    <a:pt x="906" y="1530"/>
                    <a:pt x="828" y="1534"/>
                  </a:cubicBezTo>
                  <a:cubicBezTo>
                    <a:pt x="784" y="1537"/>
                    <a:pt x="740" y="1537"/>
                    <a:pt x="695" y="1533"/>
                  </a:cubicBezTo>
                  <a:cubicBezTo>
                    <a:pt x="656" y="1529"/>
                    <a:pt x="617" y="1522"/>
                    <a:pt x="579" y="1512"/>
                  </a:cubicBezTo>
                  <a:cubicBezTo>
                    <a:pt x="505" y="1494"/>
                    <a:pt x="437" y="1464"/>
                    <a:pt x="372" y="1426"/>
                  </a:cubicBezTo>
                  <a:cubicBezTo>
                    <a:pt x="303" y="1384"/>
                    <a:pt x="243" y="1333"/>
                    <a:pt x="191" y="1274"/>
                  </a:cubicBezTo>
                  <a:cubicBezTo>
                    <a:pt x="138" y="1214"/>
                    <a:pt x="96" y="1147"/>
                    <a:pt x="64" y="1073"/>
                  </a:cubicBezTo>
                  <a:cubicBezTo>
                    <a:pt x="31" y="994"/>
                    <a:pt x="9" y="913"/>
                    <a:pt x="4" y="827"/>
                  </a:cubicBezTo>
                  <a:cubicBezTo>
                    <a:pt x="0" y="767"/>
                    <a:pt x="1" y="706"/>
                    <a:pt x="11" y="646"/>
                  </a:cubicBezTo>
                  <a:cubicBezTo>
                    <a:pt x="23" y="574"/>
                    <a:pt x="44" y="504"/>
                    <a:pt x="75" y="439"/>
                  </a:cubicBezTo>
                  <a:cubicBezTo>
                    <a:pt x="126" y="332"/>
                    <a:pt x="198" y="241"/>
                    <a:pt x="290" y="168"/>
                  </a:cubicBezTo>
                  <a:cubicBezTo>
                    <a:pt x="359" y="113"/>
                    <a:pt x="434" y="71"/>
                    <a:pt x="517" y="42"/>
                  </a:cubicBezTo>
                  <a:cubicBezTo>
                    <a:pt x="566" y="25"/>
                    <a:pt x="617" y="13"/>
                    <a:pt x="669" y="6"/>
                  </a:cubicBezTo>
                  <a:cubicBezTo>
                    <a:pt x="679" y="5"/>
                    <a:pt x="692" y="9"/>
                    <a:pt x="701" y="0"/>
                  </a:cubicBezTo>
                  <a:close/>
                  <a:moveTo>
                    <a:pt x="425" y="775"/>
                  </a:moveTo>
                  <a:cubicBezTo>
                    <a:pt x="425" y="927"/>
                    <a:pt x="425" y="1080"/>
                    <a:pt x="424" y="1232"/>
                  </a:cubicBezTo>
                  <a:cubicBezTo>
                    <a:pt x="424" y="1245"/>
                    <a:pt x="427" y="1249"/>
                    <a:pt x="441" y="1249"/>
                  </a:cubicBezTo>
                  <a:cubicBezTo>
                    <a:pt x="659" y="1248"/>
                    <a:pt x="878" y="1248"/>
                    <a:pt x="1097" y="1249"/>
                  </a:cubicBezTo>
                  <a:cubicBezTo>
                    <a:pt x="1110" y="1249"/>
                    <a:pt x="1113" y="1246"/>
                    <a:pt x="1113" y="1233"/>
                  </a:cubicBezTo>
                  <a:cubicBezTo>
                    <a:pt x="1113" y="973"/>
                    <a:pt x="1113" y="713"/>
                    <a:pt x="1113" y="453"/>
                  </a:cubicBezTo>
                  <a:cubicBezTo>
                    <a:pt x="1113" y="445"/>
                    <a:pt x="1111" y="439"/>
                    <a:pt x="1107" y="432"/>
                  </a:cubicBezTo>
                  <a:cubicBezTo>
                    <a:pt x="1083" y="393"/>
                    <a:pt x="1059" y="354"/>
                    <a:pt x="1035" y="315"/>
                  </a:cubicBezTo>
                  <a:cubicBezTo>
                    <a:pt x="1030" y="305"/>
                    <a:pt x="1024" y="302"/>
                    <a:pt x="1013" y="302"/>
                  </a:cubicBezTo>
                  <a:cubicBezTo>
                    <a:pt x="822" y="302"/>
                    <a:pt x="632" y="302"/>
                    <a:pt x="442" y="302"/>
                  </a:cubicBezTo>
                  <a:cubicBezTo>
                    <a:pt x="428" y="302"/>
                    <a:pt x="424" y="305"/>
                    <a:pt x="424" y="319"/>
                  </a:cubicBezTo>
                  <a:cubicBezTo>
                    <a:pt x="425" y="471"/>
                    <a:pt x="424" y="623"/>
                    <a:pt x="425" y="7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0" name="Freeform 57"/>
            <p:cNvSpPr>
              <a:spLocks noEditPoints="1"/>
            </p:cNvSpPr>
            <p:nvPr/>
          </p:nvSpPr>
          <p:spPr bwMode="auto">
            <a:xfrm>
              <a:off x="3187" y="1642"/>
              <a:ext cx="435" cy="291"/>
            </a:xfrm>
            <a:custGeom>
              <a:avLst/>
              <a:gdLst>
                <a:gd name="T0" fmla="*/ 119 w 184"/>
                <a:gd name="T1" fmla="*/ 35 h 123"/>
                <a:gd name="T2" fmla="*/ 163 w 184"/>
                <a:gd name="T3" fmla="*/ 5 h 123"/>
                <a:gd name="T4" fmla="*/ 176 w 184"/>
                <a:gd name="T5" fmla="*/ 8 h 123"/>
                <a:gd name="T6" fmla="*/ 175 w 184"/>
                <a:gd name="T7" fmla="*/ 23 h 123"/>
                <a:gd name="T8" fmla="*/ 128 w 184"/>
                <a:gd name="T9" fmla="*/ 54 h 123"/>
                <a:gd name="T10" fmla="*/ 118 w 184"/>
                <a:gd name="T11" fmla="*/ 73 h 123"/>
                <a:gd name="T12" fmla="*/ 119 w 184"/>
                <a:gd name="T13" fmla="*/ 112 h 123"/>
                <a:gd name="T14" fmla="*/ 107 w 184"/>
                <a:gd name="T15" fmla="*/ 123 h 123"/>
                <a:gd name="T16" fmla="*/ 11 w 184"/>
                <a:gd name="T17" fmla="*/ 123 h 123"/>
                <a:gd name="T18" fmla="*/ 0 w 184"/>
                <a:gd name="T19" fmla="*/ 112 h 123"/>
                <a:gd name="T20" fmla="*/ 0 w 184"/>
                <a:gd name="T21" fmla="*/ 16 h 123"/>
                <a:gd name="T22" fmla="*/ 12 w 184"/>
                <a:gd name="T23" fmla="*/ 3 h 123"/>
                <a:gd name="T24" fmla="*/ 106 w 184"/>
                <a:gd name="T25" fmla="*/ 3 h 123"/>
                <a:gd name="T26" fmla="*/ 119 w 184"/>
                <a:gd name="T27" fmla="*/ 16 h 123"/>
                <a:gd name="T28" fmla="*/ 119 w 184"/>
                <a:gd name="T29" fmla="*/ 35 h 123"/>
                <a:gd name="T30" fmla="*/ 107 w 184"/>
                <a:gd name="T31" fmla="*/ 69 h 123"/>
                <a:gd name="T32" fmla="*/ 85 w 184"/>
                <a:gd name="T33" fmla="*/ 84 h 123"/>
                <a:gd name="T34" fmla="*/ 34 w 184"/>
                <a:gd name="T35" fmla="*/ 80 h 123"/>
                <a:gd name="T36" fmla="*/ 31 w 184"/>
                <a:gd name="T37" fmla="*/ 64 h 123"/>
                <a:gd name="T38" fmla="*/ 49 w 184"/>
                <a:gd name="T39" fmla="*/ 64 h 123"/>
                <a:gd name="T40" fmla="*/ 66 w 184"/>
                <a:gd name="T41" fmla="*/ 71 h 123"/>
                <a:gd name="T42" fmla="*/ 103 w 184"/>
                <a:gd name="T43" fmla="*/ 45 h 123"/>
                <a:gd name="T44" fmla="*/ 108 w 184"/>
                <a:gd name="T45" fmla="*/ 19 h 123"/>
                <a:gd name="T46" fmla="*/ 93 w 184"/>
                <a:gd name="T47" fmla="*/ 15 h 123"/>
                <a:gd name="T48" fmla="*/ 22 w 184"/>
                <a:gd name="T49" fmla="*/ 14 h 123"/>
                <a:gd name="T50" fmla="*/ 9 w 184"/>
                <a:gd name="T51" fmla="*/ 27 h 123"/>
                <a:gd name="T52" fmla="*/ 9 w 184"/>
                <a:gd name="T53" fmla="*/ 101 h 123"/>
                <a:gd name="T54" fmla="*/ 21 w 184"/>
                <a:gd name="T55" fmla="*/ 113 h 123"/>
                <a:gd name="T56" fmla="*/ 71 w 184"/>
                <a:gd name="T57" fmla="*/ 113 h 123"/>
                <a:gd name="T58" fmla="*/ 107 w 184"/>
                <a:gd name="T59" fmla="*/ 69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4" h="123">
                  <a:moveTo>
                    <a:pt x="119" y="35"/>
                  </a:moveTo>
                  <a:cubicBezTo>
                    <a:pt x="135" y="24"/>
                    <a:pt x="150" y="15"/>
                    <a:pt x="163" y="5"/>
                  </a:cubicBezTo>
                  <a:cubicBezTo>
                    <a:pt x="170" y="0"/>
                    <a:pt x="172" y="3"/>
                    <a:pt x="176" y="8"/>
                  </a:cubicBezTo>
                  <a:cubicBezTo>
                    <a:pt x="179" y="13"/>
                    <a:pt x="184" y="18"/>
                    <a:pt x="175" y="23"/>
                  </a:cubicBezTo>
                  <a:cubicBezTo>
                    <a:pt x="159" y="33"/>
                    <a:pt x="144" y="44"/>
                    <a:pt x="128" y="54"/>
                  </a:cubicBezTo>
                  <a:cubicBezTo>
                    <a:pt x="121" y="59"/>
                    <a:pt x="118" y="64"/>
                    <a:pt x="118" y="73"/>
                  </a:cubicBezTo>
                  <a:cubicBezTo>
                    <a:pt x="119" y="86"/>
                    <a:pt x="118" y="99"/>
                    <a:pt x="119" y="112"/>
                  </a:cubicBezTo>
                  <a:cubicBezTo>
                    <a:pt x="119" y="120"/>
                    <a:pt x="116" y="123"/>
                    <a:pt x="107" y="123"/>
                  </a:cubicBezTo>
                  <a:cubicBezTo>
                    <a:pt x="75" y="123"/>
                    <a:pt x="43" y="123"/>
                    <a:pt x="11" y="123"/>
                  </a:cubicBezTo>
                  <a:cubicBezTo>
                    <a:pt x="3" y="123"/>
                    <a:pt x="0" y="120"/>
                    <a:pt x="0" y="112"/>
                  </a:cubicBezTo>
                  <a:cubicBezTo>
                    <a:pt x="0" y="80"/>
                    <a:pt x="0" y="48"/>
                    <a:pt x="0" y="16"/>
                  </a:cubicBezTo>
                  <a:cubicBezTo>
                    <a:pt x="0" y="7"/>
                    <a:pt x="3" y="3"/>
                    <a:pt x="12" y="3"/>
                  </a:cubicBezTo>
                  <a:cubicBezTo>
                    <a:pt x="43" y="4"/>
                    <a:pt x="75" y="4"/>
                    <a:pt x="106" y="3"/>
                  </a:cubicBezTo>
                  <a:cubicBezTo>
                    <a:pt x="115" y="3"/>
                    <a:pt x="119" y="7"/>
                    <a:pt x="119" y="16"/>
                  </a:cubicBezTo>
                  <a:cubicBezTo>
                    <a:pt x="118" y="21"/>
                    <a:pt x="119" y="26"/>
                    <a:pt x="119" y="35"/>
                  </a:cubicBezTo>
                  <a:close/>
                  <a:moveTo>
                    <a:pt x="107" y="69"/>
                  </a:moveTo>
                  <a:cubicBezTo>
                    <a:pt x="98" y="75"/>
                    <a:pt x="91" y="79"/>
                    <a:pt x="85" y="84"/>
                  </a:cubicBezTo>
                  <a:cubicBezTo>
                    <a:pt x="58" y="102"/>
                    <a:pt x="58" y="102"/>
                    <a:pt x="34" y="80"/>
                  </a:cubicBezTo>
                  <a:cubicBezTo>
                    <a:pt x="29" y="75"/>
                    <a:pt x="23" y="72"/>
                    <a:pt x="31" y="64"/>
                  </a:cubicBezTo>
                  <a:cubicBezTo>
                    <a:pt x="38" y="55"/>
                    <a:pt x="43" y="59"/>
                    <a:pt x="49" y="64"/>
                  </a:cubicBezTo>
                  <a:cubicBezTo>
                    <a:pt x="53" y="68"/>
                    <a:pt x="57" y="77"/>
                    <a:pt x="66" y="71"/>
                  </a:cubicBezTo>
                  <a:cubicBezTo>
                    <a:pt x="78" y="62"/>
                    <a:pt x="91" y="54"/>
                    <a:pt x="103" y="45"/>
                  </a:cubicBezTo>
                  <a:cubicBezTo>
                    <a:pt x="113" y="38"/>
                    <a:pt x="109" y="28"/>
                    <a:pt x="108" y="19"/>
                  </a:cubicBezTo>
                  <a:cubicBezTo>
                    <a:pt x="107" y="11"/>
                    <a:pt x="98" y="15"/>
                    <a:pt x="93" y="15"/>
                  </a:cubicBezTo>
                  <a:cubicBezTo>
                    <a:pt x="69" y="14"/>
                    <a:pt x="46" y="15"/>
                    <a:pt x="22" y="14"/>
                  </a:cubicBezTo>
                  <a:cubicBezTo>
                    <a:pt x="12" y="14"/>
                    <a:pt x="9" y="18"/>
                    <a:pt x="9" y="27"/>
                  </a:cubicBezTo>
                  <a:cubicBezTo>
                    <a:pt x="10" y="52"/>
                    <a:pt x="10" y="76"/>
                    <a:pt x="9" y="101"/>
                  </a:cubicBezTo>
                  <a:cubicBezTo>
                    <a:pt x="9" y="109"/>
                    <a:pt x="12" y="113"/>
                    <a:pt x="21" y="113"/>
                  </a:cubicBezTo>
                  <a:cubicBezTo>
                    <a:pt x="38" y="113"/>
                    <a:pt x="54" y="113"/>
                    <a:pt x="71" y="113"/>
                  </a:cubicBezTo>
                  <a:cubicBezTo>
                    <a:pt x="112" y="113"/>
                    <a:pt x="112" y="113"/>
                    <a:pt x="107" y="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1" name="Freeform 58"/>
            <p:cNvSpPr>
              <a:spLocks noEditPoints="1"/>
            </p:cNvSpPr>
            <p:nvPr/>
          </p:nvSpPr>
          <p:spPr bwMode="auto">
            <a:xfrm>
              <a:off x="3187" y="1261"/>
              <a:ext cx="430" cy="288"/>
            </a:xfrm>
            <a:custGeom>
              <a:avLst/>
              <a:gdLst>
                <a:gd name="T0" fmla="*/ 120 w 182"/>
                <a:gd name="T1" fmla="*/ 33 h 122"/>
                <a:gd name="T2" fmla="*/ 162 w 182"/>
                <a:gd name="T3" fmla="*/ 5 h 122"/>
                <a:gd name="T4" fmla="*/ 176 w 182"/>
                <a:gd name="T5" fmla="*/ 7 h 122"/>
                <a:gd name="T6" fmla="*/ 174 w 182"/>
                <a:gd name="T7" fmla="*/ 23 h 122"/>
                <a:gd name="T8" fmla="*/ 129 w 182"/>
                <a:gd name="T9" fmla="*/ 53 h 122"/>
                <a:gd name="T10" fmla="*/ 118 w 182"/>
                <a:gd name="T11" fmla="*/ 72 h 122"/>
                <a:gd name="T12" fmla="*/ 119 w 182"/>
                <a:gd name="T13" fmla="*/ 110 h 122"/>
                <a:gd name="T14" fmla="*/ 106 w 182"/>
                <a:gd name="T15" fmla="*/ 122 h 122"/>
                <a:gd name="T16" fmla="*/ 12 w 182"/>
                <a:gd name="T17" fmla="*/ 122 h 122"/>
                <a:gd name="T18" fmla="*/ 0 w 182"/>
                <a:gd name="T19" fmla="*/ 110 h 122"/>
                <a:gd name="T20" fmla="*/ 0 w 182"/>
                <a:gd name="T21" fmla="*/ 16 h 122"/>
                <a:gd name="T22" fmla="*/ 13 w 182"/>
                <a:gd name="T23" fmla="*/ 3 h 122"/>
                <a:gd name="T24" fmla="*/ 100 w 182"/>
                <a:gd name="T25" fmla="*/ 3 h 122"/>
                <a:gd name="T26" fmla="*/ 119 w 182"/>
                <a:gd name="T27" fmla="*/ 21 h 122"/>
                <a:gd name="T28" fmla="*/ 120 w 182"/>
                <a:gd name="T29" fmla="*/ 33 h 122"/>
                <a:gd name="T30" fmla="*/ 108 w 182"/>
                <a:gd name="T31" fmla="*/ 67 h 122"/>
                <a:gd name="T32" fmla="*/ 84 w 182"/>
                <a:gd name="T33" fmla="*/ 83 h 122"/>
                <a:gd name="T34" fmla="*/ 35 w 182"/>
                <a:gd name="T35" fmla="*/ 80 h 122"/>
                <a:gd name="T36" fmla="*/ 31 w 182"/>
                <a:gd name="T37" fmla="*/ 62 h 122"/>
                <a:gd name="T38" fmla="*/ 49 w 182"/>
                <a:gd name="T39" fmla="*/ 64 h 122"/>
                <a:gd name="T40" fmla="*/ 65 w 182"/>
                <a:gd name="T41" fmla="*/ 71 h 122"/>
                <a:gd name="T42" fmla="*/ 103 w 182"/>
                <a:gd name="T43" fmla="*/ 44 h 122"/>
                <a:gd name="T44" fmla="*/ 108 w 182"/>
                <a:gd name="T45" fmla="*/ 18 h 122"/>
                <a:gd name="T46" fmla="*/ 92 w 182"/>
                <a:gd name="T47" fmla="*/ 14 h 122"/>
                <a:gd name="T48" fmla="*/ 21 w 182"/>
                <a:gd name="T49" fmla="*/ 13 h 122"/>
                <a:gd name="T50" fmla="*/ 9 w 182"/>
                <a:gd name="T51" fmla="*/ 23 h 122"/>
                <a:gd name="T52" fmla="*/ 9 w 182"/>
                <a:gd name="T53" fmla="*/ 103 h 122"/>
                <a:gd name="T54" fmla="*/ 19 w 182"/>
                <a:gd name="T55" fmla="*/ 113 h 122"/>
                <a:gd name="T56" fmla="*/ 100 w 182"/>
                <a:gd name="T57" fmla="*/ 112 h 122"/>
                <a:gd name="T58" fmla="*/ 108 w 182"/>
                <a:gd name="T59" fmla="*/ 104 h 122"/>
                <a:gd name="T60" fmla="*/ 108 w 182"/>
                <a:gd name="T61" fmla="*/ 6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82" h="122">
                  <a:moveTo>
                    <a:pt x="120" y="33"/>
                  </a:moveTo>
                  <a:cubicBezTo>
                    <a:pt x="135" y="23"/>
                    <a:pt x="149" y="15"/>
                    <a:pt x="162" y="5"/>
                  </a:cubicBezTo>
                  <a:cubicBezTo>
                    <a:pt x="168" y="1"/>
                    <a:pt x="172" y="0"/>
                    <a:pt x="176" y="7"/>
                  </a:cubicBezTo>
                  <a:cubicBezTo>
                    <a:pt x="180" y="14"/>
                    <a:pt x="182" y="18"/>
                    <a:pt x="174" y="23"/>
                  </a:cubicBezTo>
                  <a:cubicBezTo>
                    <a:pt x="159" y="33"/>
                    <a:pt x="144" y="43"/>
                    <a:pt x="129" y="53"/>
                  </a:cubicBezTo>
                  <a:cubicBezTo>
                    <a:pt x="121" y="58"/>
                    <a:pt x="118" y="63"/>
                    <a:pt x="118" y="72"/>
                  </a:cubicBezTo>
                  <a:cubicBezTo>
                    <a:pt x="119" y="85"/>
                    <a:pt x="118" y="97"/>
                    <a:pt x="119" y="110"/>
                  </a:cubicBezTo>
                  <a:cubicBezTo>
                    <a:pt x="119" y="119"/>
                    <a:pt x="116" y="122"/>
                    <a:pt x="106" y="122"/>
                  </a:cubicBezTo>
                  <a:cubicBezTo>
                    <a:pt x="75" y="122"/>
                    <a:pt x="43" y="122"/>
                    <a:pt x="12" y="122"/>
                  </a:cubicBezTo>
                  <a:cubicBezTo>
                    <a:pt x="3" y="122"/>
                    <a:pt x="0" y="119"/>
                    <a:pt x="0" y="110"/>
                  </a:cubicBezTo>
                  <a:cubicBezTo>
                    <a:pt x="0" y="79"/>
                    <a:pt x="0" y="47"/>
                    <a:pt x="0" y="16"/>
                  </a:cubicBezTo>
                  <a:cubicBezTo>
                    <a:pt x="0" y="6"/>
                    <a:pt x="3" y="3"/>
                    <a:pt x="13" y="3"/>
                  </a:cubicBezTo>
                  <a:cubicBezTo>
                    <a:pt x="42" y="3"/>
                    <a:pt x="71" y="4"/>
                    <a:pt x="100" y="3"/>
                  </a:cubicBezTo>
                  <a:cubicBezTo>
                    <a:pt x="114" y="2"/>
                    <a:pt x="121" y="6"/>
                    <a:pt x="119" y="21"/>
                  </a:cubicBezTo>
                  <a:cubicBezTo>
                    <a:pt x="118" y="24"/>
                    <a:pt x="119" y="28"/>
                    <a:pt x="120" y="33"/>
                  </a:cubicBezTo>
                  <a:close/>
                  <a:moveTo>
                    <a:pt x="108" y="67"/>
                  </a:moveTo>
                  <a:cubicBezTo>
                    <a:pt x="98" y="74"/>
                    <a:pt x="91" y="79"/>
                    <a:pt x="84" y="83"/>
                  </a:cubicBezTo>
                  <a:cubicBezTo>
                    <a:pt x="58" y="101"/>
                    <a:pt x="58" y="101"/>
                    <a:pt x="35" y="80"/>
                  </a:cubicBezTo>
                  <a:cubicBezTo>
                    <a:pt x="29" y="75"/>
                    <a:pt x="23" y="72"/>
                    <a:pt x="31" y="62"/>
                  </a:cubicBezTo>
                  <a:cubicBezTo>
                    <a:pt x="40" y="53"/>
                    <a:pt x="43" y="60"/>
                    <a:pt x="49" y="64"/>
                  </a:cubicBezTo>
                  <a:cubicBezTo>
                    <a:pt x="54" y="68"/>
                    <a:pt x="57" y="76"/>
                    <a:pt x="65" y="71"/>
                  </a:cubicBezTo>
                  <a:cubicBezTo>
                    <a:pt x="78" y="62"/>
                    <a:pt x="91" y="54"/>
                    <a:pt x="103" y="44"/>
                  </a:cubicBezTo>
                  <a:cubicBezTo>
                    <a:pt x="113" y="37"/>
                    <a:pt x="109" y="27"/>
                    <a:pt x="108" y="18"/>
                  </a:cubicBezTo>
                  <a:cubicBezTo>
                    <a:pt x="107" y="10"/>
                    <a:pt x="98" y="14"/>
                    <a:pt x="92" y="14"/>
                  </a:cubicBezTo>
                  <a:cubicBezTo>
                    <a:pt x="68" y="13"/>
                    <a:pt x="44" y="14"/>
                    <a:pt x="21" y="13"/>
                  </a:cubicBezTo>
                  <a:cubicBezTo>
                    <a:pt x="13" y="13"/>
                    <a:pt x="9" y="15"/>
                    <a:pt x="9" y="23"/>
                  </a:cubicBezTo>
                  <a:cubicBezTo>
                    <a:pt x="10" y="50"/>
                    <a:pt x="10" y="76"/>
                    <a:pt x="9" y="103"/>
                  </a:cubicBezTo>
                  <a:cubicBezTo>
                    <a:pt x="9" y="109"/>
                    <a:pt x="12" y="113"/>
                    <a:pt x="19" y="113"/>
                  </a:cubicBezTo>
                  <a:cubicBezTo>
                    <a:pt x="46" y="112"/>
                    <a:pt x="73" y="112"/>
                    <a:pt x="100" y="112"/>
                  </a:cubicBezTo>
                  <a:cubicBezTo>
                    <a:pt x="106" y="112"/>
                    <a:pt x="108" y="110"/>
                    <a:pt x="108" y="104"/>
                  </a:cubicBezTo>
                  <a:cubicBezTo>
                    <a:pt x="108" y="93"/>
                    <a:pt x="108" y="82"/>
                    <a:pt x="108" y="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2" name="Freeform 59"/>
            <p:cNvSpPr>
              <a:spLocks/>
            </p:cNvSpPr>
            <p:nvPr/>
          </p:nvSpPr>
          <p:spPr bwMode="auto">
            <a:xfrm>
              <a:off x="3606" y="1871"/>
              <a:ext cx="861" cy="55"/>
            </a:xfrm>
            <a:custGeom>
              <a:avLst/>
              <a:gdLst>
                <a:gd name="T0" fmla="*/ 181 w 364"/>
                <a:gd name="T1" fmla="*/ 20 h 23"/>
                <a:gd name="T2" fmla="*/ 13 w 364"/>
                <a:gd name="T3" fmla="*/ 20 h 23"/>
                <a:gd name="T4" fmla="*/ 0 w 364"/>
                <a:gd name="T5" fmla="*/ 12 h 23"/>
                <a:gd name="T6" fmla="*/ 14 w 364"/>
                <a:gd name="T7" fmla="*/ 3 h 23"/>
                <a:gd name="T8" fmla="*/ 351 w 364"/>
                <a:gd name="T9" fmla="*/ 3 h 23"/>
                <a:gd name="T10" fmla="*/ 363 w 364"/>
                <a:gd name="T11" fmla="*/ 11 h 23"/>
                <a:gd name="T12" fmla="*/ 350 w 364"/>
                <a:gd name="T13" fmla="*/ 20 h 23"/>
                <a:gd name="T14" fmla="*/ 181 w 364"/>
                <a:gd name="T15" fmla="*/ 2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4" h="23">
                  <a:moveTo>
                    <a:pt x="181" y="20"/>
                  </a:moveTo>
                  <a:cubicBezTo>
                    <a:pt x="125" y="20"/>
                    <a:pt x="69" y="20"/>
                    <a:pt x="13" y="20"/>
                  </a:cubicBezTo>
                  <a:cubicBezTo>
                    <a:pt x="8" y="20"/>
                    <a:pt x="0" y="23"/>
                    <a:pt x="0" y="12"/>
                  </a:cubicBezTo>
                  <a:cubicBezTo>
                    <a:pt x="0" y="0"/>
                    <a:pt x="8" y="3"/>
                    <a:pt x="14" y="3"/>
                  </a:cubicBezTo>
                  <a:cubicBezTo>
                    <a:pt x="126" y="3"/>
                    <a:pt x="238" y="3"/>
                    <a:pt x="351" y="3"/>
                  </a:cubicBezTo>
                  <a:cubicBezTo>
                    <a:pt x="356" y="3"/>
                    <a:pt x="363" y="1"/>
                    <a:pt x="363" y="11"/>
                  </a:cubicBezTo>
                  <a:cubicBezTo>
                    <a:pt x="364" y="22"/>
                    <a:pt x="356" y="20"/>
                    <a:pt x="350" y="20"/>
                  </a:cubicBezTo>
                  <a:cubicBezTo>
                    <a:pt x="294" y="20"/>
                    <a:pt x="238" y="20"/>
                    <a:pt x="181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3" name="Freeform 60"/>
            <p:cNvSpPr>
              <a:spLocks/>
            </p:cNvSpPr>
            <p:nvPr/>
          </p:nvSpPr>
          <p:spPr bwMode="auto">
            <a:xfrm>
              <a:off x="3603" y="2245"/>
              <a:ext cx="864" cy="57"/>
            </a:xfrm>
            <a:custGeom>
              <a:avLst/>
              <a:gdLst>
                <a:gd name="T0" fmla="*/ 184 w 365"/>
                <a:gd name="T1" fmla="*/ 3 h 24"/>
                <a:gd name="T2" fmla="*/ 350 w 365"/>
                <a:gd name="T3" fmla="*/ 3 h 24"/>
                <a:gd name="T4" fmla="*/ 364 w 365"/>
                <a:gd name="T5" fmla="*/ 11 h 24"/>
                <a:gd name="T6" fmla="*/ 350 w 365"/>
                <a:gd name="T7" fmla="*/ 20 h 24"/>
                <a:gd name="T8" fmla="*/ 16 w 365"/>
                <a:gd name="T9" fmla="*/ 20 h 24"/>
                <a:gd name="T10" fmla="*/ 1 w 365"/>
                <a:gd name="T11" fmla="*/ 14 h 24"/>
                <a:gd name="T12" fmla="*/ 13 w 365"/>
                <a:gd name="T13" fmla="*/ 3 h 24"/>
                <a:gd name="T14" fmla="*/ 184 w 365"/>
                <a:gd name="T15" fmla="*/ 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5" h="24">
                  <a:moveTo>
                    <a:pt x="184" y="3"/>
                  </a:moveTo>
                  <a:cubicBezTo>
                    <a:pt x="240" y="3"/>
                    <a:pt x="295" y="3"/>
                    <a:pt x="350" y="3"/>
                  </a:cubicBezTo>
                  <a:cubicBezTo>
                    <a:pt x="356" y="3"/>
                    <a:pt x="364" y="0"/>
                    <a:pt x="364" y="11"/>
                  </a:cubicBezTo>
                  <a:cubicBezTo>
                    <a:pt x="365" y="23"/>
                    <a:pt x="356" y="20"/>
                    <a:pt x="350" y="20"/>
                  </a:cubicBezTo>
                  <a:cubicBezTo>
                    <a:pt x="239" y="20"/>
                    <a:pt x="127" y="20"/>
                    <a:pt x="16" y="20"/>
                  </a:cubicBezTo>
                  <a:cubicBezTo>
                    <a:pt x="11" y="20"/>
                    <a:pt x="3" y="24"/>
                    <a:pt x="1" y="14"/>
                  </a:cubicBezTo>
                  <a:cubicBezTo>
                    <a:pt x="0" y="5"/>
                    <a:pt x="4" y="3"/>
                    <a:pt x="13" y="3"/>
                  </a:cubicBezTo>
                  <a:cubicBezTo>
                    <a:pt x="70" y="3"/>
                    <a:pt x="127" y="3"/>
                    <a:pt x="18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4" name="Freeform 61"/>
            <p:cNvSpPr>
              <a:spLocks/>
            </p:cNvSpPr>
            <p:nvPr/>
          </p:nvSpPr>
          <p:spPr bwMode="auto">
            <a:xfrm>
              <a:off x="3606" y="3019"/>
              <a:ext cx="861" cy="57"/>
            </a:xfrm>
            <a:custGeom>
              <a:avLst/>
              <a:gdLst>
                <a:gd name="T0" fmla="*/ 183 w 364"/>
                <a:gd name="T1" fmla="*/ 3 h 24"/>
                <a:gd name="T2" fmla="*/ 349 w 364"/>
                <a:gd name="T3" fmla="*/ 3 h 24"/>
                <a:gd name="T4" fmla="*/ 363 w 364"/>
                <a:gd name="T5" fmla="*/ 13 h 24"/>
                <a:gd name="T6" fmla="*/ 349 w 364"/>
                <a:gd name="T7" fmla="*/ 20 h 24"/>
                <a:gd name="T8" fmla="*/ 14 w 364"/>
                <a:gd name="T9" fmla="*/ 21 h 24"/>
                <a:gd name="T10" fmla="*/ 0 w 364"/>
                <a:gd name="T11" fmla="*/ 11 h 24"/>
                <a:gd name="T12" fmla="*/ 14 w 364"/>
                <a:gd name="T13" fmla="*/ 4 h 24"/>
                <a:gd name="T14" fmla="*/ 183 w 364"/>
                <a:gd name="T15" fmla="*/ 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4" h="24">
                  <a:moveTo>
                    <a:pt x="183" y="3"/>
                  </a:moveTo>
                  <a:cubicBezTo>
                    <a:pt x="239" y="3"/>
                    <a:pt x="294" y="3"/>
                    <a:pt x="349" y="3"/>
                  </a:cubicBezTo>
                  <a:cubicBezTo>
                    <a:pt x="356" y="3"/>
                    <a:pt x="364" y="1"/>
                    <a:pt x="363" y="13"/>
                  </a:cubicBezTo>
                  <a:cubicBezTo>
                    <a:pt x="363" y="24"/>
                    <a:pt x="355" y="20"/>
                    <a:pt x="349" y="20"/>
                  </a:cubicBezTo>
                  <a:cubicBezTo>
                    <a:pt x="238" y="21"/>
                    <a:pt x="126" y="21"/>
                    <a:pt x="14" y="21"/>
                  </a:cubicBezTo>
                  <a:cubicBezTo>
                    <a:pt x="8" y="21"/>
                    <a:pt x="0" y="23"/>
                    <a:pt x="0" y="11"/>
                  </a:cubicBezTo>
                  <a:cubicBezTo>
                    <a:pt x="1" y="0"/>
                    <a:pt x="9" y="4"/>
                    <a:pt x="14" y="4"/>
                  </a:cubicBezTo>
                  <a:cubicBezTo>
                    <a:pt x="70" y="3"/>
                    <a:pt x="127" y="3"/>
                    <a:pt x="18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5" name="Freeform 62"/>
            <p:cNvSpPr>
              <a:spLocks/>
            </p:cNvSpPr>
            <p:nvPr/>
          </p:nvSpPr>
          <p:spPr bwMode="auto">
            <a:xfrm>
              <a:off x="3606" y="1462"/>
              <a:ext cx="859" cy="54"/>
            </a:xfrm>
            <a:custGeom>
              <a:avLst/>
              <a:gdLst>
                <a:gd name="T0" fmla="*/ 183 w 363"/>
                <a:gd name="T1" fmla="*/ 3 h 23"/>
                <a:gd name="T2" fmla="*/ 349 w 363"/>
                <a:gd name="T3" fmla="*/ 3 h 23"/>
                <a:gd name="T4" fmla="*/ 363 w 363"/>
                <a:gd name="T5" fmla="*/ 11 h 23"/>
                <a:gd name="T6" fmla="*/ 349 w 363"/>
                <a:gd name="T7" fmla="*/ 19 h 23"/>
                <a:gd name="T8" fmla="*/ 13 w 363"/>
                <a:gd name="T9" fmla="*/ 19 h 23"/>
                <a:gd name="T10" fmla="*/ 0 w 363"/>
                <a:gd name="T11" fmla="*/ 12 h 23"/>
                <a:gd name="T12" fmla="*/ 13 w 363"/>
                <a:gd name="T13" fmla="*/ 3 h 23"/>
                <a:gd name="T14" fmla="*/ 183 w 363"/>
                <a:gd name="T15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3" h="23">
                  <a:moveTo>
                    <a:pt x="183" y="3"/>
                  </a:moveTo>
                  <a:cubicBezTo>
                    <a:pt x="238" y="3"/>
                    <a:pt x="294" y="3"/>
                    <a:pt x="349" y="3"/>
                  </a:cubicBezTo>
                  <a:cubicBezTo>
                    <a:pt x="355" y="3"/>
                    <a:pt x="363" y="0"/>
                    <a:pt x="363" y="11"/>
                  </a:cubicBezTo>
                  <a:cubicBezTo>
                    <a:pt x="363" y="23"/>
                    <a:pt x="355" y="19"/>
                    <a:pt x="349" y="19"/>
                  </a:cubicBezTo>
                  <a:cubicBezTo>
                    <a:pt x="237" y="20"/>
                    <a:pt x="125" y="20"/>
                    <a:pt x="13" y="19"/>
                  </a:cubicBezTo>
                  <a:cubicBezTo>
                    <a:pt x="8" y="19"/>
                    <a:pt x="1" y="22"/>
                    <a:pt x="0" y="12"/>
                  </a:cubicBezTo>
                  <a:cubicBezTo>
                    <a:pt x="0" y="1"/>
                    <a:pt x="8" y="3"/>
                    <a:pt x="13" y="3"/>
                  </a:cubicBezTo>
                  <a:cubicBezTo>
                    <a:pt x="70" y="3"/>
                    <a:pt x="126" y="3"/>
                    <a:pt x="18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6" name="Freeform 63"/>
            <p:cNvSpPr>
              <a:spLocks/>
            </p:cNvSpPr>
            <p:nvPr/>
          </p:nvSpPr>
          <p:spPr bwMode="auto">
            <a:xfrm>
              <a:off x="3606" y="2655"/>
              <a:ext cx="859" cy="52"/>
            </a:xfrm>
            <a:custGeom>
              <a:avLst/>
              <a:gdLst>
                <a:gd name="T0" fmla="*/ 180 w 363"/>
                <a:gd name="T1" fmla="*/ 20 h 22"/>
                <a:gd name="T2" fmla="*/ 18 w 363"/>
                <a:gd name="T3" fmla="*/ 20 h 22"/>
                <a:gd name="T4" fmla="*/ 12 w 363"/>
                <a:gd name="T5" fmla="*/ 20 h 22"/>
                <a:gd name="T6" fmla="*/ 0 w 363"/>
                <a:gd name="T7" fmla="*/ 11 h 22"/>
                <a:gd name="T8" fmla="*/ 12 w 363"/>
                <a:gd name="T9" fmla="*/ 4 h 22"/>
                <a:gd name="T10" fmla="*/ 144 w 363"/>
                <a:gd name="T11" fmla="*/ 4 h 22"/>
                <a:gd name="T12" fmla="*/ 349 w 363"/>
                <a:gd name="T13" fmla="*/ 4 h 22"/>
                <a:gd name="T14" fmla="*/ 363 w 363"/>
                <a:gd name="T15" fmla="*/ 11 h 22"/>
                <a:gd name="T16" fmla="*/ 349 w 363"/>
                <a:gd name="T17" fmla="*/ 20 h 22"/>
                <a:gd name="T18" fmla="*/ 180 w 363"/>
                <a:gd name="T19" fmla="*/ 2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3" h="22">
                  <a:moveTo>
                    <a:pt x="180" y="20"/>
                  </a:moveTo>
                  <a:cubicBezTo>
                    <a:pt x="126" y="20"/>
                    <a:pt x="72" y="20"/>
                    <a:pt x="18" y="20"/>
                  </a:cubicBezTo>
                  <a:cubicBezTo>
                    <a:pt x="16" y="20"/>
                    <a:pt x="14" y="20"/>
                    <a:pt x="12" y="20"/>
                  </a:cubicBezTo>
                  <a:cubicBezTo>
                    <a:pt x="6" y="20"/>
                    <a:pt x="0" y="21"/>
                    <a:pt x="0" y="11"/>
                  </a:cubicBezTo>
                  <a:cubicBezTo>
                    <a:pt x="1" y="2"/>
                    <a:pt x="7" y="4"/>
                    <a:pt x="12" y="4"/>
                  </a:cubicBezTo>
                  <a:cubicBezTo>
                    <a:pt x="56" y="4"/>
                    <a:pt x="100" y="4"/>
                    <a:pt x="144" y="4"/>
                  </a:cubicBezTo>
                  <a:cubicBezTo>
                    <a:pt x="212" y="4"/>
                    <a:pt x="281" y="3"/>
                    <a:pt x="349" y="4"/>
                  </a:cubicBezTo>
                  <a:cubicBezTo>
                    <a:pt x="355" y="4"/>
                    <a:pt x="363" y="0"/>
                    <a:pt x="363" y="11"/>
                  </a:cubicBezTo>
                  <a:cubicBezTo>
                    <a:pt x="363" y="22"/>
                    <a:pt x="355" y="20"/>
                    <a:pt x="349" y="20"/>
                  </a:cubicBezTo>
                  <a:cubicBezTo>
                    <a:pt x="293" y="20"/>
                    <a:pt x="236" y="20"/>
                    <a:pt x="180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7" name="Freeform 64"/>
            <p:cNvSpPr>
              <a:spLocks noEditPoints="1"/>
            </p:cNvSpPr>
            <p:nvPr/>
          </p:nvSpPr>
          <p:spPr bwMode="auto">
            <a:xfrm>
              <a:off x="3187" y="2416"/>
              <a:ext cx="281" cy="284"/>
            </a:xfrm>
            <a:custGeom>
              <a:avLst/>
              <a:gdLst>
                <a:gd name="T0" fmla="*/ 119 w 119"/>
                <a:gd name="T1" fmla="*/ 61 h 120"/>
                <a:gd name="T2" fmla="*/ 119 w 119"/>
                <a:gd name="T3" fmla="*/ 106 h 120"/>
                <a:gd name="T4" fmla="*/ 106 w 119"/>
                <a:gd name="T5" fmla="*/ 120 h 120"/>
                <a:gd name="T6" fmla="*/ 11 w 119"/>
                <a:gd name="T7" fmla="*/ 120 h 120"/>
                <a:gd name="T8" fmla="*/ 0 w 119"/>
                <a:gd name="T9" fmla="*/ 108 h 120"/>
                <a:gd name="T10" fmla="*/ 0 w 119"/>
                <a:gd name="T11" fmla="*/ 11 h 120"/>
                <a:gd name="T12" fmla="*/ 10 w 119"/>
                <a:gd name="T13" fmla="*/ 0 h 120"/>
                <a:gd name="T14" fmla="*/ 108 w 119"/>
                <a:gd name="T15" fmla="*/ 0 h 120"/>
                <a:gd name="T16" fmla="*/ 119 w 119"/>
                <a:gd name="T17" fmla="*/ 12 h 120"/>
                <a:gd name="T18" fmla="*/ 119 w 119"/>
                <a:gd name="T19" fmla="*/ 61 h 120"/>
                <a:gd name="T20" fmla="*/ 119 w 119"/>
                <a:gd name="T21" fmla="*/ 61 h 120"/>
                <a:gd name="T22" fmla="*/ 59 w 119"/>
                <a:gd name="T23" fmla="*/ 109 h 120"/>
                <a:gd name="T24" fmla="*/ 97 w 119"/>
                <a:gd name="T25" fmla="*/ 109 h 120"/>
                <a:gd name="T26" fmla="*/ 109 w 119"/>
                <a:gd name="T27" fmla="*/ 98 h 120"/>
                <a:gd name="T28" fmla="*/ 109 w 119"/>
                <a:gd name="T29" fmla="*/ 22 h 120"/>
                <a:gd name="T30" fmla="*/ 97 w 119"/>
                <a:gd name="T31" fmla="*/ 11 h 120"/>
                <a:gd name="T32" fmla="*/ 22 w 119"/>
                <a:gd name="T33" fmla="*/ 10 h 120"/>
                <a:gd name="T34" fmla="*/ 9 w 119"/>
                <a:gd name="T35" fmla="*/ 23 h 120"/>
                <a:gd name="T36" fmla="*/ 9 w 119"/>
                <a:gd name="T37" fmla="*/ 97 h 120"/>
                <a:gd name="T38" fmla="*/ 23 w 119"/>
                <a:gd name="T39" fmla="*/ 109 h 120"/>
                <a:gd name="T40" fmla="*/ 59 w 119"/>
                <a:gd name="T41" fmla="*/ 10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0">
                  <a:moveTo>
                    <a:pt x="119" y="61"/>
                  </a:moveTo>
                  <a:cubicBezTo>
                    <a:pt x="119" y="76"/>
                    <a:pt x="118" y="91"/>
                    <a:pt x="119" y="106"/>
                  </a:cubicBezTo>
                  <a:cubicBezTo>
                    <a:pt x="119" y="116"/>
                    <a:pt x="116" y="120"/>
                    <a:pt x="106" y="120"/>
                  </a:cubicBezTo>
                  <a:cubicBezTo>
                    <a:pt x="74" y="119"/>
                    <a:pt x="43" y="119"/>
                    <a:pt x="11" y="120"/>
                  </a:cubicBezTo>
                  <a:cubicBezTo>
                    <a:pt x="3" y="120"/>
                    <a:pt x="0" y="117"/>
                    <a:pt x="0" y="108"/>
                  </a:cubicBezTo>
                  <a:cubicBezTo>
                    <a:pt x="0" y="76"/>
                    <a:pt x="0" y="43"/>
                    <a:pt x="0" y="11"/>
                  </a:cubicBezTo>
                  <a:cubicBezTo>
                    <a:pt x="0" y="4"/>
                    <a:pt x="2" y="0"/>
                    <a:pt x="10" y="0"/>
                  </a:cubicBezTo>
                  <a:cubicBezTo>
                    <a:pt x="43" y="0"/>
                    <a:pt x="75" y="1"/>
                    <a:pt x="108" y="0"/>
                  </a:cubicBezTo>
                  <a:cubicBezTo>
                    <a:pt x="117" y="0"/>
                    <a:pt x="119" y="4"/>
                    <a:pt x="119" y="12"/>
                  </a:cubicBezTo>
                  <a:cubicBezTo>
                    <a:pt x="118" y="29"/>
                    <a:pt x="119" y="45"/>
                    <a:pt x="119" y="61"/>
                  </a:cubicBezTo>
                  <a:cubicBezTo>
                    <a:pt x="119" y="61"/>
                    <a:pt x="119" y="61"/>
                    <a:pt x="119" y="61"/>
                  </a:cubicBezTo>
                  <a:close/>
                  <a:moveTo>
                    <a:pt x="59" y="109"/>
                  </a:moveTo>
                  <a:cubicBezTo>
                    <a:pt x="71" y="109"/>
                    <a:pt x="84" y="108"/>
                    <a:pt x="97" y="109"/>
                  </a:cubicBezTo>
                  <a:cubicBezTo>
                    <a:pt x="106" y="109"/>
                    <a:pt x="109" y="106"/>
                    <a:pt x="109" y="98"/>
                  </a:cubicBezTo>
                  <a:cubicBezTo>
                    <a:pt x="108" y="72"/>
                    <a:pt x="108" y="47"/>
                    <a:pt x="109" y="22"/>
                  </a:cubicBezTo>
                  <a:cubicBezTo>
                    <a:pt x="109" y="13"/>
                    <a:pt x="105" y="10"/>
                    <a:pt x="97" y="11"/>
                  </a:cubicBezTo>
                  <a:cubicBezTo>
                    <a:pt x="72" y="11"/>
                    <a:pt x="47" y="11"/>
                    <a:pt x="22" y="10"/>
                  </a:cubicBezTo>
                  <a:cubicBezTo>
                    <a:pt x="13" y="10"/>
                    <a:pt x="9" y="13"/>
                    <a:pt x="9" y="23"/>
                  </a:cubicBezTo>
                  <a:cubicBezTo>
                    <a:pt x="10" y="48"/>
                    <a:pt x="10" y="72"/>
                    <a:pt x="9" y="97"/>
                  </a:cubicBezTo>
                  <a:cubicBezTo>
                    <a:pt x="9" y="107"/>
                    <a:pt x="13" y="109"/>
                    <a:pt x="23" y="109"/>
                  </a:cubicBezTo>
                  <a:cubicBezTo>
                    <a:pt x="35" y="108"/>
                    <a:pt x="47" y="109"/>
                    <a:pt x="59" y="1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8" name="Freeform 65"/>
            <p:cNvSpPr>
              <a:spLocks noEditPoints="1"/>
            </p:cNvSpPr>
            <p:nvPr/>
          </p:nvSpPr>
          <p:spPr bwMode="auto">
            <a:xfrm>
              <a:off x="3187" y="2032"/>
              <a:ext cx="281" cy="284"/>
            </a:xfrm>
            <a:custGeom>
              <a:avLst/>
              <a:gdLst>
                <a:gd name="T0" fmla="*/ 60 w 119"/>
                <a:gd name="T1" fmla="*/ 0 h 120"/>
                <a:gd name="T2" fmla="*/ 105 w 119"/>
                <a:gd name="T3" fmla="*/ 0 h 120"/>
                <a:gd name="T4" fmla="*/ 119 w 119"/>
                <a:gd name="T5" fmla="*/ 13 h 120"/>
                <a:gd name="T6" fmla="*/ 119 w 119"/>
                <a:gd name="T7" fmla="*/ 107 h 120"/>
                <a:gd name="T8" fmla="*/ 105 w 119"/>
                <a:gd name="T9" fmla="*/ 120 h 120"/>
                <a:gd name="T10" fmla="*/ 13 w 119"/>
                <a:gd name="T11" fmla="*/ 120 h 120"/>
                <a:gd name="T12" fmla="*/ 0 w 119"/>
                <a:gd name="T13" fmla="*/ 107 h 120"/>
                <a:gd name="T14" fmla="*/ 0 w 119"/>
                <a:gd name="T15" fmla="*/ 12 h 120"/>
                <a:gd name="T16" fmla="*/ 12 w 119"/>
                <a:gd name="T17" fmla="*/ 0 h 120"/>
                <a:gd name="T18" fmla="*/ 60 w 119"/>
                <a:gd name="T19" fmla="*/ 0 h 120"/>
                <a:gd name="T20" fmla="*/ 108 w 119"/>
                <a:gd name="T21" fmla="*/ 61 h 120"/>
                <a:gd name="T22" fmla="*/ 108 w 119"/>
                <a:gd name="T23" fmla="*/ 21 h 120"/>
                <a:gd name="T24" fmla="*/ 99 w 119"/>
                <a:gd name="T25" fmla="*/ 11 h 120"/>
                <a:gd name="T26" fmla="*/ 20 w 119"/>
                <a:gd name="T27" fmla="*/ 11 h 120"/>
                <a:gd name="T28" fmla="*/ 9 w 119"/>
                <a:gd name="T29" fmla="*/ 22 h 120"/>
                <a:gd name="T30" fmla="*/ 9 w 119"/>
                <a:gd name="T31" fmla="*/ 99 h 120"/>
                <a:gd name="T32" fmla="*/ 19 w 119"/>
                <a:gd name="T33" fmla="*/ 109 h 120"/>
                <a:gd name="T34" fmla="*/ 98 w 119"/>
                <a:gd name="T35" fmla="*/ 110 h 120"/>
                <a:gd name="T36" fmla="*/ 108 w 119"/>
                <a:gd name="T37" fmla="*/ 99 h 120"/>
                <a:gd name="T38" fmla="*/ 108 w 119"/>
                <a:gd name="T39" fmla="*/ 61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9" h="120">
                  <a:moveTo>
                    <a:pt x="60" y="0"/>
                  </a:moveTo>
                  <a:cubicBezTo>
                    <a:pt x="75" y="0"/>
                    <a:pt x="90" y="1"/>
                    <a:pt x="105" y="0"/>
                  </a:cubicBezTo>
                  <a:cubicBezTo>
                    <a:pt x="114" y="0"/>
                    <a:pt x="119" y="2"/>
                    <a:pt x="119" y="13"/>
                  </a:cubicBezTo>
                  <a:cubicBezTo>
                    <a:pt x="118" y="44"/>
                    <a:pt x="118" y="75"/>
                    <a:pt x="119" y="107"/>
                  </a:cubicBezTo>
                  <a:cubicBezTo>
                    <a:pt x="119" y="116"/>
                    <a:pt x="115" y="120"/>
                    <a:pt x="105" y="120"/>
                  </a:cubicBezTo>
                  <a:cubicBezTo>
                    <a:pt x="75" y="119"/>
                    <a:pt x="44" y="119"/>
                    <a:pt x="13" y="120"/>
                  </a:cubicBezTo>
                  <a:cubicBezTo>
                    <a:pt x="3" y="120"/>
                    <a:pt x="0" y="116"/>
                    <a:pt x="0" y="107"/>
                  </a:cubicBezTo>
                  <a:cubicBezTo>
                    <a:pt x="0" y="75"/>
                    <a:pt x="0" y="44"/>
                    <a:pt x="0" y="12"/>
                  </a:cubicBezTo>
                  <a:cubicBezTo>
                    <a:pt x="0" y="4"/>
                    <a:pt x="3" y="0"/>
                    <a:pt x="12" y="0"/>
                  </a:cubicBezTo>
                  <a:cubicBezTo>
                    <a:pt x="28" y="1"/>
                    <a:pt x="44" y="0"/>
                    <a:pt x="60" y="0"/>
                  </a:cubicBezTo>
                  <a:close/>
                  <a:moveTo>
                    <a:pt x="108" y="61"/>
                  </a:moveTo>
                  <a:cubicBezTo>
                    <a:pt x="108" y="48"/>
                    <a:pt x="108" y="34"/>
                    <a:pt x="108" y="21"/>
                  </a:cubicBezTo>
                  <a:cubicBezTo>
                    <a:pt x="109" y="14"/>
                    <a:pt x="107" y="11"/>
                    <a:pt x="99" y="11"/>
                  </a:cubicBezTo>
                  <a:cubicBezTo>
                    <a:pt x="73" y="11"/>
                    <a:pt x="46" y="11"/>
                    <a:pt x="20" y="11"/>
                  </a:cubicBezTo>
                  <a:cubicBezTo>
                    <a:pt x="12" y="11"/>
                    <a:pt x="9" y="14"/>
                    <a:pt x="9" y="22"/>
                  </a:cubicBezTo>
                  <a:cubicBezTo>
                    <a:pt x="10" y="48"/>
                    <a:pt x="10" y="73"/>
                    <a:pt x="9" y="99"/>
                  </a:cubicBezTo>
                  <a:cubicBezTo>
                    <a:pt x="9" y="106"/>
                    <a:pt x="12" y="109"/>
                    <a:pt x="19" y="109"/>
                  </a:cubicBezTo>
                  <a:cubicBezTo>
                    <a:pt x="45" y="109"/>
                    <a:pt x="72" y="109"/>
                    <a:pt x="98" y="110"/>
                  </a:cubicBezTo>
                  <a:cubicBezTo>
                    <a:pt x="107" y="110"/>
                    <a:pt x="109" y="106"/>
                    <a:pt x="108" y="99"/>
                  </a:cubicBezTo>
                  <a:cubicBezTo>
                    <a:pt x="108" y="86"/>
                    <a:pt x="108" y="74"/>
                    <a:pt x="108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9" name="Freeform 66"/>
            <p:cNvSpPr>
              <a:spLocks noEditPoints="1"/>
            </p:cNvSpPr>
            <p:nvPr/>
          </p:nvSpPr>
          <p:spPr bwMode="auto">
            <a:xfrm>
              <a:off x="3187" y="2799"/>
              <a:ext cx="281" cy="284"/>
            </a:xfrm>
            <a:custGeom>
              <a:avLst/>
              <a:gdLst>
                <a:gd name="T0" fmla="*/ 0 w 119"/>
                <a:gd name="T1" fmla="*/ 58 h 120"/>
                <a:gd name="T2" fmla="*/ 0 w 119"/>
                <a:gd name="T3" fmla="*/ 12 h 120"/>
                <a:gd name="T4" fmla="*/ 11 w 119"/>
                <a:gd name="T5" fmla="*/ 0 h 120"/>
                <a:gd name="T6" fmla="*/ 108 w 119"/>
                <a:gd name="T7" fmla="*/ 0 h 120"/>
                <a:gd name="T8" fmla="*/ 119 w 119"/>
                <a:gd name="T9" fmla="*/ 11 h 120"/>
                <a:gd name="T10" fmla="*/ 119 w 119"/>
                <a:gd name="T11" fmla="*/ 108 h 120"/>
                <a:gd name="T12" fmla="*/ 107 w 119"/>
                <a:gd name="T13" fmla="*/ 119 h 120"/>
                <a:gd name="T14" fmla="*/ 11 w 119"/>
                <a:gd name="T15" fmla="*/ 119 h 120"/>
                <a:gd name="T16" fmla="*/ 0 w 119"/>
                <a:gd name="T17" fmla="*/ 108 h 120"/>
                <a:gd name="T18" fmla="*/ 0 w 119"/>
                <a:gd name="T19" fmla="*/ 58 h 120"/>
                <a:gd name="T20" fmla="*/ 0 w 119"/>
                <a:gd name="T21" fmla="*/ 58 h 120"/>
                <a:gd name="T22" fmla="*/ 60 w 119"/>
                <a:gd name="T23" fmla="*/ 109 h 120"/>
                <a:gd name="T24" fmla="*/ 97 w 119"/>
                <a:gd name="T25" fmla="*/ 109 h 120"/>
                <a:gd name="T26" fmla="*/ 109 w 119"/>
                <a:gd name="T27" fmla="*/ 98 h 120"/>
                <a:gd name="T28" fmla="*/ 109 w 119"/>
                <a:gd name="T29" fmla="*/ 21 h 120"/>
                <a:gd name="T30" fmla="*/ 96 w 119"/>
                <a:gd name="T31" fmla="*/ 10 h 120"/>
                <a:gd name="T32" fmla="*/ 22 w 119"/>
                <a:gd name="T33" fmla="*/ 10 h 120"/>
                <a:gd name="T34" fmla="*/ 9 w 119"/>
                <a:gd name="T35" fmla="*/ 22 h 120"/>
                <a:gd name="T36" fmla="*/ 9 w 119"/>
                <a:gd name="T37" fmla="*/ 97 h 120"/>
                <a:gd name="T38" fmla="*/ 21 w 119"/>
                <a:gd name="T39" fmla="*/ 109 h 120"/>
                <a:gd name="T40" fmla="*/ 60 w 119"/>
                <a:gd name="T41" fmla="*/ 10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0">
                  <a:moveTo>
                    <a:pt x="0" y="58"/>
                  </a:moveTo>
                  <a:cubicBezTo>
                    <a:pt x="0" y="43"/>
                    <a:pt x="0" y="27"/>
                    <a:pt x="0" y="12"/>
                  </a:cubicBezTo>
                  <a:cubicBezTo>
                    <a:pt x="0" y="4"/>
                    <a:pt x="1" y="0"/>
                    <a:pt x="11" y="0"/>
                  </a:cubicBezTo>
                  <a:cubicBezTo>
                    <a:pt x="43" y="0"/>
                    <a:pt x="75" y="0"/>
                    <a:pt x="108" y="0"/>
                  </a:cubicBezTo>
                  <a:cubicBezTo>
                    <a:pt x="116" y="0"/>
                    <a:pt x="119" y="3"/>
                    <a:pt x="119" y="11"/>
                  </a:cubicBezTo>
                  <a:cubicBezTo>
                    <a:pt x="118" y="43"/>
                    <a:pt x="119" y="75"/>
                    <a:pt x="119" y="108"/>
                  </a:cubicBezTo>
                  <a:cubicBezTo>
                    <a:pt x="119" y="116"/>
                    <a:pt x="115" y="120"/>
                    <a:pt x="107" y="119"/>
                  </a:cubicBezTo>
                  <a:cubicBezTo>
                    <a:pt x="75" y="119"/>
                    <a:pt x="43" y="119"/>
                    <a:pt x="11" y="119"/>
                  </a:cubicBezTo>
                  <a:cubicBezTo>
                    <a:pt x="3" y="119"/>
                    <a:pt x="0" y="116"/>
                    <a:pt x="0" y="108"/>
                  </a:cubicBezTo>
                  <a:cubicBezTo>
                    <a:pt x="0" y="91"/>
                    <a:pt x="0" y="75"/>
                    <a:pt x="0" y="58"/>
                  </a:cubicBezTo>
                  <a:cubicBezTo>
                    <a:pt x="0" y="58"/>
                    <a:pt x="0" y="58"/>
                    <a:pt x="0" y="58"/>
                  </a:cubicBezTo>
                  <a:close/>
                  <a:moveTo>
                    <a:pt x="60" y="109"/>
                  </a:moveTo>
                  <a:cubicBezTo>
                    <a:pt x="72" y="109"/>
                    <a:pt x="85" y="108"/>
                    <a:pt x="97" y="109"/>
                  </a:cubicBezTo>
                  <a:cubicBezTo>
                    <a:pt x="106" y="109"/>
                    <a:pt x="109" y="106"/>
                    <a:pt x="109" y="98"/>
                  </a:cubicBezTo>
                  <a:cubicBezTo>
                    <a:pt x="108" y="72"/>
                    <a:pt x="108" y="47"/>
                    <a:pt x="109" y="21"/>
                  </a:cubicBezTo>
                  <a:cubicBezTo>
                    <a:pt x="109" y="12"/>
                    <a:pt x="105" y="9"/>
                    <a:pt x="96" y="10"/>
                  </a:cubicBezTo>
                  <a:cubicBezTo>
                    <a:pt x="71" y="10"/>
                    <a:pt x="46" y="10"/>
                    <a:pt x="22" y="10"/>
                  </a:cubicBezTo>
                  <a:cubicBezTo>
                    <a:pt x="13" y="10"/>
                    <a:pt x="9" y="13"/>
                    <a:pt x="9" y="22"/>
                  </a:cubicBezTo>
                  <a:cubicBezTo>
                    <a:pt x="10" y="47"/>
                    <a:pt x="10" y="72"/>
                    <a:pt x="9" y="97"/>
                  </a:cubicBezTo>
                  <a:cubicBezTo>
                    <a:pt x="9" y="105"/>
                    <a:pt x="12" y="109"/>
                    <a:pt x="21" y="109"/>
                  </a:cubicBezTo>
                  <a:cubicBezTo>
                    <a:pt x="34" y="108"/>
                    <a:pt x="47" y="109"/>
                    <a:pt x="60" y="1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565" name="Group 201"/>
          <p:cNvGrpSpPr/>
          <p:nvPr/>
        </p:nvGrpSpPr>
        <p:grpSpPr>
          <a:xfrm flipH="1">
            <a:off x="5056204" y="4355924"/>
            <a:ext cx="254089" cy="254089"/>
            <a:chOff x="1282752" y="4938098"/>
            <a:chExt cx="1451258" cy="1449504"/>
          </a:xfrm>
          <a:solidFill>
            <a:schemeClr val="bg1"/>
          </a:solidFill>
          <a:effectLst/>
        </p:grpSpPr>
        <p:grpSp>
          <p:nvGrpSpPr>
            <p:cNvPr id="566" name="Group 203"/>
            <p:cNvGrpSpPr/>
            <p:nvPr/>
          </p:nvGrpSpPr>
          <p:grpSpPr>
            <a:xfrm>
              <a:off x="1783764" y="5241759"/>
              <a:ext cx="444794" cy="514698"/>
              <a:chOff x="14065458" y="16152057"/>
              <a:chExt cx="1908828" cy="2208820"/>
            </a:xfrm>
            <a:grpFill/>
          </p:grpSpPr>
          <p:sp>
            <p:nvSpPr>
              <p:cNvPr id="576" name="Rounded Rectangle 213"/>
              <p:cNvSpPr/>
              <p:nvPr/>
            </p:nvSpPr>
            <p:spPr>
              <a:xfrm rot="20661364">
                <a:off x="14200146" y="16208948"/>
                <a:ext cx="277157" cy="2151929"/>
              </a:xfrm>
              <a:prstGeom prst="roundRect">
                <a:avLst>
                  <a:gd name="adj" fmla="val 46875"/>
                </a:avLst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519970">
                  <a:defRPr/>
                </a:pPr>
                <a:endParaRPr lang="en-US" sz="1842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577" name="Rounded Rectangle 214"/>
              <p:cNvSpPr/>
              <p:nvPr/>
            </p:nvSpPr>
            <p:spPr>
              <a:xfrm rot="938636" flipH="1">
                <a:off x="15569359" y="16208948"/>
                <a:ext cx="277157" cy="2151929"/>
              </a:xfrm>
              <a:prstGeom prst="roundRect">
                <a:avLst>
                  <a:gd name="adj" fmla="val 46875"/>
                </a:avLst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519970">
                  <a:defRPr/>
                </a:pPr>
                <a:endParaRPr lang="en-US" sz="1842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578" name="Rounded Rectangle 215"/>
              <p:cNvSpPr/>
              <p:nvPr/>
            </p:nvSpPr>
            <p:spPr>
              <a:xfrm flipH="1">
                <a:off x="14871104" y="16152057"/>
                <a:ext cx="277157" cy="1138309"/>
              </a:xfrm>
              <a:prstGeom prst="roundRect">
                <a:avLst>
                  <a:gd name="adj" fmla="val 46875"/>
                </a:avLst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519970">
                  <a:defRPr/>
                </a:pPr>
                <a:endParaRPr lang="en-US" sz="1842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579" name="Freeform 216"/>
              <p:cNvSpPr/>
              <p:nvPr/>
            </p:nvSpPr>
            <p:spPr>
              <a:xfrm>
                <a:off x="14065458" y="16512027"/>
                <a:ext cx="1908828" cy="559897"/>
              </a:xfrm>
              <a:custGeom>
                <a:avLst/>
                <a:gdLst>
                  <a:gd name="connsiteX0" fmla="*/ 2650874 w 3020652"/>
                  <a:gd name="connsiteY0" fmla="*/ 501853 h 2043633"/>
                  <a:gd name="connsiteX1" fmla="*/ 2675767 w 3020652"/>
                  <a:gd name="connsiteY1" fmla="*/ 528173 h 2043633"/>
                  <a:gd name="connsiteX2" fmla="*/ 3020652 w 3020652"/>
                  <a:gd name="connsiteY2" fmla="*/ 1451393 h 2043633"/>
                  <a:gd name="connsiteX3" fmla="*/ 2901963 w 3020652"/>
                  <a:gd name="connsiteY3" fmla="*/ 2016341 h 2043633"/>
                  <a:gd name="connsiteX4" fmla="*/ 2897503 w 3020652"/>
                  <a:gd name="connsiteY4" fmla="*/ 2025239 h 2043633"/>
                  <a:gd name="connsiteX5" fmla="*/ 2802193 w 3020652"/>
                  <a:gd name="connsiteY5" fmla="*/ 1436521 h 2043633"/>
                  <a:gd name="connsiteX6" fmla="*/ 2796300 w 3020652"/>
                  <a:gd name="connsiteY6" fmla="*/ 1324385 h 2043633"/>
                  <a:gd name="connsiteX7" fmla="*/ 2744859 w 3020652"/>
                  <a:gd name="connsiteY7" fmla="*/ 1081999 h 2043633"/>
                  <a:gd name="connsiteX8" fmla="*/ 2744751 w 3020652"/>
                  <a:gd name="connsiteY8" fmla="*/ 1081715 h 2043633"/>
                  <a:gd name="connsiteX9" fmla="*/ 384115 w 3020652"/>
                  <a:gd name="connsiteY9" fmla="*/ 486693 h 2043633"/>
                  <a:gd name="connsiteX10" fmla="*/ 296760 w 3020652"/>
                  <a:gd name="connsiteY10" fmla="*/ 1026949 h 2043633"/>
                  <a:gd name="connsiteX11" fmla="*/ 275793 w 3020652"/>
                  <a:gd name="connsiteY11" fmla="*/ 1081999 h 2043633"/>
                  <a:gd name="connsiteX12" fmla="*/ 217678 w 3020652"/>
                  <a:gd name="connsiteY12" fmla="*/ 1451393 h 2043633"/>
                  <a:gd name="connsiteX13" fmla="*/ 220242 w 3020652"/>
                  <a:gd name="connsiteY13" fmla="*/ 1500181 h 2043633"/>
                  <a:gd name="connsiteX14" fmla="*/ 132369 w 3020652"/>
                  <a:gd name="connsiteY14" fmla="*/ 2043633 h 2043633"/>
                  <a:gd name="connsiteX15" fmla="*/ 118689 w 3020652"/>
                  <a:gd name="connsiteY15" fmla="*/ 2016341 h 2043633"/>
                  <a:gd name="connsiteX16" fmla="*/ 0 w 3020652"/>
                  <a:gd name="connsiteY16" fmla="*/ 1451393 h 2043633"/>
                  <a:gd name="connsiteX17" fmla="*/ 344885 w 3020652"/>
                  <a:gd name="connsiteY17" fmla="*/ 528173 h 2043633"/>
                  <a:gd name="connsiteX18" fmla="*/ 1510326 w 3020652"/>
                  <a:gd name="connsiteY18" fmla="*/ 0 h 2043633"/>
                  <a:gd name="connsiteX19" fmla="*/ 2471034 w 3020652"/>
                  <a:gd name="connsiteY19" fmla="*/ 331427 h 2043633"/>
                  <a:gd name="connsiteX20" fmla="*/ 2474929 w 3020652"/>
                  <a:gd name="connsiteY20" fmla="*/ 334829 h 2043633"/>
                  <a:gd name="connsiteX21" fmla="*/ 2409343 w 3020652"/>
                  <a:gd name="connsiteY21" fmla="*/ 559897 h 2043633"/>
                  <a:gd name="connsiteX22" fmla="*/ 2332570 w 3020652"/>
                  <a:gd name="connsiteY22" fmla="*/ 492845 h 2043633"/>
                  <a:gd name="connsiteX23" fmla="*/ 1510326 w 3020652"/>
                  <a:gd name="connsiteY23" fmla="*/ 209184 h 2043633"/>
                  <a:gd name="connsiteX24" fmla="*/ 688082 w 3020652"/>
                  <a:gd name="connsiteY24" fmla="*/ 492845 h 2043633"/>
                  <a:gd name="connsiteX25" fmla="*/ 630169 w 3020652"/>
                  <a:gd name="connsiteY25" fmla="*/ 543425 h 2043633"/>
                  <a:gd name="connsiteX26" fmla="*/ 566101 w 3020652"/>
                  <a:gd name="connsiteY26" fmla="*/ 319583 h 2043633"/>
                  <a:gd name="connsiteX27" fmla="*/ 665888 w 3020652"/>
                  <a:gd name="connsiteY27" fmla="*/ 247875 h 2043633"/>
                  <a:gd name="connsiteX28" fmla="*/ 1510326 w 3020652"/>
                  <a:gd name="connsiteY28" fmla="*/ 0 h 2043633"/>
                  <a:gd name="connsiteX0" fmla="*/ 2744751 w 3020652"/>
                  <a:gd name="connsiteY0" fmla="*/ 1081715 h 2043633"/>
                  <a:gd name="connsiteX1" fmla="*/ 2675767 w 3020652"/>
                  <a:gd name="connsiteY1" fmla="*/ 528173 h 2043633"/>
                  <a:gd name="connsiteX2" fmla="*/ 3020652 w 3020652"/>
                  <a:gd name="connsiteY2" fmla="*/ 1451393 h 2043633"/>
                  <a:gd name="connsiteX3" fmla="*/ 2901963 w 3020652"/>
                  <a:gd name="connsiteY3" fmla="*/ 2016341 h 2043633"/>
                  <a:gd name="connsiteX4" fmla="*/ 2897503 w 3020652"/>
                  <a:gd name="connsiteY4" fmla="*/ 2025239 h 2043633"/>
                  <a:gd name="connsiteX5" fmla="*/ 2802193 w 3020652"/>
                  <a:gd name="connsiteY5" fmla="*/ 1436521 h 2043633"/>
                  <a:gd name="connsiteX6" fmla="*/ 2796300 w 3020652"/>
                  <a:gd name="connsiteY6" fmla="*/ 1324385 h 2043633"/>
                  <a:gd name="connsiteX7" fmla="*/ 2744859 w 3020652"/>
                  <a:gd name="connsiteY7" fmla="*/ 1081999 h 2043633"/>
                  <a:gd name="connsiteX8" fmla="*/ 2744751 w 3020652"/>
                  <a:gd name="connsiteY8" fmla="*/ 1081715 h 2043633"/>
                  <a:gd name="connsiteX9" fmla="*/ 384115 w 3020652"/>
                  <a:gd name="connsiteY9" fmla="*/ 486693 h 2043633"/>
                  <a:gd name="connsiteX10" fmla="*/ 296760 w 3020652"/>
                  <a:gd name="connsiteY10" fmla="*/ 1026949 h 2043633"/>
                  <a:gd name="connsiteX11" fmla="*/ 275793 w 3020652"/>
                  <a:gd name="connsiteY11" fmla="*/ 1081999 h 2043633"/>
                  <a:gd name="connsiteX12" fmla="*/ 217678 w 3020652"/>
                  <a:gd name="connsiteY12" fmla="*/ 1451393 h 2043633"/>
                  <a:gd name="connsiteX13" fmla="*/ 220242 w 3020652"/>
                  <a:gd name="connsiteY13" fmla="*/ 1500181 h 2043633"/>
                  <a:gd name="connsiteX14" fmla="*/ 132369 w 3020652"/>
                  <a:gd name="connsiteY14" fmla="*/ 2043633 h 2043633"/>
                  <a:gd name="connsiteX15" fmla="*/ 118689 w 3020652"/>
                  <a:gd name="connsiteY15" fmla="*/ 2016341 h 2043633"/>
                  <a:gd name="connsiteX16" fmla="*/ 0 w 3020652"/>
                  <a:gd name="connsiteY16" fmla="*/ 1451393 h 2043633"/>
                  <a:gd name="connsiteX17" fmla="*/ 344885 w 3020652"/>
                  <a:gd name="connsiteY17" fmla="*/ 528173 h 2043633"/>
                  <a:gd name="connsiteX18" fmla="*/ 384115 w 3020652"/>
                  <a:gd name="connsiteY18" fmla="*/ 486693 h 2043633"/>
                  <a:gd name="connsiteX19" fmla="*/ 1510326 w 3020652"/>
                  <a:gd name="connsiteY19" fmla="*/ 0 h 2043633"/>
                  <a:gd name="connsiteX20" fmla="*/ 2471034 w 3020652"/>
                  <a:gd name="connsiteY20" fmla="*/ 331427 h 2043633"/>
                  <a:gd name="connsiteX21" fmla="*/ 2474929 w 3020652"/>
                  <a:gd name="connsiteY21" fmla="*/ 334829 h 2043633"/>
                  <a:gd name="connsiteX22" fmla="*/ 2409343 w 3020652"/>
                  <a:gd name="connsiteY22" fmla="*/ 559897 h 2043633"/>
                  <a:gd name="connsiteX23" fmla="*/ 2332570 w 3020652"/>
                  <a:gd name="connsiteY23" fmla="*/ 492845 h 2043633"/>
                  <a:gd name="connsiteX24" fmla="*/ 1510326 w 3020652"/>
                  <a:gd name="connsiteY24" fmla="*/ 209184 h 2043633"/>
                  <a:gd name="connsiteX25" fmla="*/ 688082 w 3020652"/>
                  <a:gd name="connsiteY25" fmla="*/ 492845 h 2043633"/>
                  <a:gd name="connsiteX26" fmla="*/ 630169 w 3020652"/>
                  <a:gd name="connsiteY26" fmla="*/ 543425 h 2043633"/>
                  <a:gd name="connsiteX27" fmla="*/ 566101 w 3020652"/>
                  <a:gd name="connsiteY27" fmla="*/ 319583 h 2043633"/>
                  <a:gd name="connsiteX28" fmla="*/ 665888 w 3020652"/>
                  <a:gd name="connsiteY28" fmla="*/ 247875 h 2043633"/>
                  <a:gd name="connsiteX29" fmla="*/ 1510326 w 3020652"/>
                  <a:gd name="connsiteY29" fmla="*/ 0 h 2043633"/>
                  <a:gd name="connsiteX0" fmla="*/ 2744751 w 3020652"/>
                  <a:gd name="connsiteY0" fmla="*/ 1081715 h 2043633"/>
                  <a:gd name="connsiteX1" fmla="*/ 3020652 w 3020652"/>
                  <a:gd name="connsiteY1" fmla="*/ 1451393 h 2043633"/>
                  <a:gd name="connsiteX2" fmla="*/ 2901963 w 3020652"/>
                  <a:gd name="connsiteY2" fmla="*/ 2016341 h 2043633"/>
                  <a:gd name="connsiteX3" fmla="*/ 2897503 w 3020652"/>
                  <a:gd name="connsiteY3" fmla="*/ 2025239 h 2043633"/>
                  <a:gd name="connsiteX4" fmla="*/ 2802193 w 3020652"/>
                  <a:gd name="connsiteY4" fmla="*/ 1436521 h 2043633"/>
                  <a:gd name="connsiteX5" fmla="*/ 2796300 w 3020652"/>
                  <a:gd name="connsiteY5" fmla="*/ 1324385 h 2043633"/>
                  <a:gd name="connsiteX6" fmla="*/ 2744859 w 3020652"/>
                  <a:gd name="connsiteY6" fmla="*/ 1081999 h 2043633"/>
                  <a:gd name="connsiteX7" fmla="*/ 2744751 w 3020652"/>
                  <a:gd name="connsiteY7" fmla="*/ 1081715 h 2043633"/>
                  <a:gd name="connsiteX8" fmla="*/ 384115 w 3020652"/>
                  <a:gd name="connsiteY8" fmla="*/ 486693 h 2043633"/>
                  <a:gd name="connsiteX9" fmla="*/ 296760 w 3020652"/>
                  <a:gd name="connsiteY9" fmla="*/ 1026949 h 2043633"/>
                  <a:gd name="connsiteX10" fmla="*/ 275793 w 3020652"/>
                  <a:gd name="connsiteY10" fmla="*/ 1081999 h 2043633"/>
                  <a:gd name="connsiteX11" fmla="*/ 217678 w 3020652"/>
                  <a:gd name="connsiteY11" fmla="*/ 1451393 h 2043633"/>
                  <a:gd name="connsiteX12" fmla="*/ 220242 w 3020652"/>
                  <a:gd name="connsiteY12" fmla="*/ 1500181 h 2043633"/>
                  <a:gd name="connsiteX13" fmla="*/ 132369 w 3020652"/>
                  <a:gd name="connsiteY13" fmla="*/ 2043633 h 2043633"/>
                  <a:gd name="connsiteX14" fmla="*/ 118689 w 3020652"/>
                  <a:gd name="connsiteY14" fmla="*/ 2016341 h 2043633"/>
                  <a:gd name="connsiteX15" fmla="*/ 0 w 3020652"/>
                  <a:gd name="connsiteY15" fmla="*/ 1451393 h 2043633"/>
                  <a:gd name="connsiteX16" fmla="*/ 344885 w 3020652"/>
                  <a:gd name="connsiteY16" fmla="*/ 528173 h 2043633"/>
                  <a:gd name="connsiteX17" fmla="*/ 384115 w 3020652"/>
                  <a:gd name="connsiteY17" fmla="*/ 486693 h 2043633"/>
                  <a:gd name="connsiteX18" fmla="*/ 1510326 w 3020652"/>
                  <a:gd name="connsiteY18" fmla="*/ 0 h 2043633"/>
                  <a:gd name="connsiteX19" fmla="*/ 2471034 w 3020652"/>
                  <a:gd name="connsiteY19" fmla="*/ 331427 h 2043633"/>
                  <a:gd name="connsiteX20" fmla="*/ 2474929 w 3020652"/>
                  <a:gd name="connsiteY20" fmla="*/ 334829 h 2043633"/>
                  <a:gd name="connsiteX21" fmla="*/ 2409343 w 3020652"/>
                  <a:gd name="connsiteY21" fmla="*/ 559897 h 2043633"/>
                  <a:gd name="connsiteX22" fmla="*/ 2332570 w 3020652"/>
                  <a:gd name="connsiteY22" fmla="*/ 492845 h 2043633"/>
                  <a:gd name="connsiteX23" fmla="*/ 1510326 w 3020652"/>
                  <a:gd name="connsiteY23" fmla="*/ 209184 h 2043633"/>
                  <a:gd name="connsiteX24" fmla="*/ 688082 w 3020652"/>
                  <a:gd name="connsiteY24" fmla="*/ 492845 h 2043633"/>
                  <a:gd name="connsiteX25" fmla="*/ 630169 w 3020652"/>
                  <a:gd name="connsiteY25" fmla="*/ 543425 h 2043633"/>
                  <a:gd name="connsiteX26" fmla="*/ 566101 w 3020652"/>
                  <a:gd name="connsiteY26" fmla="*/ 319583 h 2043633"/>
                  <a:gd name="connsiteX27" fmla="*/ 665888 w 3020652"/>
                  <a:gd name="connsiteY27" fmla="*/ 247875 h 2043633"/>
                  <a:gd name="connsiteX28" fmla="*/ 1510326 w 3020652"/>
                  <a:gd name="connsiteY28" fmla="*/ 0 h 2043633"/>
                  <a:gd name="connsiteX0" fmla="*/ 2744859 w 3020652"/>
                  <a:gd name="connsiteY0" fmla="*/ 1081999 h 2043633"/>
                  <a:gd name="connsiteX1" fmla="*/ 3020652 w 3020652"/>
                  <a:gd name="connsiteY1" fmla="*/ 1451393 h 2043633"/>
                  <a:gd name="connsiteX2" fmla="*/ 2901963 w 3020652"/>
                  <a:gd name="connsiteY2" fmla="*/ 2016341 h 2043633"/>
                  <a:gd name="connsiteX3" fmla="*/ 2897503 w 3020652"/>
                  <a:gd name="connsiteY3" fmla="*/ 2025239 h 2043633"/>
                  <a:gd name="connsiteX4" fmla="*/ 2802193 w 3020652"/>
                  <a:gd name="connsiteY4" fmla="*/ 1436521 h 2043633"/>
                  <a:gd name="connsiteX5" fmla="*/ 2796300 w 3020652"/>
                  <a:gd name="connsiteY5" fmla="*/ 1324385 h 2043633"/>
                  <a:gd name="connsiteX6" fmla="*/ 2744859 w 3020652"/>
                  <a:gd name="connsiteY6" fmla="*/ 1081999 h 2043633"/>
                  <a:gd name="connsiteX7" fmla="*/ 384115 w 3020652"/>
                  <a:gd name="connsiteY7" fmla="*/ 486693 h 2043633"/>
                  <a:gd name="connsiteX8" fmla="*/ 296760 w 3020652"/>
                  <a:gd name="connsiteY8" fmla="*/ 1026949 h 2043633"/>
                  <a:gd name="connsiteX9" fmla="*/ 275793 w 3020652"/>
                  <a:gd name="connsiteY9" fmla="*/ 1081999 h 2043633"/>
                  <a:gd name="connsiteX10" fmla="*/ 217678 w 3020652"/>
                  <a:gd name="connsiteY10" fmla="*/ 1451393 h 2043633"/>
                  <a:gd name="connsiteX11" fmla="*/ 220242 w 3020652"/>
                  <a:gd name="connsiteY11" fmla="*/ 1500181 h 2043633"/>
                  <a:gd name="connsiteX12" fmla="*/ 132369 w 3020652"/>
                  <a:gd name="connsiteY12" fmla="*/ 2043633 h 2043633"/>
                  <a:gd name="connsiteX13" fmla="*/ 118689 w 3020652"/>
                  <a:gd name="connsiteY13" fmla="*/ 2016341 h 2043633"/>
                  <a:gd name="connsiteX14" fmla="*/ 0 w 3020652"/>
                  <a:gd name="connsiteY14" fmla="*/ 1451393 h 2043633"/>
                  <a:gd name="connsiteX15" fmla="*/ 344885 w 3020652"/>
                  <a:gd name="connsiteY15" fmla="*/ 528173 h 2043633"/>
                  <a:gd name="connsiteX16" fmla="*/ 384115 w 3020652"/>
                  <a:gd name="connsiteY16" fmla="*/ 486693 h 2043633"/>
                  <a:gd name="connsiteX17" fmla="*/ 1510326 w 3020652"/>
                  <a:gd name="connsiteY17" fmla="*/ 0 h 2043633"/>
                  <a:gd name="connsiteX18" fmla="*/ 2471034 w 3020652"/>
                  <a:gd name="connsiteY18" fmla="*/ 331427 h 2043633"/>
                  <a:gd name="connsiteX19" fmla="*/ 2474929 w 3020652"/>
                  <a:gd name="connsiteY19" fmla="*/ 334829 h 2043633"/>
                  <a:gd name="connsiteX20" fmla="*/ 2409343 w 3020652"/>
                  <a:gd name="connsiteY20" fmla="*/ 559897 h 2043633"/>
                  <a:gd name="connsiteX21" fmla="*/ 2332570 w 3020652"/>
                  <a:gd name="connsiteY21" fmla="*/ 492845 h 2043633"/>
                  <a:gd name="connsiteX22" fmla="*/ 1510326 w 3020652"/>
                  <a:gd name="connsiteY22" fmla="*/ 209184 h 2043633"/>
                  <a:gd name="connsiteX23" fmla="*/ 688082 w 3020652"/>
                  <a:gd name="connsiteY23" fmla="*/ 492845 h 2043633"/>
                  <a:gd name="connsiteX24" fmla="*/ 630169 w 3020652"/>
                  <a:gd name="connsiteY24" fmla="*/ 543425 h 2043633"/>
                  <a:gd name="connsiteX25" fmla="*/ 566101 w 3020652"/>
                  <a:gd name="connsiteY25" fmla="*/ 319583 h 2043633"/>
                  <a:gd name="connsiteX26" fmla="*/ 665888 w 3020652"/>
                  <a:gd name="connsiteY26" fmla="*/ 247875 h 2043633"/>
                  <a:gd name="connsiteX27" fmla="*/ 1510326 w 3020652"/>
                  <a:gd name="connsiteY27" fmla="*/ 0 h 2043633"/>
                  <a:gd name="connsiteX0" fmla="*/ 2796300 w 3023749"/>
                  <a:gd name="connsiteY0" fmla="*/ 1324385 h 2043633"/>
                  <a:gd name="connsiteX1" fmla="*/ 3020652 w 3023749"/>
                  <a:gd name="connsiteY1" fmla="*/ 1451393 h 2043633"/>
                  <a:gd name="connsiteX2" fmla="*/ 2901963 w 3023749"/>
                  <a:gd name="connsiteY2" fmla="*/ 2016341 h 2043633"/>
                  <a:gd name="connsiteX3" fmla="*/ 2897503 w 3023749"/>
                  <a:gd name="connsiteY3" fmla="*/ 2025239 h 2043633"/>
                  <a:gd name="connsiteX4" fmla="*/ 2802193 w 3023749"/>
                  <a:gd name="connsiteY4" fmla="*/ 1436521 h 2043633"/>
                  <a:gd name="connsiteX5" fmla="*/ 2796300 w 3023749"/>
                  <a:gd name="connsiteY5" fmla="*/ 1324385 h 2043633"/>
                  <a:gd name="connsiteX6" fmla="*/ 384115 w 3023749"/>
                  <a:gd name="connsiteY6" fmla="*/ 486693 h 2043633"/>
                  <a:gd name="connsiteX7" fmla="*/ 296760 w 3023749"/>
                  <a:gd name="connsiteY7" fmla="*/ 1026949 h 2043633"/>
                  <a:gd name="connsiteX8" fmla="*/ 275793 w 3023749"/>
                  <a:gd name="connsiteY8" fmla="*/ 1081999 h 2043633"/>
                  <a:gd name="connsiteX9" fmla="*/ 217678 w 3023749"/>
                  <a:gd name="connsiteY9" fmla="*/ 1451393 h 2043633"/>
                  <a:gd name="connsiteX10" fmla="*/ 220242 w 3023749"/>
                  <a:gd name="connsiteY10" fmla="*/ 1500181 h 2043633"/>
                  <a:gd name="connsiteX11" fmla="*/ 132369 w 3023749"/>
                  <a:gd name="connsiteY11" fmla="*/ 2043633 h 2043633"/>
                  <a:gd name="connsiteX12" fmla="*/ 118689 w 3023749"/>
                  <a:gd name="connsiteY12" fmla="*/ 2016341 h 2043633"/>
                  <a:gd name="connsiteX13" fmla="*/ 0 w 3023749"/>
                  <a:gd name="connsiteY13" fmla="*/ 1451393 h 2043633"/>
                  <a:gd name="connsiteX14" fmla="*/ 344885 w 3023749"/>
                  <a:gd name="connsiteY14" fmla="*/ 528173 h 2043633"/>
                  <a:gd name="connsiteX15" fmla="*/ 384115 w 3023749"/>
                  <a:gd name="connsiteY15" fmla="*/ 486693 h 2043633"/>
                  <a:gd name="connsiteX16" fmla="*/ 1510326 w 3023749"/>
                  <a:gd name="connsiteY16" fmla="*/ 0 h 2043633"/>
                  <a:gd name="connsiteX17" fmla="*/ 2471034 w 3023749"/>
                  <a:gd name="connsiteY17" fmla="*/ 331427 h 2043633"/>
                  <a:gd name="connsiteX18" fmla="*/ 2474929 w 3023749"/>
                  <a:gd name="connsiteY18" fmla="*/ 334829 h 2043633"/>
                  <a:gd name="connsiteX19" fmla="*/ 2409343 w 3023749"/>
                  <a:gd name="connsiteY19" fmla="*/ 559897 h 2043633"/>
                  <a:gd name="connsiteX20" fmla="*/ 2332570 w 3023749"/>
                  <a:gd name="connsiteY20" fmla="*/ 492845 h 2043633"/>
                  <a:gd name="connsiteX21" fmla="*/ 1510326 w 3023749"/>
                  <a:gd name="connsiteY21" fmla="*/ 209184 h 2043633"/>
                  <a:gd name="connsiteX22" fmla="*/ 688082 w 3023749"/>
                  <a:gd name="connsiteY22" fmla="*/ 492845 h 2043633"/>
                  <a:gd name="connsiteX23" fmla="*/ 630169 w 3023749"/>
                  <a:gd name="connsiteY23" fmla="*/ 543425 h 2043633"/>
                  <a:gd name="connsiteX24" fmla="*/ 566101 w 3023749"/>
                  <a:gd name="connsiteY24" fmla="*/ 319583 h 2043633"/>
                  <a:gd name="connsiteX25" fmla="*/ 665888 w 3023749"/>
                  <a:gd name="connsiteY25" fmla="*/ 247875 h 2043633"/>
                  <a:gd name="connsiteX26" fmla="*/ 1510326 w 3023749"/>
                  <a:gd name="connsiteY26" fmla="*/ 0 h 2043633"/>
                  <a:gd name="connsiteX0" fmla="*/ 2802193 w 3023749"/>
                  <a:gd name="connsiteY0" fmla="*/ 1436521 h 2043633"/>
                  <a:gd name="connsiteX1" fmla="*/ 3020652 w 3023749"/>
                  <a:gd name="connsiteY1" fmla="*/ 1451393 h 2043633"/>
                  <a:gd name="connsiteX2" fmla="*/ 2901963 w 3023749"/>
                  <a:gd name="connsiteY2" fmla="*/ 2016341 h 2043633"/>
                  <a:gd name="connsiteX3" fmla="*/ 2897503 w 3023749"/>
                  <a:gd name="connsiteY3" fmla="*/ 2025239 h 2043633"/>
                  <a:gd name="connsiteX4" fmla="*/ 2802193 w 3023749"/>
                  <a:gd name="connsiteY4" fmla="*/ 1436521 h 2043633"/>
                  <a:gd name="connsiteX5" fmla="*/ 384115 w 3023749"/>
                  <a:gd name="connsiteY5" fmla="*/ 486693 h 2043633"/>
                  <a:gd name="connsiteX6" fmla="*/ 296760 w 3023749"/>
                  <a:gd name="connsiteY6" fmla="*/ 1026949 h 2043633"/>
                  <a:gd name="connsiteX7" fmla="*/ 275793 w 3023749"/>
                  <a:gd name="connsiteY7" fmla="*/ 1081999 h 2043633"/>
                  <a:gd name="connsiteX8" fmla="*/ 217678 w 3023749"/>
                  <a:gd name="connsiteY8" fmla="*/ 1451393 h 2043633"/>
                  <a:gd name="connsiteX9" fmla="*/ 220242 w 3023749"/>
                  <a:gd name="connsiteY9" fmla="*/ 1500181 h 2043633"/>
                  <a:gd name="connsiteX10" fmla="*/ 132369 w 3023749"/>
                  <a:gd name="connsiteY10" fmla="*/ 2043633 h 2043633"/>
                  <a:gd name="connsiteX11" fmla="*/ 118689 w 3023749"/>
                  <a:gd name="connsiteY11" fmla="*/ 2016341 h 2043633"/>
                  <a:gd name="connsiteX12" fmla="*/ 0 w 3023749"/>
                  <a:gd name="connsiteY12" fmla="*/ 1451393 h 2043633"/>
                  <a:gd name="connsiteX13" fmla="*/ 344885 w 3023749"/>
                  <a:gd name="connsiteY13" fmla="*/ 528173 h 2043633"/>
                  <a:gd name="connsiteX14" fmla="*/ 384115 w 3023749"/>
                  <a:gd name="connsiteY14" fmla="*/ 486693 h 2043633"/>
                  <a:gd name="connsiteX15" fmla="*/ 1510326 w 3023749"/>
                  <a:gd name="connsiteY15" fmla="*/ 0 h 2043633"/>
                  <a:gd name="connsiteX16" fmla="*/ 2471034 w 3023749"/>
                  <a:gd name="connsiteY16" fmla="*/ 331427 h 2043633"/>
                  <a:gd name="connsiteX17" fmla="*/ 2474929 w 3023749"/>
                  <a:gd name="connsiteY17" fmla="*/ 334829 h 2043633"/>
                  <a:gd name="connsiteX18" fmla="*/ 2409343 w 3023749"/>
                  <a:gd name="connsiteY18" fmla="*/ 559897 h 2043633"/>
                  <a:gd name="connsiteX19" fmla="*/ 2332570 w 3023749"/>
                  <a:gd name="connsiteY19" fmla="*/ 492845 h 2043633"/>
                  <a:gd name="connsiteX20" fmla="*/ 1510326 w 3023749"/>
                  <a:gd name="connsiteY20" fmla="*/ 209184 h 2043633"/>
                  <a:gd name="connsiteX21" fmla="*/ 688082 w 3023749"/>
                  <a:gd name="connsiteY21" fmla="*/ 492845 h 2043633"/>
                  <a:gd name="connsiteX22" fmla="*/ 630169 w 3023749"/>
                  <a:gd name="connsiteY22" fmla="*/ 543425 h 2043633"/>
                  <a:gd name="connsiteX23" fmla="*/ 566101 w 3023749"/>
                  <a:gd name="connsiteY23" fmla="*/ 319583 h 2043633"/>
                  <a:gd name="connsiteX24" fmla="*/ 665888 w 3023749"/>
                  <a:gd name="connsiteY24" fmla="*/ 247875 h 2043633"/>
                  <a:gd name="connsiteX25" fmla="*/ 1510326 w 3023749"/>
                  <a:gd name="connsiteY25" fmla="*/ 0 h 2043633"/>
                  <a:gd name="connsiteX0" fmla="*/ 2897503 w 3023749"/>
                  <a:gd name="connsiteY0" fmla="*/ 2025239 h 2043633"/>
                  <a:gd name="connsiteX1" fmla="*/ 3020652 w 3023749"/>
                  <a:gd name="connsiteY1" fmla="*/ 1451393 h 2043633"/>
                  <a:gd name="connsiteX2" fmla="*/ 2901963 w 3023749"/>
                  <a:gd name="connsiteY2" fmla="*/ 2016341 h 2043633"/>
                  <a:gd name="connsiteX3" fmla="*/ 2897503 w 3023749"/>
                  <a:gd name="connsiteY3" fmla="*/ 2025239 h 2043633"/>
                  <a:gd name="connsiteX4" fmla="*/ 384115 w 3023749"/>
                  <a:gd name="connsiteY4" fmla="*/ 486693 h 2043633"/>
                  <a:gd name="connsiteX5" fmla="*/ 296760 w 3023749"/>
                  <a:gd name="connsiteY5" fmla="*/ 1026949 h 2043633"/>
                  <a:gd name="connsiteX6" fmla="*/ 275793 w 3023749"/>
                  <a:gd name="connsiteY6" fmla="*/ 1081999 h 2043633"/>
                  <a:gd name="connsiteX7" fmla="*/ 217678 w 3023749"/>
                  <a:gd name="connsiteY7" fmla="*/ 1451393 h 2043633"/>
                  <a:gd name="connsiteX8" fmla="*/ 220242 w 3023749"/>
                  <a:gd name="connsiteY8" fmla="*/ 1500181 h 2043633"/>
                  <a:gd name="connsiteX9" fmla="*/ 132369 w 3023749"/>
                  <a:gd name="connsiteY9" fmla="*/ 2043633 h 2043633"/>
                  <a:gd name="connsiteX10" fmla="*/ 118689 w 3023749"/>
                  <a:gd name="connsiteY10" fmla="*/ 2016341 h 2043633"/>
                  <a:gd name="connsiteX11" fmla="*/ 0 w 3023749"/>
                  <a:gd name="connsiteY11" fmla="*/ 1451393 h 2043633"/>
                  <a:gd name="connsiteX12" fmla="*/ 344885 w 3023749"/>
                  <a:gd name="connsiteY12" fmla="*/ 528173 h 2043633"/>
                  <a:gd name="connsiteX13" fmla="*/ 384115 w 3023749"/>
                  <a:gd name="connsiteY13" fmla="*/ 486693 h 2043633"/>
                  <a:gd name="connsiteX14" fmla="*/ 1510326 w 3023749"/>
                  <a:gd name="connsiteY14" fmla="*/ 0 h 2043633"/>
                  <a:gd name="connsiteX15" fmla="*/ 2471034 w 3023749"/>
                  <a:gd name="connsiteY15" fmla="*/ 331427 h 2043633"/>
                  <a:gd name="connsiteX16" fmla="*/ 2474929 w 3023749"/>
                  <a:gd name="connsiteY16" fmla="*/ 334829 h 2043633"/>
                  <a:gd name="connsiteX17" fmla="*/ 2409343 w 3023749"/>
                  <a:gd name="connsiteY17" fmla="*/ 559897 h 2043633"/>
                  <a:gd name="connsiteX18" fmla="*/ 2332570 w 3023749"/>
                  <a:gd name="connsiteY18" fmla="*/ 492845 h 2043633"/>
                  <a:gd name="connsiteX19" fmla="*/ 1510326 w 3023749"/>
                  <a:gd name="connsiteY19" fmla="*/ 209184 h 2043633"/>
                  <a:gd name="connsiteX20" fmla="*/ 688082 w 3023749"/>
                  <a:gd name="connsiteY20" fmla="*/ 492845 h 2043633"/>
                  <a:gd name="connsiteX21" fmla="*/ 630169 w 3023749"/>
                  <a:gd name="connsiteY21" fmla="*/ 543425 h 2043633"/>
                  <a:gd name="connsiteX22" fmla="*/ 566101 w 3023749"/>
                  <a:gd name="connsiteY22" fmla="*/ 319583 h 2043633"/>
                  <a:gd name="connsiteX23" fmla="*/ 665888 w 3023749"/>
                  <a:gd name="connsiteY23" fmla="*/ 247875 h 2043633"/>
                  <a:gd name="connsiteX24" fmla="*/ 1510326 w 3023749"/>
                  <a:gd name="connsiteY24" fmla="*/ 0 h 2043633"/>
                  <a:gd name="connsiteX0" fmla="*/ 2897503 w 2901963"/>
                  <a:gd name="connsiteY0" fmla="*/ 2025239 h 2043633"/>
                  <a:gd name="connsiteX1" fmla="*/ 2901963 w 2901963"/>
                  <a:gd name="connsiteY1" fmla="*/ 2016341 h 2043633"/>
                  <a:gd name="connsiteX2" fmla="*/ 2897503 w 2901963"/>
                  <a:gd name="connsiteY2" fmla="*/ 2025239 h 2043633"/>
                  <a:gd name="connsiteX3" fmla="*/ 384115 w 2901963"/>
                  <a:gd name="connsiteY3" fmla="*/ 486693 h 2043633"/>
                  <a:gd name="connsiteX4" fmla="*/ 296760 w 2901963"/>
                  <a:gd name="connsiteY4" fmla="*/ 1026949 h 2043633"/>
                  <a:gd name="connsiteX5" fmla="*/ 275793 w 2901963"/>
                  <a:gd name="connsiteY5" fmla="*/ 1081999 h 2043633"/>
                  <a:gd name="connsiteX6" fmla="*/ 217678 w 2901963"/>
                  <a:gd name="connsiteY6" fmla="*/ 1451393 h 2043633"/>
                  <a:gd name="connsiteX7" fmla="*/ 220242 w 2901963"/>
                  <a:gd name="connsiteY7" fmla="*/ 1500181 h 2043633"/>
                  <a:gd name="connsiteX8" fmla="*/ 132369 w 2901963"/>
                  <a:gd name="connsiteY8" fmla="*/ 2043633 h 2043633"/>
                  <a:gd name="connsiteX9" fmla="*/ 118689 w 2901963"/>
                  <a:gd name="connsiteY9" fmla="*/ 2016341 h 2043633"/>
                  <a:gd name="connsiteX10" fmla="*/ 0 w 2901963"/>
                  <a:gd name="connsiteY10" fmla="*/ 1451393 h 2043633"/>
                  <a:gd name="connsiteX11" fmla="*/ 344885 w 2901963"/>
                  <a:gd name="connsiteY11" fmla="*/ 528173 h 2043633"/>
                  <a:gd name="connsiteX12" fmla="*/ 384115 w 2901963"/>
                  <a:gd name="connsiteY12" fmla="*/ 486693 h 2043633"/>
                  <a:gd name="connsiteX13" fmla="*/ 1510326 w 2901963"/>
                  <a:gd name="connsiteY13" fmla="*/ 0 h 2043633"/>
                  <a:gd name="connsiteX14" fmla="*/ 2471034 w 2901963"/>
                  <a:gd name="connsiteY14" fmla="*/ 331427 h 2043633"/>
                  <a:gd name="connsiteX15" fmla="*/ 2474929 w 2901963"/>
                  <a:gd name="connsiteY15" fmla="*/ 334829 h 2043633"/>
                  <a:gd name="connsiteX16" fmla="*/ 2409343 w 2901963"/>
                  <a:gd name="connsiteY16" fmla="*/ 559897 h 2043633"/>
                  <a:gd name="connsiteX17" fmla="*/ 2332570 w 2901963"/>
                  <a:gd name="connsiteY17" fmla="*/ 492845 h 2043633"/>
                  <a:gd name="connsiteX18" fmla="*/ 1510326 w 2901963"/>
                  <a:gd name="connsiteY18" fmla="*/ 209184 h 2043633"/>
                  <a:gd name="connsiteX19" fmla="*/ 688082 w 2901963"/>
                  <a:gd name="connsiteY19" fmla="*/ 492845 h 2043633"/>
                  <a:gd name="connsiteX20" fmla="*/ 630169 w 2901963"/>
                  <a:gd name="connsiteY20" fmla="*/ 543425 h 2043633"/>
                  <a:gd name="connsiteX21" fmla="*/ 566101 w 2901963"/>
                  <a:gd name="connsiteY21" fmla="*/ 319583 h 2043633"/>
                  <a:gd name="connsiteX22" fmla="*/ 665888 w 2901963"/>
                  <a:gd name="connsiteY22" fmla="*/ 247875 h 2043633"/>
                  <a:gd name="connsiteX23" fmla="*/ 1510326 w 2901963"/>
                  <a:gd name="connsiteY23" fmla="*/ 0 h 2043633"/>
                  <a:gd name="connsiteX0" fmla="*/ 384115 w 2474929"/>
                  <a:gd name="connsiteY0" fmla="*/ 486693 h 2043633"/>
                  <a:gd name="connsiteX1" fmla="*/ 296760 w 2474929"/>
                  <a:gd name="connsiteY1" fmla="*/ 1026949 h 2043633"/>
                  <a:gd name="connsiteX2" fmla="*/ 275793 w 2474929"/>
                  <a:gd name="connsiteY2" fmla="*/ 1081999 h 2043633"/>
                  <a:gd name="connsiteX3" fmla="*/ 217678 w 2474929"/>
                  <a:gd name="connsiteY3" fmla="*/ 1451393 h 2043633"/>
                  <a:gd name="connsiteX4" fmla="*/ 220242 w 2474929"/>
                  <a:gd name="connsiteY4" fmla="*/ 1500181 h 2043633"/>
                  <a:gd name="connsiteX5" fmla="*/ 132369 w 2474929"/>
                  <a:gd name="connsiteY5" fmla="*/ 2043633 h 2043633"/>
                  <a:gd name="connsiteX6" fmla="*/ 118689 w 2474929"/>
                  <a:gd name="connsiteY6" fmla="*/ 2016341 h 2043633"/>
                  <a:gd name="connsiteX7" fmla="*/ 0 w 2474929"/>
                  <a:gd name="connsiteY7" fmla="*/ 1451393 h 2043633"/>
                  <a:gd name="connsiteX8" fmla="*/ 344885 w 2474929"/>
                  <a:gd name="connsiteY8" fmla="*/ 528173 h 2043633"/>
                  <a:gd name="connsiteX9" fmla="*/ 384115 w 2474929"/>
                  <a:gd name="connsiteY9" fmla="*/ 486693 h 2043633"/>
                  <a:gd name="connsiteX10" fmla="*/ 1510326 w 2474929"/>
                  <a:gd name="connsiteY10" fmla="*/ 0 h 2043633"/>
                  <a:gd name="connsiteX11" fmla="*/ 2471034 w 2474929"/>
                  <a:gd name="connsiteY11" fmla="*/ 331427 h 2043633"/>
                  <a:gd name="connsiteX12" fmla="*/ 2474929 w 2474929"/>
                  <a:gd name="connsiteY12" fmla="*/ 334829 h 2043633"/>
                  <a:gd name="connsiteX13" fmla="*/ 2409343 w 2474929"/>
                  <a:gd name="connsiteY13" fmla="*/ 559897 h 2043633"/>
                  <a:gd name="connsiteX14" fmla="*/ 2332570 w 2474929"/>
                  <a:gd name="connsiteY14" fmla="*/ 492845 h 2043633"/>
                  <a:gd name="connsiteX15" fmla="*/ 1510326 w 2474929"/>
                  <a:gd name="connsiteY15" fmla="*/ 209184 h 2043633"/>
                  <a:gd name="connsiteX16" fmla="*/ 688082 w 2474929"/>
                  <a:gd name="connsiteY16" fmla="*/ 492845 h 2043633"/>
                  <a:gd name="connsiteX17" fmla="*/ 630169 w 2474929"/>
                  <a:gd name="connsiteY17" fmla="*/ 543425 h 2043633"/>
                  <a:gd name="connsiteX18" fmla="*/ 566101 w 2474929"/>
                  <a:gd name="connsiteY18" fmla="*/ 319583 h 2043633"/>
                  <a:gd name="connsiteX19" fmla="*/ 665888 w 2474929"/>
                  <a:gd name="connsiteY19" fmla="*/ 247875 h 2043633"/>
                  <a:gd name="connsiteX20" fmla="*/ 1510326 w 2474929"/>
                  <a:gd name="connsiteY20" fmla="*/ 0 h 2043633"/>
                  <a:gd name="connsiteX0" fmla="*/ 384115 w 2474929"/>
                  <a:gd name="connsiteY0" fmla="*/ 486693 h 2043633"/>
                  <a:gd name="connsiteX1" fmla="*/ 296760 w 2474929"/>
                  <a:gd name="connsiteY1" fmla="*/ 1026949 h 2043633"/>
                  <a:gd name="connsiteX2" fmla="*/ 275793 w 2474929"/>
                  <a:gd name="connsiteY2" fmla="*/ 1081999 h 2043633"/>
                  <a:gd name="connsiteX3" fmla="*/ 217678 w 2474929"/>
                  <a:gd name="connsiteY3" fmla="*/ 1451393 h 2043633"/>
                  <a:gd name="connsiteX4" fmla="*/ 220242 w 2474929"/>
                  <a:gd name="connsiteY4" fmla="*/ 1500181 h 2043633"/>
                  <a:gd name="connsiteX5" fmla="*/ 132369 w 2474929"/>
                  <a:gd name="connsiteY5" fmla="*/ 2043633 h 2043633"/>
                  <a:gd name="connsiteX6" fmla="*/ 0 w 2474929"/>
                  <a:gd name="connsiteY6" fmla="*/ 1451393 h 2043633"/>
                  <a:gd name="connsiteX7" fmla="*/ 344885 w 2474929"/>
                  <a:gd name="connsiteY7" fmla="*/ 528173 h 2043633"/>
                  <a:gd name="connsiteX8" fmla="*/ 384115 w 2474929"/>
                  <a:gd name="connsiteY8" fmla="*/ 486693 h 2043633"/>
                  <a:gd name="connsiteX9" fmla="*/ 1510326 w 2474929"/>
                  <a:gd name="connsiteY9" fmla="*/ 0 h 2043633"/>
                  <a:gd name="connsiteX10" fmla="*/ 2471034 w 2474929"/>
                  <a:gd name="connsiteY10" fmla="*/ 331427 h 2043633"/>
                  <a:gd name="connsiteX11" fmla="*/ 2474929 w 2474929"/>
                  <a:gd name="connsiteY11" fmla="*/ 334829 h 2043633"/>
                  <a:gd name="connsiteX12" fmla="*/ 2409343 w 2474929"/>
                  <a:gd name="connsiteY12" fmla="*/ 559897 h 2043633"/>
                  <a:gd name="connsiteX13" fmla="*/ 2332570 w 2474929"/>
                  <a:gd name="connsiteY13" fmla="*/ 492845 h 2043633"/>
                  <a:gd name="connsiteX14" fmla="*/ 1510326 w 2474929"/>
                  <a:gd name="connsiteY14" fmla="*/ 209184 h 2043633"/>
                  <a:gd name="connsiteX15" fmla="*/ 688082 w 2474929"/>
                  <a:gd name="connsiteY15" fmla="*/ 492845 h 2043633"/>
                  <a:gd name="connsiteX16" fmla="*/ 630169 w 2474929"/>
                  <a:gd name="connsiteY16" fmla="*/ 543425 h 2043633"/>
                  <a:gd name="connsiteX17" fmla="*/ 566101 w 2474929"/>
                  <a:gd name="connsiteY17" fmla="*/ 319583 h 2043633"/>
                  <a:gd name="connsiteX18" fmla="*/ 665888 w 2474929"/>
                  <a:gd name="connsiteY18" fmla="*/ 247875 h 2043633"/>
                  <a:gd name="connsiteX19" fmla="*/ 1510326 w 2474929"/>
                  <a:gd name="connsiteY19" fmla="*/ 0 h 2043633"/>
                  <a:gd name="connsiteX0" fmla="*/ 384115 w 2474929"/>
                  <a:gd name="connsiteY0" fmla="*/ 486693 h 1500181"/>
                  <a:gd name="connsiteX1" fmla="*/ 296760 w 2474929"/>
                  <a:gd name="connsiteY1" fmla="*/ 1026949 h 1500181"/>
                  <a:gd name="connsiteX2" fmla="*/ 275793 w 2474929"/>
                  <a:gd name="connsiteY2" fmla="*/ 1081999 h 1500181"/>
                  <a:gd name="connsiteX3" fmla="*/ 217678 w 2474929"/>
                  <a:gd name="connsiteY3" fmla="*/ 1451393 h 1500181"/>
                  <a:gd name="connsiteX4" fmla="*/ 220242 w 2474929"/>
                  <a:gd name="connsiteY4" fmla="*/ 1500181 h 1500181"/>
                  <a:gd name="connsiteX5" fmla="*/ 0 w 2474929"/>
                  <a:gd name="connsiteY5" fmla="*/ 1451393 h 1500181"/>
                  <a:gd name="connsiteX6" fmla="*/ 344885 w 2474929"/>
                  <a:gd name="connsiteY6" fmla="*/ 528173 h 1500181"/>
                  <a:gd name="connsiteX7" fmla="*/ 384115 w 2474929"/>
                  <a:gd name="connsiteY7" fmla="*/ 486693 h 1500181"/>
                  <a:gd name="connsiteX8" fmla="*/ 1510326 w 2474929"/>
                  <a:gd name="connsiteY8" fmla="*/ 0 h 1500181"/>
                  <a:gd name="connsiteX9" fmla="*/ 2471034 w 2474929"/>
                  <a:gd name="connsiteY9" fmla="*/ 331427 h 1500181"/>
                  <a:gd name="connsiteX10" fmla="*/ 2474929 w 2474929"/>
                  <a:gd name="connsiteY10" fmla="*/ 334829 h 1500181"/>
                  <a:gd name="connsiteX11" fmla="*/ 2409343 w 2474929"/>
                  <a:gd name="connsiteY11" fmla="*/ 559897 h 1500181"/>
                  <a:gd name="connsiteX12" fmla="*/ 2332570 w 2474929"/>
                  <a:gd name="connsiteY12" fmla="*/ 492845 h 1500181"/>
                  <a:gd name="connsiteX13" fmla="*/ 1510326 w 2474929"/>
                  <a:gd name="connsiteY13" fmla="*/ 209184 h 1500181"/>
                  <a:gd name="connsiteX14" fmla="*/ 688082 w 2474929"/>
                  <a:gd name="connsiteY14" fmla="*/ 492845 h 1500181"/>
                  <a:gd name="connsiteX15" fmla="*/ 630169 w 2474929"/>
                  <a:gd name="connsiteY15" fmla="*/ 543425 h 1500181"/>
                  <a:gd name="connsiteX16" fmla="*/ 566101 w 2474929"/>
                  <a:gd name="connsiteY16" fmla="*/ 319583 h 1500181"/>
                  <a:gd name="connsiteX17" fmla="*/ 665888 w 2474929"/>
                  <a:gd name="connsiteY17" fmla="*/ 247875 h 1500181"/>
                  <a:gd name="connsiteX18" fmla="*/ 1510326 w 2474929"/>
                  <a:gd name="connsiteY18" fmla="*/ 0 h 1500181"/>
                  <a:gd name="connsiteX0" fmla="*/ 384115 w 2474929"/>
                  <a:gd name="connsiteY0" fmla="*/ 486693 h 1451393"/>
                  <a:gd name="connsiteX1" fmla="*/ 296760 w 2474929"/>
                  <a:gd name="connsiteY1" fmla="*/ 1026949 h 1451393"/>
                  <a:gd name="connsiteX2" fmla="*/ 275793 w 2474929"/>
                  <a:gd name="connsiteY2" fmla="*/ 1081999 h 1451393"/>
                  <a:gd name="connsiteX3" fmla="*/ 217678 w 2474929"/>
                  <a:gd name="connsiteY3" fmla="*/ 1451393 h 1451393"/>
                  <a:gd name="connsiteX4" fmla="*/ 0 w 2474929"/>
                  <a:gd name="connsiteY4" fmla="*/ 1451393 h 1451393"/>
                  <a:gd name="connsiteX5" fmla="*/ 344885 w 2474929"/>
                  <a:gd name="connsiteY5" fmla="*/ 528173 h 1451393"/>
                  <a:gd name="connsiteX6" fmla="*/ 384115 w 2474929"/>
                  <a:gd name="connsiteY6" fmla="*/ 486693 h 1451393"/>
                  <a:gd name="connsiteX7" fmla="*/ 1510326 w 2474929"/>
                  <a:gd name="connsiteY7" fmla="*/ 0 h 1451393"/>
                  <a:gd name="connsiteX8" fmla="*/ 2471034 w 2474929"/>
                  <a:gd name="connsiteY8" fmla="*/ 331427 h 1451393"/>
                  <a:gd name="connsiteX9" fmla="*/ 2474929 w 2474929"/>
                  <a:gd name="connsiteY9" fmla="*/ 334829 h 1451393"/>
                  <a:gd name="connsiteX10" fmla="*/ 2409343 w 2474929"/>
                  <a:gd name="connsiteY10" fmla="*/ 559897 h 1451393"/>
                  <a:gd name="connsiteX11" fmla="*/ 2332570 w 2474929"/>
                  <a:gd name="connsiteY11" fmla="*/ 492845 h 1451393"/>
                  <a:gd name="connsiteX12" fmla="*/ 1510326 w 2474929"/>
                  <a:gd name="connsiteY12" fmla="*/ 209184 h 1451393"/>
                  <a:gd name="connsiteX13" fmla="*/ 688082 w 2474929"/>
                  <a:gd name="connsiteY13" fmla="*/ 492845 h 1451393"/>
                  <a:gd name="connsiteX14" fmla="*/ 630169 w 2474929"/>
                  <a:gd name="connsiteY14" fmla="*/ 543425 h 1451393"/>
                  <a:gd name="connsiteX15" fmla="*/ 566101 w 2474929"/>
                  <a:gd name="connsiteY15" fmla="*/ 319583 h 1451393"/>
                  <a:gd name="connsiteX16" fmla="*/ 665888 w 2474929"/>
                  <a:gd name="connsiteY16" fmla="*/ 247875 h 1451393"/>
                  <a:gd name="connsiteX17" fmla="*/ 1510326 w 2474929"/>
                  <a:gd name="connsiteY17" fmla="*/ 0 h 1451393"/>
                  <a:gd name="connsiteX0" fmla="*/ 384519 w 2475333"/>
                  <a:gd name="connsiteY0" fmla="*/ 486693 h 1465415"/>
                  <a:gd name="connsiteX1" fmla="*/ 297164 w 2475333"/>
                  <a:gd name="connsiteY1" fmla="*/ 1026949 h 1465415"/>
                  <a:gd name="connsiteX2" fmla="*/ 276197 w 2475333"/>
                  <a:gd name="connsiteY2" fmla="*/ 1081999 h 1465415"/>
                  <a:gd name="connsiteX3" fmla="*/ 404 w 2475333"/>
                  <a:gd name="connsiteY3" fmla="*/ 1451393 h 1465415"/>
                  <a:gd name="connsiteX4" fmla="*/ 345289 w 2475333"/>
                  <a:gd name="connsiteY4" fmla="*/ 528173 h 1465415"/>
                  <a:gd name="connsiteX5" fmla="*/ 384519 w 2475333"/>
                  <a:gd name="connsiteY5" fmla="*/ 486693 h 1465415"/>
                  <a:gd name="connsiteX6" fmla="*/ 1510730 w 2475333"/>
                  <a:gd name="connsiteY6" fmla="*/ 0 h 1465415"/>
                  <a:gd name="connsiteX7" fmla="*/ 2471438 w 2475333"/>
                  <a:gd name="connsiteY7" fmla="*/ 331427 h 1465415"/>
                  <a:gd name="connsiteX8" fmla="*/ 2475333 w 2475333"/>
                  <a:gd name="connsiteY8" fmla="*/ 334829 h 1465415"/>
                  <a:gd name="connsiteX9" fmla="*/ 2409747 w 2475333"/>
                  <a:gd name="connsiteY9" fmla="*/ 559897 h 1465415"/>
                  <a:gd name="connsiteX10" fmla="*/ 2332974 w 2475333"/>
                  <a:gd name="connsiteY10" fmla="*/ 492845 h 1465415"/>
                  <a:gd name="connsiteX11" fmla="*/ 1510730 w 2475333"/>
                  <a:gd name="connsiteY11" fmla="*/ 209184 h 1465415"/>
                  <a:gd name="connsiteX12" fmla="*/ 688486 w 2475333"/>
                  <a:gd name="connsiteY12" fmla="*/ 492845 h 1465415"/>
                  <a:gd name="connsiteX13" fmla="*/ 630573 w 2475333"/>
                  <a:gd name="connsiteY13" fmla="*/ 543425 h 1465415"/>
                  <a:gd name="connsiteX14" fmla="*/ 566505 w 2475333"/>
                  <a:gd name="connsiteY14" fmla="*/ 319583 h 1465415"/>
                  <a:gd name="connsiteX15" fmla="*/ 666292 w 2475333"/>
                  <a:gd name="connsiteY15" fmla="*/ 247875 h 1465415"/>
                  <a:gd name="connsiteX16" fmla="*/ 1510730 w 2475333"/>
                  <a:gd name="connsiteY16" fmla="*/ 0 h 1465415"/>
                  <a:gd name="connsiteX0" fmla="*/ 108322 w 2199136"/>
                  <a:gd name="connsiteY0" fmla="*/ 486693 h 1081999"/>
                  <a:gd name="connsiteX1" fmla="*/ 20967 w 2199136"/>
                  <a:gd name="connsiteY1" fmla="*/ 1026949 h 1081999"/>
                  <a:gd name="connsiteX2" fmla="*/ 0 w 2199136"/>
                  <a:gd name="connsiteY2" fmla="*/ 1081999 h 1081999"/>
                  <a:gd name="connsiteX3" fmla="*/ 69092 w 2199136"/>
                  <a:gd name="connsiteY3" fmla="*/ 528173 h 1081999"/>
                  <a:gd name="connsiteX4" fmla="*/ 108322 w 2199136"/>
                  <a:gd name="connsiteY4" fmla="*/ 486693 h 1081999"/>
                  <a:gd name="connsiteX5" fmla="*/ 1234533 w 2199136"/>
                  <a:gd name="connsiteY5" fmla="*/ 0 h 1081999"/>
                  <a:gd name="connsiteX6" fmla="*/ 2195241 w 2199136"/>
                  <a:gd name="connsiteY6" fmla="*/ 331427 h 1081999"/>
                  <a:gd name="connsiteX7" fmla="*/ 2199136 w 2199136"/>
                  <a:gd name="connsiteY7" fmla="*/ 334829 h 1081999"/>
                  <a:gd name="connsiteX8" fmla="*/ 2133550 w 2199136"/>
                  <a:gd name="connsiteY8" fmla="*/ 559897 h 1081999"/>
                  <a:gd name="connsiteX9" fmla="*/ 2056777 w 2199136"/>
                  <a:gd name="connsiteY9" fmla="*/ 492845 h 1081999"/>
                  <a:gd name="connsiteX10" fmla="*/ 1234533 w 2199136"/>
                  <a:gd name="connsiteY10" fmla="*/ 209184 h 1081999"/>
                  <a:gd name="connsiteX11" fmla="*/ 412289 w 2199136"/>
                  <a:gd name="connsiteY11" fmla="*/ 492845 h 1081999"/>
                  <a:gd name="connsiteX12" fmla="*/ 354376 w 2199136"/>
                  <a:gd name="connsiteY12" fmla="*/ 543425 h 1081999"/>
                  <a:gd name="connsiteX13" fmla="*/ 290308 w 2199136"/>
                  <a:gd name="connsiteY13" fmla="*/ 319583 h 1081999"/>
                  <a:gd name="connsiteX14" fmla="*/ 390095 w 2199136"/>
                  <a:gd name="connsiteY14" fmla="*/ 247875 h 1081999"/>
                  <a:gd name="connsiteX15" fmla="*/ 1234533 w 2199136"/>
                  <a:gd name="connsiteY15" fmla="*/ 0 h 1081999"/>
                  <a:gd name="connsiteX0" fmla="*/ 108322 w 2199136"/>
                  <a:gd name="connsiteY0" fmla="*/ 486693 h 1081999"/>
                  <a:gd name="connsiteX1" fmla="*/ 0 w 2199136"/>
                  <a:gd name="connsiteY1" fmla="*/ 1081999 h 1081999"/>
                  <a:gd name="connsiteX2" fmla="*/ 69092 w 2199136"/>
                  <a:gd name="connsiteY2" fmla="*/ 528173 h 1081999"/>
                  <a:gd name="connsiteX3" fmla="*/ 108322 w 2199136"/>
                  <a:gd name="connsiteY3" fmla="*/ 486693 h 1081999"/>
                  <a:gd name="connsiteX4" fmla="*/ 1234533 w 2199136"/>
                  <a:gd name="connsiteY4" fmla="*/ 0 h 1081999"/>
                  <a:gd name="connsiteX5" fmla="*/ 2195241 w 2199136"/>
                  <a:gd name="connsiteY5" fmla="*/ 331427 h 1081999"/>
                  <a:gd name="connsiteX6" fmla="*/ 2199136 w 2199136"/>
                  <a:gd name="connsiteY6" fmla="*/ 334829 h 1081999"/>
                  <a:gd name="connsiteX7" fmla="*/ 2133550 w 2199136"/>
                  <a:gd name="connsiteY7" fmla="*/ 559897 h 1081999"/>
                  <a:gd name="connsiteX8" fmla="*/ 2056777 w 2199136"/>
                  <a:gd name="connsiteY8" fmla="*/ 492845 h 1081999"/>
                  <a:gd name="connsiteX9" fmla="*/ 1234533 w 2199136"/>
                  <a:gd name="connsiteY9" fmla="*/ 209184 h 1081999"/>
                  <a:gd name="connsiteX10" fmla="*/ 412289 w 2199136"/>
                  <a:gd name="connsiteY10" fmla="*/ 492845 h 1081999"/>
                  <a:gd name="connsiteX11" fmla="*/ 354376 w 2199136"/>
                  <a:gd name="connsiteY11" fmla="*/ 543425 h 1081999"/>
                  <a:gd name="connsiteX12" fmla="*/ 290308 w 2199136"/>
                  <a:gd name="connsiteY12" fmla="*/ 319583 h 1081999"/>
                  <a:gd name="connsiteX13" fmla="*/ 390095 w 2199136"/>
                  <a:gd name="connsiteY13" fmla="*/ 247875 h 1081999"/>
                  <a:gd name="connsiteX14" fmla="*/ 1234533 w 2199136"/>
                  <a:gd name="connsiteY14" fmla="*/ 0 h 1081999"/>
                  <a:gd name="connsiteX0" fmla="*/ 39230 w 2130044"/>
                  <a:gd name="connsiteY0" fmla="*/ 486693 h 559897"/>
                  <a:gd name="connsiteX1" fmla="*/ 0 w 2130044"/>
                  <a:gd name="connsiteY1" fmla="*/ 528173 h 559897"/>
                  <a:gd name="connsiteX2" fmla="*/ 39230 w 2130044"/>
                  <a:gd name="connsiteY2" fmla="*/ 486693 h 559897"/>
                  <a:gd name="connsiteX3" fmla="*/ 1165441 w 2130044"/>
                  <a:gd name="connsiteY3" fmla="*/ 0 h 559897"/>
                  <a:gd name="connsiteX4" fmla="*/ 2126149 w 2130044"/>
                  <a:gd name="connsiteY4" fmla="*/ 331427 h 559897"/>
                  <a:gd name="connsiteX5" fmla="*/ 2130044 w 2130044"/>
                  <a:gd name="connsiteY5" fmla="*/ 334829 h 559897"/>
                  <a:gd name="connsiteX6" fmla="*/ 2064458 w 2130044"/>
                  <a:gd name="connsiteY6" fmla="*/ 559897 h 559897"/>
                  <a:gd name="connsiteX7" fmla="*/ 1987685 w 2130044"/>
                  <a:gd name="connsiteY7" fmla="*/ 492845 h 559897"/>
                  <a:gd name="connsiteX8" fmla="*/ 1165441 w 2130044"/>
                  <a:gd name="connsiteY8" fmla="*/ 209184 h 559897"/>
                  <a:gd name="connsiteX9" fmla="*/ 343197 w 2130044"/>
                  <a:gd name="connsiteY9" fmla="*/ 492845 h 559897"/>
                  <a:gd name="connsiteX10" fmla="*/ 285284 w 2130044"/>
                  <a:gd name="connsiteY10" fmla="*/ 543425 h 559897"/>
                  <a:gd name="connsiteX11" fmla="*/ 221216 w 2130044"/>
                  <a:gd name="connsiteY11" fmla="*/ 319583 h 559897"/>
                  <a:gd name="connsiteX12" fmla="*/ 321003 w 2130044"/>
                  <a:gd name="connsiteY12" fmla="*/ 247875 h 559897"/>
                  <a:gd name="connsiteX13" fmla="*/ 1165441 w 2130044"/>
                  <a:gd name="connsiteY13" fmla="*/ 0 h 559897"/>
                  <a:gd name="connsiteX0" fmla="*/ 944225 w 1908828"/>
                  <a:gd name="connsiteY0" fmla="*/ 0 h 559897"/>
                  <a:gd name="connsiteX1" fmla="*/ 1904933 w 1908828"/>
                  <a:gd name="connsiteY1" fmla="*/ 331427 h 559897"/>
                  <a:gd name="connsiteX2" fmla="*/ 1908828 w 1908828"/>
                  <a:gd name="connsiteY2" fmla="*/ 334829 h 559897"/>
                  <a:gd name="connsiteX3" fmla="*/ 1843242 w 1908828"/>
                  <a:gd name="connsiteY3" fmla="*/ 559897 h 559897"/>
                  <a:gd name="connsiteX4" fmla="*/ 1766469 w 1908828"/>
                  <a:gd name="connsiteY4" fmla="*/ 492845 h 559897"/>
                  <a:gd name="connsiteX5" fmla="*/ 944225 w 1908828"/>
                  <a:gd name="connsiteY5" fmla="*/ 209184 h 559897"/>
                  <a:gd name="connsiteX6" fmla="*/ 121981 w 1908828"/>
                  <a:gd name="connsiteY6" fmla="*/ 492845 h 559897"/>
                  <a:gd name="connsiteX7" fmla="*/ 64068 w 1908828"/>
                  <a:gd name="connsiteY7" fmla="*/ 543425 h 559897"/>
                  <a:gd name="connsiteX8" fmla="*/ 0 w 1908828"/>
                  <a:gd name="connsiteY8" fmla="*/ 319583 h 559897"/>
                  <a:gd name="connsiteX9" fmla="*/ 99787 w 1908828"/>
                  <a:gd name="connsiteY9" fmla="*/ 247875 h 559897"/>
                  <a:gd name="connsiteX10" fmla="*/ 944225 w 1908828"/>
                  <a:gd name="connsiteY10" fmla="*/ 0 h 559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908828" h="559897">
                    <a:moveTo>
                      <a:pt x="944225" y="0"/>
                    </a:moveTo>
                    <a:cubicBezTo>
                      <a:pt x="1309157" y="0"/>
                      <a:pt x="1643859" y="124378"/>
                      <a:pt x="1904933" y="331427"/>
                    </a:cubicBezTo>
                    <a:lnTo>
                      <a:pt x="1908828" y="334829"/>
                    </a:lnTo>
                    <a:lnTo>
                      <a:pt x="1843242" y="559897"/>
                    </a:lnTo>
                    <a:lnTo>
                      <a:pt x="1766469" y="492845"/>
                    </a:lnTo>
                    <a:cubicBezTo>
                      <a:pt x="1543023" y="315635"/>
                      <a:pt x="1256561" y="209184"/>
                      <a:pt x="944225" y="209184"/>
                    </a:cubicBezTo>
                    <a:cubicBezTo>
                      <a:pt x="631889" y="209184"/>
                      <a:pt x="345427" y="315635"/>
                      <a:pt x="121981" y="492845"/>
                    </a:cubicBezTo>
                    <a:lnTo>
                      <a:pt x="64068" y="543425"/>
                    </a:lnTo>
                    <a:lnTo>
                      <a:pt x="0" y="319583"/>
                    </a:lnTo>
                    <a:lnTo>
                      <a:pt x="99787" y="247875"/>
                    </a:lnTo>
                    <a:cubicBezTo>
                      <a:pt x="340837" y="91380"/>
                      <a:pt x="631426" y="0"/>
                      <a:pt x="944225" y="0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519970">
                  <a:defRPr/>
                </a:pPr>
                <a:endParaRPr lang="en-US" sz="1842" kern="0">
                  <a:solidFill>
                    <a:prstClr val="white"/>
                  </a:solidFill>
                  <a:latin typeface="Calibri"/>
                </a:endParaRPr>
              </a:p>
            </p:txBody>
          </p:sp>
        </p:grpSp>
        <p:grpSp>
          <p:nvGrpSpPr>
            <p:cNvPr id="567" name="Group 204"/>
            <p:cNvGrpSpPr/>
            <p:nvPr/>
          </p:nvGrpSpPr>
          <p:grpSpPr>
            <a:xfrm>
              <a:off x="1282752" y="4938098"/>
              <a:ext cx="1451258" cy="1449504"/>
              <a:chOff x="11961036" y="14854279"/>
              <a:chExt cx="6135815" cy="6128401"/>
            </a:xfrm>
            <a:grpFill/>
          </p:grpSpPr>
          <p:sp>
            <p:nvSpPr>
              <p:cNvPr id="568" name="Freeform 205"/>
              <p:cNvSpPr/>
              <p:nvPr/>
            </p:nvSpPr>
            <p:spPr>
              <a:xfrm>
                <a:off x="12770891" y="14854279"/>
                <a:ext cx="4477588" cy="6128401"/>
              </a:xfrm>
              <a:custGeom>
                <a:avLst/>
                <a:gdLst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3253261 w 4477595"/>
                  <a:gd name="connsiteY17" fmla="*/ 3754007 h 6128401"/>
                  <a:gd name="connsiteX18" fmla="*/ 3242716 w 4477595"/>
                  <a:gd name="connsiteY18" fmla="*/ 3753945 h 6128401"/>
                  <a:gd name="connsiteX19" fmla="*/ 3255265 w 4477595"/>
                  <a:gd name="connsiteY19" fmla="*/ 3746321 h 6128401"/>
                  <a:gd name="connsiteX20" fmla="*/ 4056807 w 4477595"/>
                  <a:gd name="connsiteY20" fmla="*/ 2238797 h 6128401"/>
                  <a:gd name="connsiteX21" fmla="*/ 2238798 w 4477595"/>
                  <a:gd name="connsiteY21" fmla="*/ 420786 h 6128401"/>
                  <a:gd name="connsiteX22" fmla="*/ 2238797 w 4477595"/>
                  <a:gd name="connsiteY22" fmla="*/ 0 h 6128401"/>
                  <a:gd name="connsiteX23" fmla="*/ 4477595 w 4477595"/>
                  <a:gd name="connsiteY23" fmla="*/ 2238797 h 6128401"/>
                  <a:gd name="connsiteX24" fmla="*/ 3305941 w 4477595"/>
                  <a:gd name="connsiteY24" fmla="*/ 4207383 h 6128401"/>
                  <a:gd name="connsiteX25" fmla="*/ 3243251 w 4477595"/>
                  <a:gd name="connsiteY25" fmla="*/ 4439941 h 6128401"/>
                  <a:gd name="connsiteX26" fmla="*/ 3243251 w 4477595"/>
                  <a:gd name="connsiteY26" fmla="*/ 5318909 h 6128401"/>
                  <a:gd name="connsiteX27" fmla="*/ 2705531 w 4477595"/>
                  <a:gd name="connsiteY27" fmla="*/ 5880081 h 6128401"/>
                  <a:gd name="connsiteX28" fmla="*/ 2650833 w 4477595"/>
                  <a:gd name="connsiteY28" fmla="*/ 5880971 h 6128401"/>
                  <a:gd name="connsiteX29" fmla="*/ 2641784 w 4477595"/>
                  <a:gd name="connsiteY29" fmla="*/ 5910123 h 6128401"/>
                  <a:gd name="connsiteX30" fmla="*/ 2312476 w 4477595"/>
                  <a:gd name="connsiteY30" fmla="*/ 6128401 h 6128401"/>
                  <a:gd name="connsiteX31" fmla="*/ 2165118 w 4477595"/>
                  <a:gd name="connsiteY31" fmla="*/ 6128401 h 6128401"/>
                  <a:gd name="connsiteX32" fmla="*/ 1835810 w 4477595"/>
                  <a:gd name="connsiteY32" fmla="*/ 5910123 h 6128401"/>
                  <a:gd name="connsiteX33" fmla="*/ 1826975 w 4477595"/>
                  <a:gd name="connsiteY33" fmla="*/ 5881661 h 6128401"/>
                  <a:gd name="connsiteX34" fmla="*/ 1699568 w 4477595"/>
                  <a:gd name="connsiteY34" fmla="*/ 5881345 h 6128401"/>
                  <a:gd name="connsiteX35" fmla="*/ 1252464 w 4477595"/>
                  <a:gd name="connsiteY35" fmla="*/ 5306553 h 6128401"/>
                  <a:gd name="connsiteX36" fmla="*/ 1260702 w 4477595"/>
                  <a:gd name="connsiteY36" fmla="*/ 4439941 h 6128401"/>
                  <a:gd name="connsiteX37" fmla="*/ 1247395 w 4477595"/>
                  <a:gd name="connsiteY37" fmla="*/ 4251681 h 6128401"/>
                  <a:gd name="connsiteX38" fmla="*/ 1171654 w 4477595"/>
                  <a:gd name="connsiteY38" fmla="*/ 4207383 h 6128401"/>
                  <a:gd name="connsiteX39" fmla="*/ 0 w 4477595"/>
                  <a:gd name="connsiteY39" fmla="*/ 2238797 h 6128401"/>
                  <a:gd name="connsiteX40" fmla="*/ 2238797 w 4477595"/>
                  <a:gd name="connsiteY40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3253261 w 4477595"/>
                  <a:gd name="connsiteY17" fmla="*/ 3754007 h 6128401"/>
                  <a:gd name="connsiteX18" fmla="*/ 3242716 w 4477595"/>
                  <a:gd name="connsiteY18" fmla="*/ 3753945 h 6128401"/>
                  <a:gd name="connsiteX19" fmla="*/ 4056807 w 4477595"/>
                  <a:gd name="connsiteY19" fmla="*/ 2238797 h 6128401"/>
                  <a:gd name="connsiteX20" fmla="*/ 2238798 w 4477595"/>
                  <a:gd name="connsiteY20" fmla="*/ 420786 h 6128401"/>
                  <a:gd name="connsiteX21" fmla="*/ 2238797 w 4477595"/>
                  <a:gd name="connsiteY21" fmla="*/ 0 h 6128401"/>
                  <a:gd name="connsiteX22" fmla="*/ 4477595 w 4477595"/>
                  <a:gd name="connsiteY22" fmla="*/ 2238797 h 6128401"/>
                  <a:gd name="connsiteX23" fmla="*/ 3305941 w 4477595"/>
                  <a:gd name="connsiteY23" fmla="*/ 4207383 h 6128401"/>
                  <a:gd name="connsiteX24" fmla="*/ 3243251 w 4477595"/>
                  <a:gd name="connsiteY24" fmla="*/ 4439941 h 6128401"/>
                  <a:gd name="connsiteX25" fmla="*/ 3243251 w 4477595"/>
                  <a:gd name="connsiteY25" fmla="*/ 5318909 h 6128401"/>
                  <a:gd name="connsiteX26" fmla="*/ 2705531 w 4477595"/>
                  <a:gd name="connsiteY26" fmla="*/ 5880081 h 6128401"/>
                  <a:gd name="connsiteX27" fmla="*/ 2650833 w 4477595"/>
                  <a:gd name="connsiteY27" fmla="*/ 5880971 h 6128401"/>
                  <a:gd name="connsiteX28" fmla="*/ 2641784 w 4477595"/>
                  <a:gd name="connsiteY28" fmla="*/ 5910123 h 6128401"/>
                  <a:gd name="connsiteX29" fmla="*/ 2312476 w 4477595"/>
                  <a:gd name="connsiteY29" fmla="*/ 6128401 h 6128401"/>
                  <a:gd name="connsiteX30" fmla="*/ 2165118 w 4477595"/>
                  <a:gd name="connsiteY30" fmla="*/ 6128401 h 6128401"/>
                  <a:gd name="connsiteX31" fmla="*/ 1835810 w 4477595"/>
                  <a:gd name="connsiteY31" fmla="*/ 5910123 h 6128401"/>
                  <a:gd name="connsiteX32" fmla="*/ 1826975 w 4477595"/>
                  <a:gd name="connsiteY32" fmla="*/ 5881661 h 6128401"/>
                  <a:gd name="connsiteX33" fmla="*/ 1699568 w 4477595"/>
                  <a:gd name="connsiteY33" fmla="*/ 5881345 h 6128401"/>
                  <a:gd name="connsiteX34" fmla="*/ 1252464 w 4477595"/>
                  <a:gd name="connsiteY34" fmla="*/ 5306553 h 6128401"/>
                  <a:gd name="connsiteX35" fmla="*/ 1260702 w 4477595"/>
                  <a:gd name="connsiteY35" fmla="*/ 4439941 h 6128401"/>
                  <a:gd name="connsiteX36" fmla="*/ 1247395 w 4477595"/>
                  <a:gd name="connsiteY36" fmla="*/ 4251681 h 6128401"/>
                  <a:gd name="connsiteX37" fmla="*/ 1171654 w 4477595"/>
                  <a:gd name="connsiteY37" fmla="*/ 4207383 h 6128401"/>
                  <a:gd name="connsiteX38" fmla="*/ 0 w 4477595"/>
                  <a:gd name="connsiteY38" fmla="*/ 2238797 h 6128401"/>
                  <a:gd name="connsiteX39" fmla="*/ 2238797 w 4477595"/>
                  <a:gd name="connsiteY39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3253261 w 4477595"/>
                  <a:gd name="connsiteY17" fmla="*/ 3754007 h 6128401"/>
                  <a:gd name="connsiteX18" fmla="*/ 4056807 w 4477595"/>
                  <a:gd name="connsiteY18" fmla="*/ 2238797 h 6128401"/>
                  <a:gd name="connsiteX19" fmla="*/ 2238798 w 4477595"/>
                  <a:gd name="connsiteY19" fmla="*/ 420786 h 6128401"/>
                  <a:gd name="connsiteX20" fmla="*/ 2238797 w 4477595"/>
                  <a:gd name="connsiteY20" fmla="*/ 0 h 6128401"/>
                  <a:gd name="connsiteX21" fmla="*/ 4477595 w 4477595"/>
                  <a:gd name="connsiteY21" fmla="*/ 2238797 h 6128401"/>
                  <a:gd name="connsiteX22" fmla="*/ 3305941 w 4477595"/>
                  <a:gd name="connsiteY22" fmla="*/ 4207383 h 6128401"/>
                  <a:gd name="connsiteX23" fmla="*/ 3243251 w 4477595"/>
                  <a:gd name="connsiteY23" fmla="*/ 4439941 h 6128401"/>
                  <a:gd name="connsiteX24" fmla="*/ 3243251 w 4477595"/>
                  <a:gd name="connsiteY24" fmla="*/ 5318909 h 6128401"/>
                  <a:gd name="connsiteX25" fmla="*/ 2705531 w 4477595"/>
                  <a:gd name="connsiteY25" fmla="*/ 5880081 h 6128401"/>
                  <a:gd name="connsiteX26" fmla="*/ 2650833 w 4477595"/>
                  <a:gd name="connsiteY26" fmla="*/ 5880971 h 6128401"/>
                  <a:gd name="connsiteX27" fmla="*/ 2641784 w 4477595"/>
                  <a:gd name="connsiteY27" fmla="*/ 5910123 h 6128401"/>
                  <a:gd name="connsiteX28" fmla="*/ 2312476 w 4477595"/>
                  <a:gd name="connsiteY28" fmla="*/ 6128401 h 6128401"/>
                  <a:gd name="connsiteX29" fmla="*/ 2165118 w 4477595"/>
                  <a:gd name="connsiteY29" fmla="*/ 6128401 h 6128401"/>
                  <a:gd name="connsiteX30" fmla="*/ 1835810 w 4477595"/>
                  <a:gd name="connsiteY30" fmla="*/ 5910123 h 6128401"/>
                  <a:gd name="connsiteX31" fmla="*/ 1826975 w 4477595"/>
                  <a:gd name="connsiteY31" fmla="*/ 5881661 h 6128401"/>
                  <a:gd name="connsiteX32" fmla="*/ 1699568 w 4477595"/>
                  <a:gd name="connsiteY32" fmla="*/ 5881345 h 6128401"/>
                  <a:gd name="connsiteX33" fmla="*/ 1252464 w 4477595"/>
                  <a:gd name="connsiteY33" fmla="*/ 5306553 h 6128401"/>
                  <a:gd name="connsiteX34" fmla="*/ 1260702 w 4477595"/>
                  <a:gd name="connsiteY34" fmla="*/ 4439941 h 6128401"/>
                  <a:gd name="connsiteX35" fmla="*/ 1247395 w 4477595"/>
                  <a:gd name="connsiteY35" fmla="*/ 4251681 h 6128401"/>
                  <a:gd name="connsiteX36" fmla="*/ 1171654 w 4477595"/>
                  <a:gd name="connsiteY36" fmla="*/ 4207383 h 6128401"/>
                  <a:gd name="connsiteX37" fmla="*/ 0 w 4477595"/>
                  <a:gd name="connsiteY37" fmla="*/ 2238797 h 6128401"/>
                  <a:gd name="connsiteX38" fmla="*/ 2238797 w 4477595"/>
                  <a:gd name="connsiteY38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4056807 w 4477595"/>
                  <a:gd name="connsiteY17" fmla="*/ 2238797 h 6128401"/>
                  <a:gd name="connsiteX18" fmla="*/ 2238798 w 4477595"/>
                  <a:gd name="connsiteY18" fmla="*/ 420786 h 6128401"/>
                  <a:gd name="connsiteX19" fmla="*/ 2238797 w 4477595"/>
                  <a:gd name="connsiteY19" fmla="*/ 0 h 6128401"/>
                  <a:gd name="connsiteX20" fmla="*/ 4477595 w 4477595"/>
                  <a:gd name="connsiteY20" fmla="*/ 2238797 h 6128401"/>
                  <a:gd name="connsiteX21" fmla="*/ 3305941 w 4477595"/>
                  <a:gd name="connsiteY21" fmla="*/ 4207383 h 6128401"/>
                  <a:gd name="connsiteX22" fmla="*/ 3243251 w 4477595"/>
                  <a:gd name="connsiteY22" fmla="*/ 4439941 h 6128401"/>
                  <a:gd name="connsiteX23" fmla="*/ 3243251 w 4477595"/>
                  <a:gd name="connsiteY23" fmla="*/ 5318909 h 6128401"/>
                  <a:gd name="connsiteX24" fmla="*/ 2705531 w 4477595"/>
                  <a:gd name="connsiteY24" fmla="*/ 5880081 h 6128401"/>
                  <a:gd name="connsiteX25" fmla="*/ 2650833 w 4477595"/>
                  <a:gd name="connsiteY25" fmla="*/ 5880971 h 6128401"/>
                  <a:gd name="connsiteX26" fmla="*/ 2641784 w 4477595"/>
                  <a:gd name="connsiteY26" fmla="*/ 5910123 h 6128401"/>
                  <a:gd name="connsiteX27" fmla="*/ 2312476 w 4477595"/>
                  <a:gd name="connsiteY27" fmla="*/ 6128401 h 6128401"/>
                  <a:gd name="connsiteX28" fmla="*/ 2165118 w 4477595"/>
                  <a:gd name="connsiteY28" fmla="*/ 6128401 h 6128401"/>
                  <a:gd name="connsiteX29" fmla="*/ 1835810 w 4477595"/>
                  <a:gd name="connsiteY29" fmla="*/ 5910123 h 6128401"/>
                  <a:gd name="connsiteX30" fmla="*/ 1826975 w 4477595"/>
                  <a:gd name="connsiteY30" fmla="*/ 5881661 h 6128401"/>
                  <a:gd name="connsiteX31" fmla="*/ 1699568 w 4477595"/>
                  <a:gd name="connsiteY31" fmla="*/ 5881345 h 6128401"/>
                  <a:gd name="connsiteX32" fmla="*/ 1252464 w 4477595"/>
                  <a:gd name="connsiteY32" fmla="*/ 5306553 h 6128401"/>
                  <a:gd name="connsiteX33" fmla="*/ 1260702 w 4477595"/>
                  <a:gd name="connsiteY33" fmla="*/ 4439941 h 6128401"/>
                  <a:gd name="connsiteX34" fmla="*/ 1247395 w 4477595"/>
                  <a:gd name="connsiteY34" fmla="*/ 4251681 h 6128401"/>
                  <a:gd name="connsiteX35" fmla="*/ 1171654 w 4477595"/>
                  <a:gd name="connsiteY35" fmla="*/ 4207383 h 6128401"/>
                  <a:gd name="connsiteX36" fmla="*/ 0 w 4477595"/>
                  <a:gd name="connsiteY36" fmla="*/ 2238797 h 6128401"/>
                  <a:gd name="connsiteX37" fmla="*/ 2238797 w 4477595"/>
                  <a:gd name="connsiteY37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4056807 w 4477595"/>
                  <a:gd name="connsiteY17" fmla="*/ 2238797 h 6128401"/>
                  <a:gd name="connsiteX18" fmla="*/ 2238798 w 4477595"/>
                  <a:gd name="connsiteY18" fmla="*/ 420786 h 6128401"/>
                  <a:gd name="connsiteX19" fmla="*/ 2238797 w 4477595"/>
                  <a:gd name="connsiteY19" fmla="*/ 0 h 6128401"/>
                  <a:gd name="connsiteX20" fmla="*/ 4477595 w 4477595"/>
                  <a:gd name="connsiteY20" fmla="*/ 2238797 h 6128401"/>
                  <a:gd name="connsiteX21" fmla="*/ 3305941 w 4477595"/>
                  <a:gd name="connsiteY21" fmla="*/ 4207383 h 6128401"/>
                  <a:gd name="connsiteX22" fmla="*/ 3243251 w 4477595"/>
                  <a:gd name="connsiteY22" fmla="*/ 4439941 h 6128401"/>
                  <a:gd name="connsiteX23" fmla="*/ 3243251 w 4477595"/>
                  <a:gd name="connsiteY23" fmla="*/ 5318909 h 6128401"/>
                  <a:gd name="connsiteX24" fmla="*/ 2705531 w 4477595"/>
                  <a:gd name="connsiteY24" fmla="*/ 5880081 h 6128401"/>
                  <a:gd name="connsiteX25" fmla="*/ 2650833 w 4477595"/>
                  <a:gd name="connsiteY25" fmla="*/ 5880971 h 6128401"/>
                  <a:gd name="connsiteX26" fmla="*/ 2641784 w 4477595"/>
                  <a:gd name="connsiteY26" fmla="*/ 5910123 h 6128401"/>
                  <a:gd name="connsiteX27" fmla="*/ 2312476 w 4477595"/>
                  <a:gd name="connsiteY27" fmla="*/ 6128401 h 6128401"/>
                  <a:gd name="connsiteX28" fmla="*/ 2165118 w 4477595"/>
                  <a:gd name="connsiteY28" fmla="*/ 6128401 h 6128401"/>
                  <a:gd name="connsiteX29" fmla="*/ 1835810 w 4477595"/>
                  <a:gd name="connsiteY29" fmla="*/ 5910123 h 6128401"/>
                  <a:gd name="connsiteX30" fmla="*/ 1826975 w 4477595"/>
                  <a:gd name="connsiteY30" fmla="*/ 5881661 h 6128401"/>
                  <a:gd name="connsiteX31" fmla="*/ 1699568 w 4477595"/>
                  <a:gd name="connsiteY31" fmla="*/ 5881345 h 6128401"/>
                  <a:gd name="connsiteX32" fmla="*/ 1252464 w 4477595"/>
                  <a:gd name="connsiteY32" fmla="*/ 5306553 h 6128401"/>
                  <a:gd name="connsiteX33" fmla="*/ 1260702 w 4477595"/>
                  <a:gd name="connsiteY33" fmla="*/ 4439941 h 6128401"/>
                  <a:gd name="connsiteX34" fmla="*/ 1247395 w 4477595"/>
                  <a:gd name="connsiteY34" fmla="*/ 4251681 h 6128401"/>
                  <a:gd name="connsiteX35" fmla="*/ 1171654 w 4477595"/>
                  <a:gd name="connsiteY35" fmla="*/ 4207383 h 6128401"/>
                  <a:gd name="connsiteX36" fmla="*/ 0 w 4477595"/>
                  <a:gd name="connsiteY36" fmla="*/ 2238797 h 6128401"/>
                  <a:gd name="connsiteX37" fmla="*/ 2238797 w 4477595"/>
                  <a:gd name="connsiteY37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4056807 w 4477595"/>
                  <a:gd name="connsiteY17" fmla="*/ 2238797 h 6128401"/>
                  <a:gd name="connsiteX18" fmla="*/ 2238798 w 4477595"/>
                  <a:gd name="connsiteY18" fmla="*/ 420786 h 6128401"/>
                  <a:gd name="connsiteX19" fmla="*/ 2238797 w 4477595"/>
                  <a:gd name="connsiteY19" fmla="*/ 0 h 6128401"/>
                  <a:gd name="connsiteX20" fmla="*/ 4477595 w 4477595"/>
                  <a:gd name="connsiteY20" fmla="*/ 2238797 h 6128401"/>
                  <a:gd name="connsiteX21" fmla="*/ 3305941 w 4477595"/>
                  <a:gd name="connsiteY21" fmla="*/ 4207383 h 6128401"/>
                  <a:gd name="connsiteX22" fmla="*/ 3243251 w 4477595"/>
                  <a:gd name="connsiteY22" fmla="*/ 4439941 h 6128401"/>
                  <a:gd name="connsiteX23" fmla="*/ 3243251 w 4477595"/>
                  <a:gd name="connsiteY23" fmla="*/ 5318909 h 6128401"/>
                  <a:gd name="connsiteX24" fmla="*/ 2705531 w 4477595"/>
                  <a:gd name="connsiteY24" fmla="*/ 5880081 h 6128401"/>
                  <a:gd name="connsiteX25" fmla="*/ 2650833 w 4477595"/>
                  <a:gd name="connsiteY25" fmla="*/ 5880971 h 6128401"/>
                  <a:gd name="connsiteX26" fmla="*/ 2641784 w 4477595"/>
                  <a:gd name="connsiteY26" fmla="*/ 5910123 h 6128401"/>
                  <a:gd name="connsiteX27" fmla="*/ 2312476 w 4477595"/>
                  <a:gd name="connsiteY27" fmla="*/ 6128401 h 6128401"/>
                  <a:gd name="connsiteX28" fmla="*/ 2165118 w 4477595"/>
                  <a:gd name="connsiteY28" fmla="*/ 6128401 h 6128401"/>
                  <a:gd name="connsiteX29" fmla="*/ 1835810 w 4477595"/>
                  <a:gd name="connsiteY29" fmla="*/ 5910123 h 6128401"/>
                  <a:gd name="connsiteX30" fmla="*/ 1826975 w 4477595"/>
                  <a:gd name="connsiteY30" fmla="*/ 5881661 h 6128401"/>
                  <a:gd name="connsiteX31" fmla="*/ 1699568 w 4477595"/>
                  <a:gd name="connsiteY31" fmla="*/ 5881345 h 6128401"/>
                  <a:gd name="connsiteX32" fmla="*/ 1252464 w 4477595"/>
                  <a:gd name="connsiteY32" fmla="*/ 5306553 h 6128401"/>
                  <a:gd name="connsiteX33" fmla="*/ 1260702 w 4477595"/>
                  <a:gd name="connsiteY33" fmla="*/ 4439941 h 6128401"/>
                  <a:gd name="connsiteX34" fmla="*/ 1247395 w 4477595"/>
                  <a:gd name="connsiteY34" fmla="*/ 4251681 h 6128401"/>
                  <a:gd name="connsiteX35" fmla="*/ 1171654 w 4477595"/>
                  <a:gd name="connsiteY35" fmla="*/ 4207383 h 6128401"/>
                  <a:gd name="connsiteX36" fmla="*/ 0 w 4477595"/>
                  <a:gd name="connsiteY36" fmla="*/ 2238797 h 6128401"/>
                  <a:gd name="connsiteX37" fmla="*/ 2238797 w 4477595"/>
                  <a:gd name="connsiteY37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4056807 w 4477595"/>
                  <a:gd name="connsiteY17" fmla="*/ 2238797 h 6128401"/>
                  <a:gd name="connsiteX18" fmla="*/ 2238798 w 4477595"/>
                  <a:gd name="connsiteY18" fmla="*/ 420786 h 6128401"/>
                  <a:gd name="connsiteX19" fmla="*/ 2238797 w 4477595"/>
                  <a:gd name="connsiteY19" fmla="*/ 0 h 6128401"/>
                  <a:gd name="connsiteX20" fmla="*/ 4477595 w 4477595"/>
                  <a:gd name="connsiteY20" fmla="*/ 2238797 h 6128401"/>
                  <a:gd name="connsiteX21" fmla="*/ 3305941 w 4477595"/>
                  <a:gd name="connsiteY21" fmla="*/ 4207383 h 6128401"/>
                  <a:gd name="connsiteX22" fmla="*/ 3243251 w 4477595"/>
                  <a:gd name="connsiteY22" fmla="*/ 4439941 h 6128401"/>
                  <a:gd name="connsiteX23" fmla="*/ 3243251 w 4477595"/>
                  <a:gd name="connsiteY23" fmla="*/ 5318909 h 6128401"/>
                  <a:gd name="connsiteX24" fmla="*/ 2705531 w 4477595"/>
                  <a:gd name="connsiteY24" fmla="*/ 5880081 h 6128401"/>
                  <a:gd name="connsiteX25" fmla="*/ 2650833 w 4477595"/>
                  <a:gd name="connsiteY25" fmla="*/ 5880971 h 6128401"/>
                  <a:gd name="connsiteX26" fmla="*/ 2641784 w 4477595"/>
                  <a:gd name="connsiteY26" fmla="*/ 5910123 h 6128401"/>
                  <a:gd name="connsiteX27" fmla="*/ 2312476 w 4477595"/>
                  <a:gd name="connsiteY27" fmla="*/ 6128401 h 6128401"/>
                  <a:gd name="connsiteX28" fmla="*/ 2165118 w 4477595"/>
                  <a:gd name="connsiteY28" fmla="*/ 6128401 h 6128401"/>
                  <a:gd name="connsiteX29" fmla="*/ 1835810 w 4477595"/>
                  <a:gd name="connsiteY29" fmla="*/ 5910123 h 6128401"/>
                  <a:gd name="connsiteX30" fmla="*/ 1826975 w 4477595"/>
                  <a:gd name="connsiteY30" fmla="*/ 5881661 h 6128401"/>
                  <a:gd name="connsiteX31" fmla="*/ 1699568 w 4477595"/>
                  <a:gd name="connsiteY31" fmla="*/ 5881345 h 6128401"/>
                  <a:gd name="connsiteX32" fmla="*/ 1252464 w 4477595"/>
                  <a:gd name="connsiteY32" fmla="*/ 5306553 h 6128401"/>
                  <a:gd name="connsiteX33" fmla="*/ 1260702 w 4477595"/>
                  <a:gd name="connsiteY33" fmla="*/ 4439941 h 6128401"/>
                  <a:gd name="connsiteX34" fmla="*/ 1247395 w 4477595"/>
                  <a:gd name="connsiteY34" fmla="*/ 4251681 h 6128401"/>
                  <a:gd name="connsiteX35" fmla="*/ 1171654 w 4477595"/>
                  <a:gd name="connsiteY35" fmla="*/ 4207383 h 6128401"/>
                  <a:gd name="connsiteX36" fmla="*/ 0 w 4477595"/>
                  <a:gd name="connsiteY36" fmla="*/ 2238797 h 6128401"/>
                  <a:gd name="connsiteX37" fmla="*/ 2238797 w 4477595"/>
                  <a:gd name="connsiteY37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539568 w 4477595"/>
                  <a:gd name="connsiteY11" fmla="*/ 4531711 h 6128401"/>
                  <a:gd name="connsiteX12" fmla="*/ 2860637 w 4477595"/>
                  <a:gd name="connsiteY12" fmla="*/ 4311091 h 6128401"/>
                  <a:gd name="connsiteX13" fmla="*/ 3109338 w 4477595"/>
                  <a:gd name="connsiteY13" fmla="*/ 3834987 h 6128401"/>
                  <a:gd name="connsiteX14" fmla="*/ 3110879 w 4477595"/>
                  <a:gd name="connsiteY14" fmla="*/ 3834037 h 6128401"/>
                  <a:gd name="connsiteX15" fmla="*/ 3181541 w 4477595"/>
                  <a:gd name="connsiteY15" fmla="*/ 3791109 h 6128401"/>
                  <a:gd name="connsiteX16" fmla="*/ 4056807 w 4477595"/>
                  <a:gd name="connsiteY16" fmla="*/ 2238797 h 6128401"/>
                  <a:gd name="connsiteX17" fmla="*/ 2238798 w 4477595"/>
                  <a:gd name="connsiteY17" fmla="*/ 420786 h 6128401"/>
                  <a:gd name="connsiteX18" fmla="*/ 2238797 w 4477595"/>
                  <a:gd name="connsiteY18" fmla="*/ 0 h 6128401"/>
                  <a:gd name="connsiteX19" fmla="*/ 4477595 w 4477595"/>
                  <a:gd name="connsiteY19" fmla="*/ 2238797 h 6128401"/>
                  <a:gd name="connsiteX20" fmla="*/ 3305941 w 4477595"/>
                  <a:gd name="connsiteY20" fmla="*/ 4207383 h 6128401"/>
                  <a:gd name="connsiteX21" fmla="*/ 3243251 w 4477595"/>
                  <a:gd name="connsiteY21" fmla="*/ 4439941 h 6128401"/>
                  <a:gd name="connsiteX22" fmla="*/ 3243251 w 4477595"/>
                  <a:gd name="connsiteY22" fmla="*/ 5318909 h 6128401"/>
                  <a:gd name="connsiteX23" fmla="*/ 2705531 w 4477595"/>
                  <a:gd name="connsiteY23" fmla="*/ 5880081 h 6128401"/>
                  <a:gd name="connsiteX24" fmla="*/ 2650833 w 4477595"/>
                  <a:gd name="connsiteY24" fmla="*/ 5880971 h 6128401"/>
                  <a:gd name="connsiteX25" fmla="*/ 2641784 w 4477595"/>
                  <a:gd name="connsiteY25" fmla="*/ 5910123 h 6128401"/>
                  <a:gd name="connsiteX26" fmla="*/ 2312476 w 4477595"/>
                  <a:gd name="connsiteY26" fmla="*/ 6128401 h 6128401"/>
                  <a:gd name="connsiteX27" fmla="*/ 2165118 w 4477595"/>
                  <a:gd name="connsiteY27" fmla="*/ 6128401 h 6128401"/>
                  <a:gd name="connsiteX28" fmla="*/ 1835810 w 4477595"/>
                  <a:gd name="connsiteY28" fmla="*/ 5910123 h 6128401"/>
                  <a:gd name="connsiteX29" fmla="*/ 1826975 w 4477595"/>
                  <a:gd name="connsiteY29" fmla="*/ 5881661 h 6128401"/>
                  <a:gd name="connsiteX30" fmla="*/ 1699568 w 4477595"/>
                  <a:gd name="connsiteY30" fmla="*/ 5881345 h 6128401"/>
                  <a:gd name="connsiteX31" fmla="*/ 1252464 w 4477595"/>
                  <a:gd name="connsiteY31" fmla="*/ 5306553 h 6128401"/>
                  <a:gd name="connsiteX32" fmla="*/ 1260702 w 4477595"/>
                  <a:gd name="connsiteY32" fmla="*/ 4439941 h 6128401"/>
                  <a:gd name="connsiteX33" fmla="*/ 1247395 w 4477595"/>
                  <a:gd name="connsiteY33" fmla="*/ 4251681 h 6128401"/>
                  <a:gd name="connsiteX34" fmla="*/ 1171654 w 4477595"/>
                  <a:gd name="connsiteY34" fmla="*/ 4207383 h 6128401"/>
                  <a:gd name="connsiteX35" fmla="*/ 0 w 4477595"/>
                  <a:gd name="connsiteY35" fmla="*/ 2238797 h 6128401"/>
                  <a:gd name="connsiteX36" fmla="*/ 2238797 w 4477595"/>
                  <a:gd name="connsiteY36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539568 w 4477595"/>
                  <a:gd name="connsiteY10" fmla="*/ 4531711 h 6128401"/>
                  <a:gd name="connsiteX11" fmla="*/ 2860637 w 4477595"/>
                  <a:gd name="connsiteY11" fmla="*/ 4311091 h 6128401"/>
                  <a:gd name="connsiteX12" fmla="*/ 3109338 w 4477595"/>
                  <a:gd name="connsiteY12" fmla="*/ 3834987 h 6128401"/>
                  <a:gd name="connsiteX13" fmla="*/ 3110879 w 4477595"/>
                  <a:gd name="connsiteY13" fmla="*/ 3834037 h 6128401"/>
                  <a:gd name="connsiteX14" fmla="*/ 3181541 w 4477595"/>
                  <a:gd name="connsiteY14" fmla="*/ 3791109 h 6128401"/>
                  <a:gd name="connsiteX15" fmla="*/ 4056807 w 4477595"/>
                  <a:gd name="connsiteY15" fmla="*/ 2238797 h 6128401"/>
                  <a:gd name="connsiteX16" fmla="*/ 2238798 w 4477595"/>
                  <a:gd name="connsiteY16" fmla="*/ 420786 h 6128401"/>
                  <a:gd name="connsiteX17" fmla="*/ 2238797 w 4477595"/>
                  <a:gd name="connsiteY17" fmla="*/ 0 h 6128401"/>
                  <a:gd name="connsiteX18" fmla="*/ 4477595 w 4477595"/>
                  <a:gd name="connsiteY18" fmla="*/ 2238797 h 6128401"/>
                  <a:gd name="connsiteX19" fmla="*/ 3305941 w 4477595"/>
                  <a:gd name="connsiteY19" fmla="*/ 4207383 h 6128401"/>
                  <a:gd name="connsiteX20" fmla="*/ 3243251 w 4477595"/>
                  <a:gd name="connsiteY20" fmla="*/ 4439941 h 6128401"/>
                  <a:gd name="connsiteX21" fmla="*/ 3243251 w 4477595"/>
                  <a:gd name="connsiteY21" fmla="*/ 5318909 h 6128401"/>
                  <a:gd name="connsiteX22" fmla="*/ 2705531 w 4477595"/>
                  <a:gd name="connsiteY22" fmla="*/ 5880081 h 6128401"/>
                  <a:gd name="connsiteX23" fmla="*/ 2650833 w 4477595"/>
                  <a:gd name="connsiteY23" fmla="*/ 5880971 h 6128401"/>
                  <a:gd name="connsiteX24" fmla="*/ 2641784 w 4477595"/>
                  <a:gd name="connsiteY24" fmla="*/ 5910123 h 6128401"/>
                  <a:gd name="connsiteX25" fmla="*/ 2312476 w 4477595"/>
                  <a:gd name="connsiteY25" fmla="*/ 6128401 h 6128401"/>
                  <a:gd name="connsiteX26" fmla="*/ 2165118 w 4477595"/>
                  <a:gd name="connsiteY26" fmla="*/ 6128401 h 6128401"/>
                  <a:gd name="connsiteX27" fmla="*/ 1835810 w 4477595"/>
                  <a:gd name="connsiteY27" fmla="*/ 5910123 h 6128401"/>
                  <a:gd name="connsiteX28" fmla="*/ 1826975 w 4477595"/>
                  <a:gd name="connsiteY28" fmla="*/ 5881661 h 6128401"/>
                  <a:gd name="connsiteX29" fmla="*/ 1699568 w 4477595"/>
                  <a:gd name="connsiteY29" fmla="*/ 5881345 h 6128401"/>
                  <a:gd name="connsiteX30" fmla="*/ 1252464 w 4477595"/>
                  <a:gd name="connsiteY30" fmla="*/ 5306553 h 6128401"/>
                  <a:gd name="connsiteX31" fmla="*/ 1260702 w 4477595"/>
                  <a:gd name="connsiteY31" fmla="*/ 4439941 h 6128401"/>
                  <a:gd name="connsiteX32" fmla="*/ 1247395 w 4477595"/>
                  <a:gd name="connsiteY32" fmla="*/ 4251681 h 6128401"/>
                  <a:gd name="connsiteX33" fmla="*/ 1171654 w 4477595"/>
                  <a:gd name="connsiteY33" fmla="*/ 4207383 h 6128401"/>
                  <a:gd name="connsiteX34" fmla="*/ 0 w 4477595"/>
                  <a:gd name="connsiteY34" fmla="*/ 2238797 h 6128401"/>
                  <a:gd name="connsiteX35" fmla="*/ 2238797 w 4477595"/>
                  <a:gd name="connsiteY35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539568 w 4477595"/>
                  <a:gd name="connsiteY9" fmla="*/ 4531711 h 6128401"/>
                  <a:gd name="connsiteX10" fmla="*/ 2860637 w 4477595"/>
                  <a:gd name="connsiteY10" fmla="*/ 4311091 h 6128401"/>
                  <a:gd name="connsiteX11" fmla="*/ 3109338 w 4477595"/>
                  <a:gd name="connsiteY11" fmla="*/ 3834987 h 6128401"/>
                  <a:gd name="connsiteX12" fmla="*/ 3110879 w 4477595"/>
                  <a:gd name="connsiteY12" fmla="*/ 3834037 h 6128401"/>
                  <a:gd name="connsiteX13" fmla="*/ 3181541 w 4477595"/>
                  <a:gd name="connsiteY13" fmla="*/ 3791109 h 6128401"/>
                  <a:gd name="connsiteX14" fmla="*/ 4056807 w 4477595"/>
                  <a:gd name="connsiteY14" fmla="*/ 2238797 h 6128401"/>
                  <a:gd name="connsiteX15" fmla="*/ 2238798 w 4477595"/>
                  <a:gd name="connsiteY15" fmla="*/ 420786 h 6128401"/>
                  <a:gd name="connsiteX16" fmla="*/ 2238797 w 4477595"/>
                  <a:gd name="connsiteY16" fmla="*/ 0 h 6128401"/>
                  <a:gd name="connsiteX17" fmla="*/ 4477595 w 4477595"/>
                  <a:gd name="connsiteY17" fmla="*/ 2238797 h 6128401"/>
                  <a:gd name="connsiteX18" fmla="*/ 3305941 w 4477595"/>
                  <a:gd name="connsiteY18" fmla="*/ 4207383 h 6128401"/>
                  <a:gd name="connsiteX19" fmla="*/ 3243251 w 4477595"/>
                  <a:gd name="connsiteY19" fmla="*/ 4439941 h 6128401"/>
                  <a:gd name="connsiteX20" fmla="*/ 3243251 w 4477595"/>
                  <a:gd name="connsiteY20" fmla="*/ 5318909 h 6128401"/>
                  <a:gd name="connsiteX21" fmla="*/ 2705531 w 4477595"/>
                  <a:gd name="connsiteY21" fmla="*/ 5880081 h 6128401"/>
                  <a:gd name="connsiteX22" fmla="*/ 2650833 w 4477595"/>
                  <a:gd name="connsiteY22" fmla="*/ 5880971 h 6128401"/>
                  <a:gd name="connsiteX23" fmla="*/ 2641784 w 4477595"/>
                  <a:gd name="connsiteY23" fmla="*/ 5910123 h 6128401"/>
                  <a:gd name="connsiteX24" fmla="*/ 2312476 w 4477595"/>
                  <a:gd name="connsiteY24" fmla="*/ 6128401 h 6128401"/>
                  <a:gd name="connsiteX25" fmla="*/ 2165118 w 4477595"/>
                  <a:gd name="connsiteY25" fmla="*/ 6128401 h 6128401"/>
                  <a:gd name="connsiteX26" fmla="*/ 1835810 w 4477595"/>
                  <a:gd name="connsiteY26" fmla="*/ 5910123 h 6128401"/>
                  <a:gd name="connsiteX27" fmla="*/ 1826975 w 4477595"/>
                  <a:gd name="connsiteY27" fmla="*/ 5881661 h 6128401"/>
                  <a:gd name="connsiteX28" fmla="*/ 1699568 w 4477595"/>
                  <a:gd name="connsiteY28" fmla="*/ 5881345 h 6128401"/>
                  <a:gd name="connsiteX29" fmla="*/ 1252464 w 4477595"/>
                  <a:gd name="connsiteY29" fmla="*/ 5306553 h 6128401"/>
                  <a:gd name="connsiteX30" fmla="*/ 1260702 w 4477595"/>
                  <a:gd name="connsiteY30" fmla="*/ 4439941 h 6128401"/>
                  <a:gd name="connsiteX31" fmla="*/ 1247395 w 4477595"/>
                  <a:gd name="connsiteY31" fmla="*/ 4251681 h 6128401"/>
                  <a:gd name="connsiteX32" fmla="*/ 1171654 w 4477595"/>
                  <a:gd name="connsiteY32" fmla="*/ 4207383 h 6128401"/>
                  <a:gd name="connsiteX33" fmla="*/ 0 w 4477595"/>
                  <a:gd name="connsiteY33" fmla="*/ 2238797 h 6128401"/>
                  <a:gd name="connsiteX34" fmla="*/ 2238797 w 4477595"/>
                  <a:gd name="connsiteY34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539568 w 4477595"/>
                  <a:gd name="connsiteY8" fmla="*/ 4531711 h 6128401"/>
                  <a:gd name="connsiteX9" fmla="*/ 2860637 w 4477595"/>
                  <a:gd name="connsiteY9" fmla="*/ 4311091 h 6128401"/>
                  <a:gd name="connsiteX10" fmla="*/ 3109338 w 4477595"/>
                  <a:gd name="connsiteY10" fmla="*/ 3834987 h 6128401"/>
                  <a:gd name="connsiteX11" fmla="*/ 3110879 w 4477595"/>
                  <a:gd name="connsiteY11" fmla="*/ 3834037 h 6128401"/>
                  <a:gd name="connsiteX12" fmla="*/ 3181541 w 4477595"/>
                  <a:gd name="connsiteY12" fmla="*/ 3791109 h 6128401"/>
                  <a:gd name="connsiteX13" fmla="*/ 4056807 w 4477595"/>
                  <a:gd name="connsiteY13" fmla="*/ 2238797 h 6128401"/>
                  <a:gd name="connsiteX14" fmla="*/ 2238798 w 4477595"/>
                  <a:gd name="connsiteY14" fmla="*/ 420786 h 6128401"/>
                  <a:gd name="connsiteX15" fmla="*/ 2238797 w 4477595"/>
                  <a:gd name="connsiteY15" fmla="*/ 0 h 6128401"/>
                  <a:gd name="connsiteX16" fmla="*/ 4477595 w 4477595"/>
                  <a:gd name="connsiteY16" fmla="*/ 2238797 h 6128401"/>
                  <a:gd name="connsiteX17" fmla="*/ 3305941 w 4477595"/>
                  <a:gd name="connsiteY17" fmla="*/ 4207383 h 6128401"/>
                  <a:gd name="connsiteX18" fmla="*/ 3243251 w 4477595"/>
                  <a:gd name="connsiteY18" fmla="*/ 4439941 h 6128401"/>
                  <a:gd name="connsiteX19" fmla="*/ 3243251 w 4477595"/>
                  <a:gd name="connsiteY19" fmla="*/ 5318909 h 6128401"/>
                  <a:gd name="connsiteX20" fmla="*/ 2705531 w 4477595"/>
                  <a:gd name="connsiteY20" fmla="*/ 5880081 h 6128401"/>
                  <a:gd name="connsiteX21" fmla="*/ 2650833 w 4477595"/>
                  <a:gd name="connsiteY21" fmla="*/ 5880971 h 6128401"/>
                  <a:gd name="connsiteX22" fmla="*/ 2641784 w 4477595"/>
                  <a:gd name="connsiteY22" fmla="*/ 5910123 h 6128401"/>
                  <a:gd name="connsiteX23" fmla="*/ 2312476 w 4477595"/>
                  <a:gd name="connsiteY23" fmla="*/ 6128401 h 6128401"/>
                  <a:gd name="connsiteX24" fmla="*/ 2165118 w 4477595"/>
                  <a:gd name="connsiteY24" fmla="*/ 6128401 h 6128401"/>
                  <a:gd name="connsiteX25" fmla="*/ 1835810 w 4477595"/>
                  <a:gd name="connsiteY25" fmla="*/ 5910123 h 6128401"/>
                  <a:gd name="connsiteX26" fmla="*/ 1826975 w 4477595"/>
                  <a:gd name="connsiteY26" fmla="*/ 5881661 h 6128401"/>
                  <a:gd name="connsiteX27" fmla="*/ 1699568 w 4477595"/>
                  <a:gd name="connsiteY27" fmla="*/ 5881345 h 6128401"/>
                  <a:gd name="connsiteX28" fmla="*/ 1252464 w 4477595"/>
                  <a:gd name="connsiteY28" fmla="*/ 5306553 h 6128401"/>
                  <a:gd name="connsiteX29" fmla="*/ 1260702 w 4477595"/>
                  <a:gd name="connsiteY29" fmla="*/ 4439941 h 6128401"/>
                  <a:gd name="connsiteX30" fmla="*/ 1247395 w 4477595"/>
                  <a:gd name="connsiteY30" fmla="*/ 4251681 h 6128401"/>
                  <a:gd name="connsiteX31" fmla="*/ 1171654 w 4477595"/>
                  <a:gd name="connsiteY31" fmla="*/ 4207383 h 6128401"/>
                  <a:gd name="connsiteX32" fmla="*/ 0 w 4477595"/>
                  <a:gd name="connsiteY32" fmla="*/ 2238797 h 6128401"/>
                  <a:gd name="connsiteX33" fmla="*/ 2238797 w 4477595"/>
                  <a:gd name="connsiteY33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539568 w 4477595"/>
                  <a:gd name="connsiteY7" fmla="*/ 4531711 h 6128401"/>
                  <a:gd name="connsiteX8" fmla="*/ 2860637 w 4477595"/>
                  <a:gd name="connsiteY8" fmla="*/ 4311091 h 6128401"/>
                  <a:gd name="connsiteX9" fmla="*/ 3109338 w 4477595"/>
                  <a:gd name="connsiteY9" fmla="*/ 3834987 h 6128401"/>
                  <a:gd name="connsiteX10" fmla="*/ 3110879 w 4477595"/>
                  <a:gd name="connsiteY10" fmla="*/ 3834037 h 6128401"/>
                  <a:gd name="connsiteX11" fmla="*/ 3181541 w 4477595"/>
                  <a:gd name="connsiteY11" fmla="*/ 3791109 h 6128401"/>
                  <a:gd name="connsiteX12" fmla="*/ 4056807 w 4477595"/>
                  <a:gd name="connsiteY12" fmla="*/ 2238797 h 6128401"/>
                  <a:gd name="connsiteX13" fmla="*/ 2238798 w 4477595"/>
                  <a:gd name="connsiteY13" fmla="*/ 420786 h 6128401"/>
                  <a:gd name="connsiteX14" fmla="*/ 2238797 w 4477595"/>
                  <a:gd name="connsiteY14" fmla="*/ 0 h 6128401"/>
                  <a:gd name="connsiteX15" fmla="*/ 4477595 w 4477595"/>
                  <a:gd name="connsiteY15" fmla="*/ 2238797 h 6128401"/>
                  <a:gd name="connsiteX16" fmla="*/ 3305941 w 4477595"/>
                  <a:gd name="connsiteY16" fmla="*/ 4207383 h 6128401"/>
                  <a:gd name="connsiteX17" fmla="*/ 3243251 w 4477595"/>
                  <a:gd name="connsiteY17" fmla="*/ 4439941 h 6128401"/>
                  <a:gd name="connsiteX18" fmla="*/ 3243251 w 4477595"/>
                  <a:gd name="connsiteY18" fmla="*/ 5318909 h 6128401"/>
                  <a:gd name="connsiteX19" fmla="*/ 2705531 w 4477595"/>
                  <a:gd name="connsiteY19" fmla="*/ 5880081 h 6128401"/>
                  <a:gd name="connsiteX20" fmla="*/ 2650833 w 4477595"/>
                  <a:gd name="connsiteY20" fmla="*/ 5880971 h 6128401"/>
                  <a:gd name="connsiteX21" fmla="*/ 2641784 w 4477595"/>
                  <a:gd name="connsiteY21" fmla="*/ 5910123 h 6128401"/>
                  <a:gd name="connsiteX22" fmla="*/ 2312476 w 4477595"/>
                  <a:gd name="connsiteY22" fmla="*/ 6128401 h 6128401"/>
                  <a:gd name="connsiteX23" fmla="*/ 2165118 w 4477595"/>
                  <a:gd name="connsiteY23" fmla="*/ 6128401 h 6128401"/>
                  <a:gd name="connsiteX24" fmla="*/ 1835810 w 4477595"/>
                  <a:gd name="connsiteY24" fmla="*/ 5910123 h 6128401"/>
                  <a:gd name="connsiteX25" fmla="*/ 1826975 w 4477595"/>
                  <a:gd name="connsiteY25" fmla="*/ 5881661 h 6128401"/>
                  <a:gd name="connsiteX26" fmla="*/ 1699568 w 4477595"/>
                  <a:gd name="connsiteY26" fmla="*/ 5881345 h 6128401"/>
                  <a:gd name="connsiteX27" fmla="*/ 1252464 w 4477595"/>
                  <a:gd name="connsiteY27" fmla="*/ 5306553 h 6128401"/>
                  <a:gd name="connsiteX28" fmla="*/ 1260702 w 4477595"/>
                  <a:gd name="connsiteY28" fmla="*/ 4439941 h 6128401"/>
                  <a:gd name="connsiteX29" fmla="*/ 1247395 w 4477595"/>
                  <a:gd name="connsiteY29" fmla="*/ 4251681 h 6128401"/>
                  <a:gd name="connsiteX30" fmla="*/ 1171654 w 4477595"/>
                  <a:gd name="connsiteY30" fmla="*/ 4207383 h 6128401"/>
                  <a:gd name="connsiteX31" fmla="*/ 0 w 4477595"/>
                  <a:gd name="connsiteY31" fmla="*/ 2238797 h 6128401"/>
                  <a:gd name="connsiteX32" fmla="*/ 2238797 w 4477595"/>
                  <a:gd name="connsiteY32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539568 w 4477595"/>
                  <a:gd name="connsiteY6" fmla="*/ 4531711 h 6128401"/>
                  <a:gd name="connsiteX7" fmla="*/ 2860637 w 4477595"/>
                  <a:gd name="connsiteY7" fmla="*/ 4311091 h 6128401"/>
                  <a:gd name="connsiteX8" fmla="*/ 3109338 w 4477595"/>
                  <a:gd name="connsiteY8" fmla="*/ 3834987 h 6128401"/>
                  <a:gd name="connsiteX9" fmla="*/ 3110879 w 4477595"/>
                  <a:gd name="connsiteY9" fmla="*/ 3834037 h 6128401"/>
                  <a:gd name="connsiteX10" fmla="*/ 3181541 w 4477595"/>
                  <a:gd name="connsiteY10" fmla="*/ 3791109 h 6128401"/>
                  <a:gd name="connsiteX11" fmla="*/ 4056807 w 4477595"/>
                  <a:gd name="connsiteY11" fmla="*/ 2238797 h 6128401"/>
                  <a:gd name="connsiteX12" fmla="*/ 2238798 w 4477595"/>
                  <a:gd name="connsiteY12" fmla="*/ 420786 h 6128401"/>
                  <a:gd name="connsiteX13" fmla="*/ 2238797 w 4477595"/>
                  <a:gd name="connsiteY13" fmla="*/ 0 h 6128401"/>
                  <a:gd name="connsiteX14" fmla="*/ 4477595 w 4477595"/>
                  <a:gd name="connsiteY14" fmla="*/ 2238797 h 6128401"/>
                  <a:gd name="connsiteX15" fmla="*/ 3305941 w 4477595"/>
                  <a:gd name="connsiteY15" fmla="*/ 4207383 h 6128401"/>
                  <a:gd name="connsiteX16" fmla="*/ 3243251 w 4477595"/>
                  <a:gd name="connsiteY16" fmla="*/ 4439941 h 6128401"/>
                  <a:gd name="connsiteX17" fmla="*/ 3243251 w 4477595"/>
                  <a:gd name="connsiteY17" fmla="*/ 5318909 h 6128401"/>
                  <a:gd name="connsiteX18" fmla="*/ 2705531 w 4477595"/>
                  <a:gd name="connsiteY18" fmla="*/ 5880081 h 6128401"/>
                  <a:gd name="connsiteX19" fmla="*/ 2650833 w 4477595"/>
                  <a:gd name="connsiteY19" fmla="*/ 5880971 h 6128401"/>
                  <a:gd name="connsiteX20" fmla="*/ 2641784 w 4477595"/>
                  <a:gd name="connsiteY20" fmla="*/ 5910123 h 6128401"/>
                  <a:gd name="connsiteX21" fmla="*/ 2312476 w 4477595"/>
                  <a:gd name="connsiteY21" fmla="*/ 6128401 h 6128401"/>
                  <a:gd name="connsiteX22" fmla="*/ 2165118 w 4477595"/>
                  <a:gd name="connsiteY22" fmla="*/ 6128401 h 6128401"/>
                  <a:gd name="connsiteX23" fmla="*/ 1835810 w 4477595"/>
                  <a:gd name="connsiteY23" fmla="*/ 5910123 h 6128401"/>
                  <a:gd name="connsiteX24" fmla="*/ 1826975 w 4477595"/>
                  <a:gd name="connsiteY24" fmla="*/ 5881661 h 6128401"/>
                  <a:gd name="connsiteX25" fmla="*/ 1699568 w 4477595"/>
                  <a:gd name="connsiteY25" fmla="*/ 5881345 h 6128401"/>
                  <a:gd name="connsiteX26" fmla="*/ 1252464 w 4477595"/>
                  <a:gd name="connsiteY26" fmla="*/ 5306553 h 6128401"/>
                  <a:gd name="connsiteX27" fmla="*/ 1260702 w 4477595"/>
                  <a:gd name="connsiteY27" fmla="*/ 4439941 h 6128401"/>
                  <a:gd name="connsiteX28" fmla="*/ 1247395 w 4477595"/>
                  <a:gd name="connsiteY28" fmla="*/ 4251681 h 6128401"/>
                  <a:gd name="connsiteX29" fmla="*/ 1171654 w 4477595"/>
                  <a:gd name="connsiteY29" fmla="*/ 4207383 h 6128401"/>
                  <a:gd name="connsiteX30" fmla="*/ 0 w 4477595"/>
                  <a:gd name="connsiteY30" fmla="*/ 2238797 h 6128401"/>
                  <a:gd name="connsiteX31" fmla="*/ 2238797 w 4477595"/>
                  <a:gd name="connsiteY31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539568 w 4477595"/>
                  <a:gd name="connsiteY5" fmla="*/ 4531711 h 6128401"/>
                  <a:gd name="connsiteX6" fmla="*/ 2860637 w 4477595"/>
                  <a:gd name="connsiteY6" fmla="*/ 4311091 h 6128401"/>
                  <a:gd name="connsiteX7" fmla="*/ 3109338 w 4477595"/>
                  <a:gd name="connsiteY7" fmla="*/ 3834987 h 6128401"/>
                  <a:gd name="connsiteX8" fmla="*/ 3110879 w 4477595"/>
                  <a:gd name="connsiteY8" fmla="*/ 3834037 h 6128401"/>
                  <a:gd name="connsiteX9" fmla="*/ 3181541 w 4477595"/>
                  <a:gd name="connsiteY9" fmla="*/ 3791109 h 6128401"/>
                  <a:gd name="connsiteX10" fmla="*/ 4056807 w 4477595"/>
                  <a:gd name="connsiteY10" fmla="*/ 2238797 h 6128401"/>
                  <a:gd name="connsiteX11" fmla="*/ 2238798 w 4477595"/>
                  <a:gd name="connsiteY11" fmla="*/ 420786 h 6128401"/>
                  <a:gd name="connsiteX12" fmla="*/ 2238797 w 4477595"/>
                  <a:gd name="connsiteY12" fmla="*/ 0 h 6128401"/>
                  <a:gd name="connsiteX13" fmla="*/ 4477595 w 4477595"/>
                  <a:gd name="connsiteY13" fmla="*/ 2238797 h 6128401"/>
                  <a:gd name="connsiteX14" fmla="*/ 3305941 w 4477595"/>
                  <a:gd name="connsiteY14" fmla="*/ 4207383 h 6128401"/>
                  <a:gd name="connsiteX15" fmla="*/ 3243251 w 4477595"/>
                  <a:gd name="connsiteY15" fmla="*/ 4439941 h 6128401"/>
                  <a:gd name="connsiteX16" fmla="*/ 3243251 w 4477595"/>
                  <a:gd name="connsiteY16" fmla="*/ 5318909 h 6128401"/>
                  <a:gd name="connsiteX17" fmla="*/ 2705531 w 4477595"/>
                  <a:gd name="connsiteY17" fmla="*/ 5880081 h 6128401"/>
                  <a:gd name="connsiteX18" fmla="*/ 2650833 w 4477595"/>
                  <a:gd name="connsiteY18" fmla="*/ 5880971 h 6128401"/>
                  <a:gd name="connsiteX19" fmla="*/ 2641784 w 4477595"/>
                  <a:gd name="connsiteY19" fmla="*/ 5910123 h 6128401"/>
                  <a:gd name="connsiteX20" fmla="*/ 2312476 w 4477595"/>
                  <a:gd name="connsiteY20" fmla="*/ 6128401 h 6128401"/>
                  <a:gd name="connsiteX21" fmla="*/ 2165118 w 4477595"/>
                  <a:gd name="connsiteY21" fmla="*/ 6128401 h 6128401"/>
                  <a:gd name="connsiteX22" fmla="*/ 1835810 w 4477595"/>
                  <a:gd name="connsiteY22" fmla="*/ 5910123 h 6128401"/>
                  <a:gd name="connsiteX23" fmla="*/ 1826975 w 4477595"/>
                  <a:gd name="connsiteY23" fmla="*/ 5881661 h 6128401"/>
                  <a:gd name="connsiteX24" fmla="*/ 1699568 w 4477595"/>
                  <a:gd name="connsiteY24" fmla="*/ 5881345 h 6128401"/>
                  <a:gd name="connsiteX25" fmla="*/ 1252464 w 4477595"/>
                  <a:gd name="connsiteY25" fmla="*/ 5306553 h 6128401"/>
                  <a:gd name="connsiteX26" fmla="*/ 1260702 w 4477595"/>
                  <a:gd name="connsiteY26" fmla="*/ 4439941 h 6128401"/>
                  <a:gd name="connsiteX27" fmla="*/ 1247395 w 4477595"/>
                  <a:gd name="connsiteY27" fmla="*/ 4251681 h 6128401"/>
                  <a:gd name="connsiteX28" fmla="*/ 1171654 w 4477595"/>
                  <a:gd name="connsiteY28" fmla="*/ 4207383 h 6128401"/>
                  <a:gd name="connsiteX29" fmla="*/ 0 w 4477595"/>
                  <a:gd name="connsiteY29" fmla="*/ 2238797 h 6128401"/>
                  <a:gd name="connsiteX30" fmla="*/ 2238797 w 4477595"/>
                  <a:gd name="connsiteY30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539568 w 4477595"/>
                  <a:gd name="connsiteY5" fmla="*/ 4531711 h 6128401"/>
                  <a:gd name="connsiteX6" fmla="*/ 2860637 w 4477595"/>
                  <a:gd name="connsiteY6" fmla="*/ 4311091 h 6128401"/>
                  <a:gd name="connsiteX7" fmla="*/ 3109338 w 4477595"/>
                  <a:gd name="connsiteY7" fmla="*/ 3834987 h 6128401"/>
                  <a:gd name="connsiteX8" fmla="*/ 3110879 w 4477595"/>
                  <a:gd name="connsiteY8" fmla="*/ 3834037 h 6128401"/>
                  <a:gd name="connsiteX9" fmla="*/ 3181541 w 4477595"/>
                  <a:gd name="connsiteY9" fmla="*/ 3791109 h 6128401"/>
                  <a:gd name="connsiteX10" fmla="*/ 4056807 w 4477595"/>
                  <a:gd name="connsiteY10" fmla="*/ 2238797 h 6128401"/>
                  <a:gd name="connsiteX11" fmla="*/ 2238798 w 4477595"/>
                  <a:gd name="connsiteY11" fmla="*/ 420786 h 6128401"/>
                  <a:gd name="connsiteX12" fmla="*/ 2238797 w 4477595"/>
                  <a:gd name="connsiteY12" fmla="*/ 0 h 6128401"/>
                  <a:gd name="connsiteX13" fmla="*/ 4477595 w 4477595"/>
                  <a:gd name="connsiteY13" fmla="*/ 2238797 h 6128401"/>
                  <a:gd name="connsiteX14" fmla="*/ 3305941 w 4477595"/>
                  <a:gd name="connsiteY14" fmla="*/ 4207383 h 6128401"/>
                  <a:gd name="connsiteX15" fmla="*/ 3243251 w 4477595"/>
                  <a:gd name="connsiteY15" fmla="*/ 4439941 h 6128401"/>
                  <a:gd name="connsiteX16" fmla="*/ 3243251 w 4477595"/>
                  <a:gd name="connsiteY16" fmla="*/ 5318909 h 6128401"/>
                  <a:gd name="connsiteX17" fmla="*/ 2705531 w 4477595"/>
                  <a:gd name="connsiteY17" fmla="*/ 5880081 h 6128401"/>
                  <a:gd name="connsiteX18" fmla="*/ 2650833 w 4477595"/>
                  <a:gd name="connsiteY18" fmla="*/ 5880971 h 6128401"/>
                  <a:gd name="connsiteX19" fmla="*/ 2641784 w 4477595"/>
                  <a:gd name="connsiteY19" fmla="*/ 5910123 h 6128401"/>
                  <a:gd name="connsiteX20" fmla="*/ 2312476 w 4477595"/>
                  <a:gd name="connsiteY20" fmla="*/ 6128401 h 6128401"/>
                  <a:gd name="connsiteX21" fmla="*/ 2165118 w 4477595"/>
                  <a:gd name="connsiteY21" fmla="*/ 6128401 h 6128401"/>
                  <a:gd name="connsiteX22" fmla="*/ 1835810 w 4477595"/>
                  <a:gd name="connsiteY22" fmla="*/ 5910123 h 6128401"/>
                  <a:gd name="connsiteX23" fmla="*/ 1826975 w 4477595"/>
                  <a:gd name="connsiteY23" fmla="*/ 5881661 h 6128401"/>
                  <a:gd name="connsiteX24" fmla="*/ 1699568 w 4477595"/>
                  <a:gd name="connsiteY24" fmla="*/ 5881345 h 6128401"/>
                  <a:gd name="connsiteX25" fmla="*/ 1252464 w 4477595"/>
                  <a:gd name="connsiteY25" fmla="*/ 5306553 h 6128401"/>
                  <a:gd name="connsiteX26" fmla="*/ 1260702 w 4477595"/>
                  <a:gd name="connsiteY26" fmla="*/ 4439941 h 6128401"/>
                  <a:gd name="connsiteX27" fmla="*/ 1247395 w 4477595"/>
                  <a:gd name="connsiteY27" fmla="*/ 4251681 h 6128401"/>
                  <a:gd name="connsiteX28" fmla="*/ 1171654 w 4477595"/>
                  <a:gd name="connsiteY28" fmla="*/ 4207383 h 6128401"/>
                  <a:gd name="connsiteX29" fmla="*/ 0 w 4477595"/>
                  <a:gd name="connsiteY29" fmla="*/ 2238797 h 6128401"/>
                  <a:gd name="connsiteX30" fmla="*/ 2238797 w 4477595"/>
                  <a:gd name="connsiteY30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27594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539568 w 4477595"/>
                  <a:gd name="connsiteY5" fmla="*/ 4531711 h 6128401"/>
                  <a:gd name="connsiteX6" fmla="*/ 2860637 w 4477595"/>
                  <a:gd name="connsiteY6" fmla="*/ 4311091 h 6128401"/>
                  <a:gd name="connsiteX7" fmla="*/ 3109338 w 4477595"/>
                  <a:gd name="connsiteY7" fmla="*/ 3834987 h 6128401"/>
                  <a:gd name="connsiteX8" fmla="*/ 3110879 w 4477595"/>
                  <a:gd name="connsiteY8" fmla="*/ 3834037 h 6128401"/>
                  <a:gd name="connsiteX9" fmla="*/ 3181541 w 4477595"/>
                  <a:gd name="connsiteY9" fmla="*/ 3791109 h 6128401"/>
                  <a:gd name="connsiteX10" fmla="*/ 4056807 w 4477595"/>
                  <a:gd name="connsiteY10" fmla="*/ 2238797 h 6128401"/>
                  <a:gd name="connsiteX11" fmla="*/ 2238798 w 4477595"/>
                  <a:gd name="connsiteY11" fmla="*/ 420786 h 6128401"/>
                  <a:gd name="connsiteX12" fmla="*/ 2238797 w 4477595"/>
                  <a:gd name="connsiteY12" fmla="*/ 0 h 6128401"/>
                  <a:gd name="connsiteX13" fmla="*/ 4477595 w 4477595"/>
                  <a:gd name="connsiteY13" fmla="*/ 2238797 h 6128401"/>
                  <a:gd name="connsiteX14" fmla="*/ 3305941 w 4477595"/>
                  <a:gd name="connsiteY14" fmla="*/ 4207383 h 6128401"/>
                  <a:gd name="connsiteX15" fmla="*/ 3243251 w 4477595"/>
                  <a:gd name="connsiteY15" fmla="*/ 4439941 h 6128401"/>
                  <a:gd name="connsiteX16" fmla="*/ 3243251 w 4477595"/>
                  <a:gd name="connsiteY16" fmla="*/ 5318909 h 6128401"/>
                  <a:gd name="connsiteX17" fmla="*/ 2705531 w 4477595"/>
                  <a:gd name="connsiteY17" fmla="*/ 5880081 h 6128401"/>
                  <a:gd name="connsiteX18" fmla="*/ 2650833 w 4477595"/>
                  <a:gd name="connsiteY18" fmla="*/ 5880971 h 6128401"/>
                  <a:gd name="connsiteX19" fmla="*/ 2641784 w 4477595"/>
                  <a:gd name="connsiteY19" fmla="*/ 5910123 h 6128401"/>
                  <a:gd name="connsiteX20" fmla="*/ 2312476 w 4477595"/>
                  <a:gd name="connsiteY20" fmla="*/ 6128401 h 6128401"/>
                  <a:gd name="connsiteX21" fmla="*/ 2165118 w 4477595"/>
                  <a:gd name="connsiteY21" fmla="*/ 6128401 h 6128401"/>
                  <a:gd name="connsiteX22" fmla="*/ 1835810 w 4477595"/>
                  <a:gd name="connsiteY22" fmla="*/ 5910123 h 6128401"/>
                  <a:gd name="connsiteX23" fmla="*/ 1826975 w 4477595"/>
                  <a:gd name="connsiteY23" fmla="*/ 5881661 h 6128401"/>
                  <a:gd name="connsiteX24" fmla="*/ 1699568 w 4477595"/>
                  <a:gd name="connsiteY24" fmla="*/ 5881345 h 6128401"/>
                  <a:gd name="connsiteX25" fmla="*/ 1252464 w 4477595"/>
                  <a:gd name="connsiteY25" fmla="*/ 5306553 h 6128401"/>
                  <a:gd name="connsiteX26" fmla="*/ 1260702 w 4477595"/>
                  <a:gd name="connsiteY26" fmla="*/ 4439941 h 6128401"/>
                  <a:gd name="connsiteX27" fmla="*/ 1247395 w 4477595"/>
                  <a:gd name="connsiteY27" fmla="*/ 4251681 h 6128401"/>
                  <a:gd name="connsiteX28" fmla="*/ 1171654 w 4477595"/>
                  <a:gd name="connsiteY28" fmla="*/ 4207383 h 6128401"/>
                  <a:gd name="connsiteX29" fmla="*/ 0 w 4477595"/>
                  <a:gd name="connsiteY29" fmla="*/ 2238797 h 6128401"/>
                  <a:gd name="connsiteX30" fmla="*/ 2238797 w 4477595"/>
                  <a:gd name="connsiteY30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27594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539568 w 4477595"/>
                  <a:gd name="connsiteY5" fmla="*/ 4531711 h 6128401"/>
                  <a:gd name="connsiteX6" fmla="*/ 2860637 w 4477595"/>
                  <a:gd name="connsiteY6" fmla="*/ 4311091 h 6128401"/>
                  <a:gd name="connsiteX7" fmla="*/ 3109338 w 4477595"/>
                  <a:gd name="connsiteY7" fmla="*/ 3834987 h 6128401"/>
                  <a:gd name="connsiteX8" fmla="*/ 3110879 w 4477595"/>
                  <a:gd name="connsiteY8" fmla="*/ 3834037 h 6128401"/>
                  <a:gd name="connsiteX9" fmla="*/ 3181541 w 4477595"/>
                  <a:gd name="connsiteY9" fmla="*/ 3791109 h 6128401"/>
                  <a:gd name="connsiteX10" fmla="*/ 4056807 w 4477595"/>
                  <a:gd name="connsiteY10" fmla="*/ 2238797 h 6128401"/>
                  <a:gd name="connsiteX11" fmla="*/ 2238798 w 4477595"/>
                  <a:gd name="connsiteY11" fmla="*/ 420786 h 6128401"/>
                  <a:gd name="connsiteX12" fmla="*/ 2238797 w 4477595"/>
                  <a:gd name="connsiteY12" fmla="*/ 0 h 6128401"/>
                  <a:gd name="connsiteX13" fmla="*/ 4477595 w 4477595"/>
                  <a:gd name="connsiteY13" fmla="*/ 2238797 h 6128401"/>
                  <a:gd name="connsiteX14" fmla="*/ 3305941 w 4477595"/>
                  <a:gd name="connsiteY14" fmla="*/ 4207383 h 6128401"/>
                  <a:gd name="connsiteX15" fmla="*/ 3243251 w 4477595"/>
                  <a:gd name="connsiteY15" fmla="*/ 4439941 h 6128401"/>
                  <a:gd name="connsiteX16" fmla="*/ 3243251 w 4477595"/>
                  <a:gd name="connsiteY16" fmla="*/ 5318909 h 6128401"/>
                  <a:gd name="connsiteX17" fmla="*/ 2705531 w 4477595"/>
                  <a:gd name="connsiteY17" fmla="*/ 5880081 h 6128401"/>
                  <a:gd name="connsiteX18" fmla="*/ 2650833 w 4477595"/>
                  <a:gd name="connsiteY18" fmla="*/ 5880971 h 6128401"/>
                  <a:gd name="connsiteX19" fmla="*/ 2641784 w 4477595"/>
                  <a:gd name="connsiteY19" fmla="*/ 5910123 h 6128401"/>
                  <a:gd name="connsiteX20" fmla="*/ 2312476 w 4477595"/>
                  <a:gd name="connsiteY20" fmla="*/ 6128401 h 6128401"/>
                  <a:gd name="connsiteX21" fmla="*/ 2165118 w 4477595"/>
                  <a:gd name="connsiteY21" fmla="*/ 6128401 h 6128401"/>
                  <a:gd name="connsiteX22" fmla="*/ 1835810 w 4477595"/>
                  <a:gd name="connsiteY22" fmla="*/ 5910123 h 6128401"/>
                  <a:gd name="connsiteX23" fmla="*/ 1826975 w 4477595"/>
                  <a:gd name="connsiteY23" fmla="*/ 5881661 h 6128401"/>
                  <a:gd name="connsiteX24" fmla="*/ 1699568 w 4477595"/>
                  <a:gd name="connsiteY24" fmla="*/ 5881345 h 6128401"/>
                  <a:gd name="connsiteX25" fmla="*/ 1252464 w 4477595"/>
                  <a:gd name="connsiteY25" fmla="*/ 5306553 h 6128401"/>
                  <a:gd name="connsiteX26" fmla="*/ 1260702 w 4477595"/>
                  <a:gd name="connsiteY26" fmla="*/ 4439941 h 6128401"/>
                  <a:gd name="connsiteX27" fmla="*/ 1247395 w 4477595"/>
                  <a:gd name="connsiteY27" fmla="*/ 4251681 h 6128401"/>
                  <a:gd name="connsiteX28" fmla="*/ 1171654 w 4477595"/>
                  <a:gd name="connsiteY28" fmla="*/ 4207383 h 6128401"/>
                  <a:gd name="connsiteX29" fmla="*/ 0 w 4477595"/>
                  <a:gd name="connsiteY29" fmla="*/ 2238797 h 6128401"/>
                  <a:gd name="connsiteX30" fmla="*/ 2238797 w 4477595"/>
                  <a:gd name="connsiteY30" fmla="*/ 0 h 6128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4477595" h="6128401">
                    <a:moveTo>
                      <a:pt x="2238798" y="420786"/>
                    </a:moveTo>
                    <a:cubicBezTo>
                      <a:pt x="1234738" y="420786"/>
                      <a:pt x="420787" y="1234737"/>
                      <a:pt x="420787" y="2238797"/>
                    </a:cubicBezTo>
                    <a:cubicBezTo>
                      <a:pt x="423730" y="2352803"/>
                      <a:pt x="351911" y="3087911"/>
                      <a:pt x="1223247" y="3754007"/>
                    </a:cubicBezTo>
                    <a:cubicBezTo>
                      <a:pt x="1717667" y="4011636"/>
                      <a:pt x="1619902" y="4226675"/>
                      <a:pt x="1627594" y="4311091"/>
                    </a:cubicBezTo>
                    <a:cubicBezTo>
                      <a:pt x="1617757" y="4418123"/>
                      <a:pt x="1705319" y="4534189"/>
                      <a:pt x="1936940" y="4531711"/>
                    </a:cubicBezTo>
                    <a:lnTo>
                      <a:pt x="2539568" y="4531711"/>
                    </a:lnTo>
                    <a:cubicBezTo>
                      <a:pt x="2771189" y="4534189"/>
                      <a:pt x="2870474" y="4418123"/>
                      <a:pt x="2860637" y="4311091"/>
                    </a:cubicBezTo>
                    <a:cubicBezTo>
                      <a:pt x="2867368" y="4237227"/>
                      <a:pt x="2823275" y="4027453"/>
                      <a:pt x="3109338" y="3834987"/>
                    </a:cubicBezTo>
                    <a:lnTo>
                      <a:pt x="3110879" y="3834037"/>
                    </a:lnTo>
                    <a:lnTo>
                      <a:pt x="3181541" y="3791109"/>
                    </a:lnTo>
                    <a:cubicBezTo>
                      <a:pt x="3939122" y="3371438"/>
                      <a:pt x="4058350" y="2583705"/>
                      <a:pt x="4056807" y="2238797"/>
                    </a:cubicBezTo>
                    <a:cubicBezTo>
                      <a:pt x="4056807" y="1234737"/>
                      <a:pt x="3242858" y="420786"/>
                      <a:pt x="2238798" y="420786"/>
                    </a:cubicBezTo>
                    <a:close/>
                    <a:moveTo>
                      <a:pt x="2238797" y="0"/>
                    </a:moveTo>
                    <a:cubicBezTo>
                      <a:pt x="3475250" y="0"/>
                      <a:pt x="4477595" y="1002344"/>
                      <a:pt x="4477595" y="2238797"/>
                    </a:cubicBezTo>
                    <a:cubicBezTo>
                      <a:pt x="4477595" y="3088857"/>
                      <a:pt x="4003830" y="3828265"/>
                      <a:pt x="3305941" y="4207383"/>
                    </a:cubicBezTo>
                    <a:cubicBezTo>
                      <a:pt x="3307381" y="4222369"/>
                      <a:pt x="3228811" y="4212497"/>
                      <a:pt x="3243251" y="4439941"/>
                    </a:cubicBezTo>
                    <a:lnTo>
                      <a:pt x="3243251" y="5318909"/>
                    </a:lnTo>
                    <a:cubicBezTo>
                      <a:pt x="3259726" y="5591157"/>
                      <a:pt x="3093445" y="5886389"/>
                      <a:pt x="2705531" y="5880081"/>
                    </a:cubicBezTo>
                    <a:lnTo>
                      <a:pt x="2650833" y="5880971"/>
                    </a:lnTo>
                    <a:lnTo>
                      <a:pt x="2641784" y="5910123"/>
                    </a:lnTo>
                    <a:cubicBezTo>
                      <a:pt x="2587529" y="6038395"/>
                      <a:pt x="2460513" y="6128401"/>
                      <a:pt x="2312476" y="6128401"/>
                    </a:cubicBezTo>
                    <a:lnTo>
                      <a:pt x="2165118" y="6128401"/>
                    </a:lnTo>
                    <a:cubicBezTo>
                      <a:pt x="2017081" y="6128401"/>
                      <a:pt x="1890065" y="6038395"/>
                      <a:pt x="1835810" y="5910123"/>
                    </a:cubicBezTo>
                    <a:lnTo>
                      <a:pt x="1826975" y="5881661"/>
                    </a:lnTo>
                    <a:lnTo>
                      <a:pt x="1699568" y="5881345"/>
                    </a:lnTo>
                    <a:cubicBezTo>
                      <a:pt x="1373774" y="5889581"/>
                      <a:pt x="1241446" y="5564849"/>
                      <a:pt x="1252464" y="5306553"/>
                    </a:cubicBezTo>
                    <a:lnTo>
                      <a:pt x="1260702" y="4439941"/>
                    </a:lnTo>
                    <a:cubicBezTo>
                      <a:pt x="1260702" y="4367661"/>
                      <a:pt x="1281375" y="4321187"/>
                      <a:pt x="1247395" y="4251681"/>
                    </a:cubicBezTo>
                    <a:lnTo>
                      <a:pt x="1171654" y="4207383"/>
                    </a:lnTo>
                    <a:cubicBezTo>
                      <a:pt x="473764" y="3828265"/>
                      <a:pt x="0" y="3088857"/>
                      <a:pt x="0" y="2238797"/>
                    </a:cubicBezTo>
                    <a:cubicBezTo>
                      <a:pt x="0" y="1002344"/>
                      <a:pt x="1002344" y="0"/>
                      <a:pt x="2238797" y="0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519970">
                  <a:defRPr/>
                </a:pPr>
                <a:r>
                  <a:rPr lang="en-US" sz="1842" kern="0">
                    <a:solidFill>
                      <a:prstClr val="white"/>
                    </a:solidFill>
                    <a:latin typeface="Calibri"/>
                  </a:rPr>
                  <a:t>  </a:t>
                </a:r>
              </a:p>
            </p:txBody>
          </p:sp>
          <p:grpSp>
            <p:nvGrpSpPr>
              <p:cNvPr id="569" name="Group 206"/>
              <p:cNvGrpSpPr/>
              <p:nvPr/>
            </p:nvGrpSpPr>
            <p:grpSpPr>
              <a:xfrm>
                <a:off x="11961036" y="15547980"/>
                <a:ext cx="6135815" cy="3060371"/>
                <a:chOff x="11961036" y="15547980"/>
                <a:chExt cx="6135815" cy="3060371"/>
              </a:xfrm>
              <a:grpFill/>
            </p:grpSpPr>
            <p:sp>
              <p:nvSpPr>
                <p:cNvPr id="570" name="Rounded Rectangle 207"/>
                <p:cNvSpPr/>
                <p:nvPr/>
              </p:nvSpPr>
              <p:spPr>
                <a:xfrm rot="16200000" flipH="1">
                  <a:off x="12119095" y="16790050"/>
                  <a:ext cx="271696" cy="587813"/>
                </a:xfrm>
                <a:prstGeom prst="roundRect">
                  <a:avLst>
                    <a:gd name="adj" fmla="val 46875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519970">
                    <a:defRPr/>
                  </a:pPr>
                  <a:endParaRPr lang="en-US" sz="1842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571" name="Rounded Rectangle 208"/>
                <p:cNvSpPr/>
                <p:nvPr/>
              </p:nvSpPr>
              <p:spPr>
                <a:xfrm rot="17791932" flipH="1">
                  <a:off x="12487809" y="15407565"/>
                  <a:ext cx="271696" cy="587813"/>
                </a:xfrm>
                <a:prstGeom prst="roundRect">
                  <a:avLst>
                    <a:gd name="adj" fmla="val 46875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519970">
                    <a:defRPr/>
                  </a:pPr>
                  <a:endParaRPr lang="en-US" sz="1842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572" name="Rounded Rectangle 209"/>
                <p:cNvSpPr/>
                <p:nvPr/>
              </p:nvSpPr>
              <p:spPr>
                <a:xfrm rot="3328556" flipH="1">
                  <a:off x="17277054" y="15389921"/>
                  <a:ext cx="271696" cy="587813"/>
                </a:xfrm>
                <a:prstGeom prst="roundRect">
                  <a:avLst>
                    <a:gd name="adj" fmla="val 46875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519970">
                    <a:defRPr/>
                  </a:pPr>
                  <a:endParaRPr lang="en-US" sz="1842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573" name="Rounded Rectangle 210"/>
                <p:cNvSpPr/>
                <p:nvPr/>
              </p:nvSpPr>
              <p:spPr>
                <a:xfrm rot="5578962" flipH="1">
                  <a:off x="17667097" y="16790050"/>
                  <a:ext cx="271696" cy="587813"/>
                </a:xfrm>
                <a:prstGeom prst="roundRect">
                  <a:avLst>
                    <a:gd name="adj" fmla="val 46875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519970">
                    <a:defRPr/>
                  </a:pPr>
                  <a:endParaRPr lang="en-US" sz="1842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574" name="Rounded Rectangle 211"/>
                <p:cNvSpPr/>
                <p:nvPr/>
              </p:nvSpPr>
              <p:spPr>
                <a:xfrm rot="7381646" flipH="1">
                  <a:off x="17287055" y="18178596"/>
                  <a:ext cx="271696" cy="587813"/>
                </a:xfrm>
                <a:prstGeom prst="roundRect">
                  <a:avLst>
                    <a:gd name="adj" fmla="val 46875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519970">
                    <a:defRPr/>
                  </a:pPr>
                  <a:endParaRPr lang="en-US" sz="1842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575" name="Rounded Rectangle 212"/>
                <p:cNvSpPr/>
                <p:nvPr/>
              </p:nvSpPr>
              <p:spPr>
                <a:xfrm rot="14497153" flipH="1">
                  <a:off x="12487809" y="18178594"/>
                  <a:ext cx="271696" cy="587813"/>
                </a:xfrm>
                <a:prstGeom prst="roundRect">
                  <a:avLst>
                    <a:gd name="adj" fmla="val 46875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519970">
                    <a:defRPr/>
                  </a:pPr>
                  <a:endParaRPr lang="en-US" sz="1842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</p:grpSp>
        </p:grpSp>
      </p:grp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7CCF248-FA51-4868-B03B-20A875196B2F}"/>
              </a:ext>
            </a:extLst>
          </p:cNvPr>
          <p:cNvCxnSpPr>
            <a:cxnSpLocks/>
          </p:cNvCxnSpPr>
          <p:nvPr/>
        </p:nvCxnSpPr>
        <p:spPr>
          <a:xfrm>
            <a:off x="8663908" y="4501192"/>
            <a:ext cx="0" cy="1732391"/>
          </a:xfrm>
          <a:prstGeom prst="line">
            <a:avLst/>
          </a:prstGeom>
          <a:ln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4" name="Rectangle 373">
            <a:extLst>
              <a:ext uri="{FF2B5EF4-FFF2-40B4-BE49-F238E27FC236}">
                <a16:creationId xmlns:a16="http://schemas.microsoft.com/office/drawing/2014/main" id="{B6BB4AB2-435E-4F51-B8E8-501296A583F0}"/>
              </a:ext>
            </a:extLst>
          </p:cNvPr>
          <p:cNvSpPr/>
          <p:nvPr/>
        </p:nvSpPr>
        <p:spPr>
          <a:xfrm>
            <a:off x="8437882" y="6368192"/>
            <a:ext cx="463588" cy="2120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27"/>
            <a:r>
              <a:rPr lang="en-US" sz="778" i="1">
                <a:solidFill>
                  <a:prstClr val="white">
                    <a:lumMod val="50000"/>
                  </a:prstClr>
                </a:solidFill>
                <a:latin typeface="Arial"/>
                <a:cs typeface="Arial" panose="020B0604020202020204" pitchFamily="34" charset="0"/>
              </a:rPr>
              <a:t>Today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9A5CE73-02A9-434F-A10E-E693C9DCEE33}"/>
              </a:ext>
            </a:extLst>
          </p:cNvPr>
          <p:cNvGrpSpPr/>
          <p:nvPr/>
        </p:nvGrpSpPr>
        <p:grpSpPr>
          <a:xfrm>
            <a:off x="203515" y="1144822"/>
            <a:ext cx="3182519" cy="709656"/>
            <a:chOff x="139137" y="1030340"/>
            <a:chExt cx="2864267" cy="638690"/>
          </a:xfrm>
        </p:grpSpPr>
        <p:sp>
          <p:nvSpPr>
            <p:cNvPr id="23" name="Round Same Side Corner Rectangle 22"/>
            <p:cNvSpPr/>
            <p:nvPr/>
          </p:nvSpPr>
          <p:spPr>
            <a:xfrm>
              <a:off x="139137" y="1030340"/>
              <a:ext cx="2864267" cy="298244"/>
            </a:xfrm>
            <a:prstGeom prst="round2SameRect">
              <a:avLst/>
            </a:prstGeom>
            <a:gradFill flip="none" rotWithShape="1">
              <a:gsLst>
                <a:gs pos="0">
                  <a:schemeClr val="tx2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8900000" scaled="1"/>
              <a:tileRect/>
            </a:gradFill>
          </p:spPr>
          <p:txBody>
            <a:bodyPr wrap="square" lIns="121920" tIns="0" bIns="60960" anchor="ctr">
              <a:noAutofit/>
            </a:bodyPr>
            <a:lstStyle/>
            <a:p>
              <a:pPr algn="ctr" defTabSz="1058286"/>
              <a:r>
                <a:rPr lang="en-US" sz="1400" b="1">
                  <a:solidFill>
                    <a:prstClr val="white"/>
                  </a:solidFill>
                  <a:latin typeface="Arial"/>
                  <a:cs typeface="DIN Next LT Arabic"/>
                </a:rPr>
                <a:t>Project Manager</a:t>
              </a:r>
            </a:p>
          </p:txBody>
        </p:sp>
        <p:sp>
          <p:nvSpPr>
            <p:cNvPr id="381" name="Rectangle 380">
              <a:extLst>
                <a:ext uri="{FF2B5EF4-FFF2-40B4-BE49-F238E27FC236}">
                  <a16:creationId xmlns:a16="http://schemas.microsoft.com/office/drawing/2014/main" id="{7D779BF8-3B5C-4B82-98FC-7644DB10E2C1}"/>
                </a:ext>
              </a:extLst>
            </p:cNvPr>
            <p:cNvSpPr/>
            <p:nvPr/>
          </p:nvSpPr>
          <p:spPr>
            <a:xfrm>
              <a:off x="139137" y="1306150"/>
              <a:ext cx="2864267" cy="3628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algn="ctr"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92" name="Rectangle 391">
              <a:extLst>
                <a:ext uri="{FF2B5EF4-FFF2-40B4-BE49-F238E27FC236}">
                  <a16:creationId xmlns:a16="http://schemas.microsoft.com/office/drawing/2014/main" id="{80FC6DC5-4FE4-4476-ABEF-A97BB110834C}"/>
                </a:ext>
              </a:extLst>
            </p:cNvPr>
            <p:cNvSpPr/>
            <p:nvPr/>
          </p:nvSpPr>
          <p:spPr>
            <a:xfrm>
              <a:off x="169029" y="1367714"/>
              <a:ext cx="2712040" cy="25235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pt-BR" sz="1222" b="1"/>
                <a:t>Faris Abomelha</a:t>
              </a:r>
              <a:endParaRPr lang="en-US" sz="1222" b="1"/>
            </a:p>
          </p:txBody>
        </p:sp>
      </p:grpSp>
      <p:grpSp>
        <p:nvGrpSpPr>
          <p:cNvPr id="393" name="Group 392">
            <a:extLst>
              <a:ext uri="{FF2B5EF4-FFF2-40B4-BE49-F238E27FC236}">
                <a16:creationId xmlns:a16="http://schemas.microsoft.com/office/drawing/2014/main" id="{B8D3427F-F685-4F6F-AAFC-5B0EAD38E18B}"/>
              </a:ext>
            </a:extLst>
          </p:cNvPr>
          <p:cNvGrpSpPr/>
          <p:nvPr/>
        </p:nvGrpSpPr>
        <p:grpSpPr>
          <a:xfrm>
            <a:off x="3945521" y="1144821"/>
            <a:ext cx="3182519" cy="709655"/>
            <a:chOff x="139137" y="1030340"/>
            <a:chExt cx="2864267" cy="638690"/>
          </a:xfrm>
        </p:grpSpPr>
        <p:sp>
          <p:nvSpPr>
            <p:cNvPr id="394" name="Round Same Side Corner Rectangle 22">
              <a:extLst>
                <a:ext uri="{FF2B5EF4-FFF2-40B4-BE49-F238E27FC236}">
                  <a16:creationId xmlns:a16="http://schemas.microsoft.com/office/drawing/2014/main" id="{54AA7BCD-3F0B-48E2-A6C2-28238D50BAF6}"/>
                </a:ext>
              </a:extLst>
            </p:cNvPr>
            <p:cNvSpPr/>
            <p:nvPr/>
          </p:nvSpPr>
          <p:spPr>
            <a:xfrm>
              <a:off x="139137" y="1030340"/>
              <a:ext cx="2864267" cy="298244"/>
            </a:xfrm>
            <a:prstGeom prst="round2SameRect">
              <a:avLst/>
            </a:prstGeom>
            <a:gradFill flip="none" rotWithShape="1">
              <a:gsLst>
                <a:gs pos="0">
                  <a:schemeClr val="tx2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8900000" scaled="1"/>
              <a:tileRect/>
            </a:gradFill>
          </p:spPr>
          <p:txBody>
            <a:bodyPr wrap="square" lIns="121920" tIns="0" bIns="60960" anchor="ctr">
              <a:noAutofit/>
            </a:bodyPr>
            <a:lstStyle/>
            <a:p>
              <a:pPr algn="ctr" defTabSz="1058286"/>
              <a:r>
                <a:rPr lang="en-US" sz="1400" b="1">
                  <a:solidFill>
                    <a:prstClr val="white"/>
                  </a:solidFill>
                  <a:latin typeface="Arial"/>
                  <a:cs typeface="DIN Next LT Arabic"/>
                </a:rPr>
                <a:t>Sponsor</a:t>
              </a:r>
            </a:p>
          </p:txBody>
        </p:sp>
        <p:sp>
          <p:nvSpPr>
            <p:cNvPr id="395" name="Rectangle 394">
              <a:extLst>
                <a:ext uri="{FF2B5EF4-FFF2-40B4-BE49-F238E27FC236}">
                  <a16:creationId xmlns:a16="http://schemas.microsoft.com/office/drawing/2014/main" id="{4060BCD0-1A60-4A53-8D45-148EB7FFF52D}"/>
                </a:ext>
              </a:extLst>
            </p:cNvPr>
            <p:cNvSpPr/>
            <p:nvPr/>
          </p:nvSpPr>
          <p:spPr>
            <a:xfrm>
              <a:off x="139137" y="1306150"/>
              <a:ext cx="2864267" cy="3628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algn="ctr"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96" name="Rectangle 395">
              <a:extLst>
                <a:ext uri="{FF2B5EF4-FFF2-40B4-BE49-F238E27FC236}">
                  <a16:creationId xmlns:a16="http://schemas.microsoft.com/office/drawing/2014/main" id="{E83DC2C4-A45D-47D3-B1E0-3C1FF243D9B8}"/>
                </a:ext>
              </a:extLst>
            </p:cNvPr>
            <p:cNvSpPr/>
            <p:nvPr/>
          </p:nvSpPr>
          <p:spPr>
            <a:xfrm>
              <a:off x="169029" y="1367714"/>
              <a:ext cx="2712040" cy="25235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22" b="1"/>
                <a:t>Kaushal Dayal</a:t>
              </a:r>
            </a:p>
          </p:txBody>
        </p:sp>
      </p:grpSp>
      <p:grpSp>
        <p:nvGrpSpPr>
          <p:cNvPr id="397" name="Group 396">
            <a:extLst>
              <a:ext uri="{FF2B5EF4-FFF2-40B4-BE49-F238E27FC236}">
                <a16:creationId xmlns:a16="http://schemas.microsoft.com/office/drawing/2014/main" id="{C733F652-2C64-42E0-9D60-E5666F31750A}"/>
              </a:ext>
            </a:extLst>
          </p:cNvPr>
          <p:cNvGrpSpPr/>
          <p:nvPr/>
        </p:nvGrpSpPr>
        <p:grpSpPr>
          <a:xfrm>
            <a:off x="9968165" y="2012376"/>
            <a:ext cx="1858457" cy="215793"/>
            <a:chOff x="2611843" y="2749253"/>
            <a:chExt cx="5845533" cy="225865"/>
          </a:xfrm>
        </p:grpSpPr>
        <p:sp>
          <p:nvSpPr>
            <p:cNvPr id="398" name="Rounded Rectangle 385">
              <a:extLst>
                <a:ext uri="{FF2B5EF4-FFF2-40B4-BE49-F238E27FC236}">
                  <a16:creationId xmlns:a16="http://schemas.microsoft.com/office/drawing/2014/main" id="{C441C946-799C-4E56-AC65-8B9DBF1F1832}"/>
                </a:ext>
              </a:extLst>
            </p:cNvPr>
            <p:cNvSpPr/>
            <p:nvPr/>
          </p:nvSpPr>
          <p:spPr>
            <a:xfrm>
              <a:off x="2611843" y="2749253"/>
              <a:ext cx="5845533" cy="225865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 w="10172">
              <a:noFill/>
            </a:ln>
          </p:spPr>
          <p:txBody>
            <a:bodyPr wrap="square" lIns="121920" tIns="121920" rIns="121920" bIns="121920" rtlCol="0" anchor="ctr"/>
            <a:lstStyle/>
            <a:p>
              <a:pPr defTabSz="1219176">
                <a:lnSpc>
                  <a:spcPts val="1467"/>
                </a:lnSpc>
              </a:pPr>
              <a:endParaRPr lang="en-US" sz="1333">
                <a:solidFill>
                  <a:srgbClr val="000000"/>
                </a:solidFill>
                <a:latin typeface="Arial"/>
                <a:ea typeface="Univers for KPMG Light" charset="0"/>
                <a:cs typeface="Univers for KPMG Light" charset="0"/>
              </a:endParaRPr>
            </a:p>
          </p:txBody>
        </p:sp>
        <p:sp>
          <p:nvSpPr>
            <p:cNvPr id="399" name="Rounded Rectangle 386">
              <a:extLst>
                <a:ext uri="{FF2B5EF4-FFF2-40B4-BE49-F238E27FC236}">
                  <a16:creationId xmlns:a16="http://schemas.microsoft.com/office/drawing/2014/main" id="{BCEC1C92-FB1E-4F9B-A257-B7DC4A28EC13}"/>
                </a:ext>
              </a:extLst>
            </p:cNvPr>
            <p:cNvSpPr/>
            <p:nvPr/>
          </p:nvSpPr>
          <p:spPr>
            <a:xfrm>
              <a:off x="2611843" y="2749254"/>
              <a:ext cx="1544527" cy="200796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tx2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8900000" scaled="1"/>
              <a:tileRect/>
            </a:gradFill>
          </p:spPr>
          <p:txBody>
            <a:bodyPr wrap="square" lIns="121920" tIns="0" bIns="60960" anchor="ctr">
              <a:noAutofit/>
            </a:bodyPr>
            <a:lstStyle/>
            <a:p>
              <a:pPr algn="ctr" defTabSz="1058286"/>
              <a:endParaRPr lang="en-US" sz="1400" b="1">
                <a:solidFill>
                  <a:prstClr val="white"/>
                </a:solidFill>
                <a:latin typeface="Arial"/>
                <a:cs typeface="DIN Next LT Arabic"/>
              </a:endParaRPr>
            </a:p>
          </p:txBody>
        </p:sp>
      </p:grp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7D55C1C-3F64-4129-B4C8-A12260C96ED9}"/>
              </a:ext>
            </a:extLst>
          </p:cNvPr>
          <p:cNvCxnSpPr/>
          <p:nvPr/>
        </p:nvCxnSpPr>
        <p:spPr>
          <a:xfrm>
            <a:off x="10453380" y="1956377"/>
            <a:ext cx="0" cy="316907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0" name="Rectangle 399">
            <a:extLst>
              <a:ext uri="{FF2B5EF4-FFF2-40B4-BE49-F238E27FC236}">
                <a16:creationId xmlns:a16="http://schemas.microsoft.com/office/drawing/2014/main" id="{223DE6C2-F6A2-4F77-9F17-16658C151A76}"/>
              </a:ext>
            </a:extLst>
          </p:cNvPr>
          <p:cNvSpPr/>
          <p:nvPr/>
        </p:nvSpPr>
        <p:spPr>
          <a:xfrm>
            <a:off x="9992648" y="1721242"/>
            <a:ext cx="809837" cy="2120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27"/>
            <a:r>
              <a:rPr lang="en-US" sz="778" i="1">
                <a:solidFill>
                  <a:prstClr val="white">
                    <a:lumMod val="50000"/>
                  </a:prstClr>
                </a:solidFill>
                <a:latin typeface="Arial"/>
                <a:cs typeface="Arial" panose="020B0604020202020204" pitchFamily="34" charset="0"/>
              </a:rPr>
              <a:t>Planned: 20%</a:t>
            </a:r>
          </a:p>
        </p:txBody>
      </p:sp>
      <p:sp>
        <p:nvSpPr>
          <p:cNvPr id="404" name="Rectangle 403">
            <a:extLst>
              <a:ext uri="{FF2B5EF4-FFF2-40B4-BE49-F238E27FC236}">
                <a16:creationId xmlns:a16="http://schemas.microsoft.com/office/drawing/2014/main" id="{2ADF1972-6919-42F3-88A4-E64A07BFF412}"/>
              </a:ext>
            </a:extLst>
          </p:cNvPr>
          <p:cNvSpPr/>
          <p:nvPr/>
        </p:nvSpPr>
        <p:spPr>
          <a:xfrm>
            <a:off x="10029388" y="2001938"/>
            <a:ext cx="385042" cy="2120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27"/>
            <a:r>
              <a:rPr lang="en-US" sz="778" b="1" i="1">
                <a:solidFill>
                  <a:schemeClr val="bg1"/>
                </a:solidFill>
                <a:latin typeface="Arial"/>
                <a:cs typeface="Arial" panose="020B0604020202020204" pitchFamily="34" charset="0"/>
              </a:rPr>
              <a:t>20%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75E5899-6A04-49E8-9A1E-069A4424B858}"/>
              </a:ext>
            </a:extLst>
          </p:cNvPr>
          <p:cNvGrpSpPr/>
          <p:nvPr/>
        </p:nvGrpSpPr>
        <p:grpSpPr>
          <a:xfrm>
            <a:off x="107603" y="2034817"/>
            <a:ext cx="7014957" cy="2070160"/>
            <a:chOff x="638591" y="1470488"/>
            <a:chExt cx="6313461" cy="1863144"/>
          </a:xfrm>
        </p:grpSpPr>
        <p:graphicFrame>
          <p:nvGraphicFramePr>
            <p:cNvPr id="407" name="Chart 406">
              <a:extLst>
                <a:ext uri="{FF2B5EF4-FFF2-40B4-BE49-F238E27FC236}">
                  <a16:creationId xmlns:a16="http://schemas.microsoft.com/office/drawing/2014/main" id="{2DC1ED9C-6857-4C83-B158-AA08BB5CCA5F}"/>
                </a:ext>
              </a:extLst>
            </p:cNvPr>
            <p:cNvGraphicFramePr/>
            <p:nvPr/>
          </p:nvGraphicFramePr>
          <p:xfrm>
            <a:off x="4160327" y="1470488"/>
            <a:ext cx="2791725" cy="178171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cxnSp>
          <p:nvCxnSpPr>
            <p:cNvPr id="411" name="Straight Connector 410">
              <a:extLst>
                <a:ext uri="{FF2B5EF4-FFF2-40B4-BE49-F238E27FC236}">
                  <a16:creationId xmlns:a16="http://schemas.microsoft.com/office/drawing/2014/main" id="{89A117CA-CFF6-412E-AE1E-90E1352BAE6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527496" y="1478297"/>
              <a:ext cx="2" cy="1828381"/>
            </a:xfrm>
            <a:prstGeom prst="line">
              <a:avLst/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aphicFrame>
          <p:nvGraphicFramePr>
            <p:cNvPr id="414" name="Chart 413">
              <a:extLst>
                <a:ext uri="{FF2B5EF4-FFF2-40B4-BE49-F238E27FC236}">
                  <a16:creationId xmlns:a16="http://schemas.microsoft.com/office/drawing/2014/main" id="{F77E409F-B826-410B-9FD0-844EEE807211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429563476"/>
                </p:ext>
              </p:extLst>
            </p:nvPr>
          </p:nvGraphicFramePr>
          <p:xfrm>
            <a:off x="638591" y="1477877"/>
            <a:ext cx="3789628" cy="185575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</p:grpSp>
      <p:pic>
        <p:nvPicPr>
          <p:cNvPr id="2050" name="Picture 2" descr="Ministry of Human Resource and Social Development">
            <a:extLst>
              <a:ext uri="{FF2B5EF4-FFF2-40B4-BE49-F238E27FC236}">
                <a16:creationId xmlns:a16="http://schemas.microsoft.com/office/drawing/2014/main" id="{DC4CDE5A-3341-430E-88F6-0FAB71546B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4840" y="130740"/>
            <a:ext cx="2955815" cy="816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4" name="TextBox 1">
            <a:extLst>
              <a:ext uri="{FF2B5EF4-FFF2-40B4-BE49-F238E27FC236}">
                <a16:creationId xmlns:a16="http://schemas.microsoft.com/office/drawing/2014/main" id="{F766D7E7-8D07-48A9-B3A1-72EA7DBEA621}"/>
              </a:ext>
            </a:extLst>
          </p:cNvPr>
          <p:cNvSpPr txBox="1"/>
          <p:nvPr/>
        </p:nvSpPr>
        <p:spPr>
          <a:xfrm>
            <a:off x="5381100" y="2969226"/>
            <a:ext cx="1780642" cy="1555561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 sz="1500">
                <a:solidFill>
                  <a:schemeClr val="tx2"/>
                </a:solidFill>
              </a:rPr>
              <a:t>N/A</a:t>
            </a:r>
          </a:p>
        </p:txBody>
      </p:sp>
    </p:spTree>
    <p:extLst>
      <p:ext uri="{BB962C8B-B14F-4D97-AF65-F5344CB8AC3E}">
        <p14:creationId xmlns:p14="http://schemas.microsoft.com/office/powerpoint/2010/main" val="38183501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0" name="think-cell Slide" r:id="rId5" imgW="293" imgH="274" progId="TCLayout.ActiveDocument.1">
                  <p:embed/>
                </p:oleObj>
              </mc:Choice>
              <mc:Fallback>
                <p:oleObj name="think-cell Slide" r:id="rId5" imgW="293" imgH="274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1" name="Title 5"/>
          <p:cNvSpPr txBox="1">
            <a:spLocks/>
          </p:cNvSpPr>
          <p:nvPr/>
        </p:nvSpPr>
        <p:spPr>
          <a:xfrm>
            <a:off x="0" y="-4772"/>
            <a:ext cx="12192000" cy="1081733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61427" y="266394"/>
            <a:ext cx="8154804" cy="416216"/>
          </a:xfrm>
          <a:noFill/>
        </p:spPr>
        <p:txBody>
          <a:bodyPr anchor="t"/>
          <a:lstStyle/>
          <a:p>
            <a:pPr algn="l"/>
            <a:r>
              <a:rPr lang="en-US" sz="4889">
                <a:solidFill>
                  <a:schemeClr val="bg1"/>
                </a:solidFill>
              </a:rPr>
              <a:t>Week Planned Activities</a:t>
            </a:r>
            <a:br>
              <a:rPr lang="en-US" sz="4889">
                <a:solidFill>
                  <a:schemeClr val="bg1"/>
                </a:solidFill>
              </a:rPr>
            </a:br>
            <a:endParaRPr lang="en-US" sz="4889">
              <a:solidFill>
                <a:schemeClr val="bg1"/>
              </a:solidFill>
            </a:endParaRPr>
          </a:p>
        </p:txBody>
      </p:sp>
      <p:sp>
        <p:nvSpPr>
          <p:cNvPr id="235" name="Title 5"/>
          <p:cNvSpPr txBox="1">
            <a:spLocks/>
          </p:cNvSpPr>
          <p:nvPr/>
        </p:nvSpPr>
        <p:spPr>
          <a:xfrm>
            <a:off x="3" y="-4772"/>
            <a:ext cx="60959" cy="1081733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graphicFrame>
        <p:nvGraphicFramePr>
          <p:cNvPr id="126" name="Table 17">
            <a:extLst>
              <a:ext uri="{FF2B5EF4-FFF2-40B4-BE49-F238E27FC236}">
                <a16:creationId xmlns:a16="http://schemas.microsoft.com/office/drawing/2014/main" id="{C61DB3E8-4094-4EC0-8DD8-41D5437FD1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2060417"/>
              </p:ext>
            </p:extLst>
          </p:nvPr>
        </p:nvGraphicFramePr>
        <p:xfrm>
          <a:off x="313762" y="1924079"/>
          <a:ext cx="4997101" cy="24868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33211">
                  <a:extLst>
                    <a:ext uri="{9D8B030D-6E8A-4147-A177-3AD203B41FA5}">
                      <a16:colId xmlns:a16="http://schemas.microsoft.com/office/drawing/2014/main" val="296437597"/>
                    </a:ext>
                  </a:extLst>
                </a:gridCol>
                <a:gridCol w="1563890">
                  <a:extLst>
                    <a:ext uri="{9D8B030D-6E8A-4147-A177-3AD203B41FA5}">
                      <a16:colId xmlns:a16="http://schemas.microsoft.com/office/drawing/2014/main" val="499901164"/>
                    </a:ext>
                  </a:extLst>
                </a:gridCol>
              </a:tblGrid>
              <a:tr h="486867">
                <a:tc>
                  <a:txBody>
                    <a:bodyPr/>
                    <a:lstStyle/>
                    <a:p>
                      <a:r>
                        <a:rPr lang="en-US"/>
                        <a:t>Action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Owner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3193029576"/>
                  </a:ext>
                </a:extLst>
              </a:tr>
              <a:tr h="1000010">
                <a:tc>
                  <a:txBody>
                    <a:bodyPr/>
                    <a:lstStyle/>
                    <a:p>
                      <a:r>
                        <a:rPr lang="en-US" sz="1800"/>
                        <a:t>Dashboard Documentation Optimization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Faris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0684926"/>
                  </a:ext>
                </a:extLst>
              </a:tr>
              <a:tr h="1000010">
                <a:tc>
                  <a:txBody>
                    <a:bodyPr/>
                    <a:lstStyle/>
                    <a:p>
                      <a:r>
                        <a:rPr lang="en-US" sz="1800"/>
                        <a:t>Data Model Documentation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Faris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0293556"/>
                  </a:ext>
                </a:extLst>
              </a:tr>
            </a:tbl>
          </a:graphicData>
        </a:graphic>
      </p:graphicFrame>
      <p:graphicFrame>
        <p:nvGraphicFramePr>
          <p:cNvPr id="127" name="Table 17">
            <a:extLst>
              <a:ext uri="{FF2B5EF4-FFF2-40B4-BE49-F238E27FC236}">
                <a16:creationId xmlns:a16="http://schemas.microsoft.com/office/drawing/2014/main" id="{6BB49F05-B6D6-4A98-B667-DDCA133051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5667020"/>
              </p:ext>
            </p:extLst>
          </p:nvPr>
        </p:nvGraphicFramePr>
        <p:xfrm>
          <a:off x="6218549" y="1924079"/>
          <a:ext cx="5235018" cy="12590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46640">
                  <a:extLst>
                    <a:ext uri="{9D8B030D-6E8A-4147-A177-3AD203B41FA5}">
                      <a16:colId xmlns:a16="http://schemas.microsoft.com/office/drawing/2014/main" val="296437597"/>
                    </a:ext>
                  </a:extLst>
                </a:gridCol>
                <a:gridCol w="1288378">
                  <a:extLst>
                    <a:ext uri="{9D8B030D-6E8A-4147-A177-3AD203B41FA5}">
                      <a16:colId xmlns:a16="http://schemas.microsoft.com/office/drawing/2014/main" val="499901164"/>
                    </a:ext>
                  </a:extLst>
                </a:gridCol>
              </a:tblGrid>
              <a:tr h="516492">
                <a:tc>
                  <a:txBody>
                    <a:bodyPr/>
                    <a:lstStyle/>
                    <a:p>
                      <a:r>
                        <a:rPr lang="en-US"/>
                        <a:t>Action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Owner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3193029576"/>
                  </a:ext>
                </a:extLst>
              </a:tr>
              <a:tr h="742601">
                <a:tc>
                  <a:txBody>
                    <a:bodyPr/>
                    <a:lstStyle/>
                    <a:p>
                      <a:r>
                        <a:rPr lang="en-CA" sz="1800"/>
                        <a:t>Gap analysis</a:t>
                      </a:r>
                      <a:endParaRPr lang="en-US" sz="18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Faris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0684926"/>
                  </a:ext>
                </a:extLst>
              </a:tr>
            </a:tbl>
          </a:graphicData>
        </a:graphic>
      </p:graphicFrame>
      <p:sp>
        <p:nvSpPr>
          <p:cNvPr id="128" name="TextBox 127">
            <a:extLst>
              <a:ext uri="{FF2B5EF4-FFF2-40B4-BE49-F238E27FC236}">
                <a16:creationId xmlns:a16="http://schemas.microsoft.com/office/drawing/2014/main" id="{EEF0C109-852E-4562-9C9E-36891A97C81F}"/>
              </a:ext>
            </a:extLst>
          </p:cNvPr>
          <p:cNvSpPr txBox="1"/>
          <p:nvPr/>
        </p:nvSpPr>
        <p:spPr>
          <a:xfrm>
            <a:off x="5692618" y="1289219"/>
            <a:ext cx="468983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2"/>
            <a:r>
              <a:rPr lang="en-US" b="1"/>
              <a:t>Next Week Activities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1588BF1D-E64C-495F-A40A-34195FDCFF69}"/>
              </a:ext>
            </a:extLst>
          </p:cNvPr>
          <p:cNvSpPr txBox="1"/>
          <p:nvPr/>
        </p:nvSpPr>
        <p:spPr>
          <a:xfrm>
            <a:off x="161427" y="1253098"/>
            <a:ext cx="468983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2"/>
            <a:r>
              <a:rPr lang="en-US" b="1"/>
              <a:t>Key Planned Activiti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D55E246-3967-490A-8950-4BC4222F8444}"/>
              </a:ext>
            </a:extLst>
          </p:cNvPr>
          <p:cNvGrpSpPr/>
          <p:nvPr/>
        </p:nvGrpSpPr>
        <p:grpSpPr>
          <a:xfrm>
            <a:off x="245905" y="1721690"/>
            <a:ext cx="11537600" cy="4324831"/>
            <a:chOff x="820940" y="1345294"/>
            <a:chExt cx="9714968" cy="4260578"/>
          </a:xfrm>
          <a:solidFill>
            <a:schemeClr val="accent1"/>
          </a:solidFill>
        </p:grpSpPr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15F18D54-B8EB-47C0-8A74-23B914C9439C}"/>
                </a:ext>
              </a:extLst>
            </p:cNvPr>
            <p:cNvCxnSpPr/>
            <p:nvPr/>
          </p:nvCxnSpPr>
          <p:spPr>
            <a:xfrm>
              <a:off x="820940" y="1348740"/>
              <a:ext cx="4389120" cy="0"/>
            </a:xfrm>
            <a:prstGeom prst="line">
              <a:avLst/>
            </a:prstGeom>
            <a:grpFill/>
            <a:ln w="19050">
              <a:solidFill>
                <a:schemeClr val="accent1"/>
              </a:solidFill>
              <a:round/>
              <a:headEnd/>
              <a:tailEnd/>
            </a:ln>
          </p:spPr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A1AA525-5A93-41C4-B85F-348B4C9410EF}"/>
                </a:ext>
              </a:extLst>
            </p:cNvPr>
            <p:cNvCxnSpPr/>
            <p:nvPr/>
          </p:nvCxnSpPr>
          <p:spPr>
            <a:xfrm>
              <a:off x="5488420" y="1345294"/>
              <a:ext cx="5047488" cy="0"/>
            </a:xfrm>
            <a:prstGeom prst="line">
              <a:avLst/>
            </a:prstGeom>
            <a:grpFill/>
            <a:ln w="19050">
              <a:solidFill>
                <a:schemeClr val="accent1"/>
              </a:solidFill>
              <a:round/>
              <a:headEnd/>
              <a:tailEnd/>
            </a:ln>
          </p:spPr>
        </p:cxnSp>
        <p:grpSp>
          <p:nvGrpSpPr>
            <p:cNvPr id="133" name="Group 132">
              <a:extLst>
                <a:ext uri="{FF2B5EF4-FFF2-40B4-BE49-F238E27FC236}">
                  <a16:creationId xmlns:a16="http://schemas.microsoft.com/office/drawing/2014/main" id="{A607214F-07F5-4EFE-B00E-52D7837A97F1}"/>
                </a:ext>
              </a:extLst>
            </p:cNvPr>
            <p:cNvGrpSpPr/>
            <p:nvPr/>
          </p:nvGrpSpPr>
          <p:grpSpPr>
            <a:xfrm>
              <a:off x="5357998" y="1407495"/>
              <a:ext cx="219842" cy="4198377"/>
              <a:chOff x="7792398" y="2498501"/>
              <a:chExt cx="148875" cy="2182369"/>
            </a:xfrm>
            <a:grpFill/>
          </p:grpSpPr>
          <p:sp>
            <p:nvSpPr>
              <p:cNvPr id="134" name="Rechteck 10">
                <a:extLst>
                  <a:ext uri="{FF2B5EF4-FFF2-40B4-BE49-F238E27FC236}">
                    <a16:creationId xmlns:a16="http://schemas.microsoft.com/office/drawing/2014/main" id="{C37C57D0-5A6A-4480-8822-C02E391FCA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6701213" y="3589686"/>
                <a:ext cx="2182369" cy="0"/>
              </a:xfrm>
              <a:custGeom>
                <a:avLst/>
                <a:gdLst>
                  <a:gd name="connsiteX0" fmla="*/ 0 w 8928000"/>
                  <a:gd name="connsiteY0" fmla="*/ 0 h 216000"/>
                  <a:gd name="connsiteX1" fmla="*/ 8928000 w 8928000"/>
                  <a:gd name="connsiteY1" fmla="*/ 0 h 216000"/>
                  <a:gd name="connsiteX2" fmla="*/ 8928000 w 8928000"/>
                  <a:gd name="connsiteY2" fmla="*/ 216000 h 216000"/>
                  <a:gd name="connsiteX3" fmla="*/ 0 w 8928000"/>
                  <a:gd name="connsiteY3" fmla="*/ 216000 h 216000"/>
                  <a:gd name="connsiteX4" fmla="*/ 0 w 8928000"/>
                  <a:gd name="connsiteY4" fmla="*/ 0 h 216000"/>
                  <a:gd name="connsiteX0" fmla="*/ 8928000 w 9019440"/>
                  <a:gd name="connsiteY0" fmla="*/ 0 h 216000"/>
                  <a:gd name="connsiteX1" fmla="*/ 8928000 w 9019440"/>
                  <a:gd name="connsiteY1" fmla="*/ 216000 h 216000"/>
                  <a:gd name="connsiteX2" fmla="*/ 0 w 9019440"/>
                  <a:gd name="connsiteY2" fmla="*/ 216000 h 216000"/>
                  <a:gd name="connsiteX3" fmla="*/ 0 w 9019440"/>
                  <a:gd name="connsiteY3" fmla="*/ 0 h 216000"/>
                  <a:gd name="connsiteX4" fmla="*/ 9019440 w 9019440"/>
                  <a:gd name="connsiteY4" fmla="*/ 91440 h 216000"/>
                  <a:gd name="connsiteX0" fmla="*/ 8928000 w 8928000"/>
                  <a:gd name="connsiteY0" fmla="*/ 0 h 216000"/>
                  <a:gd name="connsiteX1" fmla="*/ 8928000 w 8928000"/>
                  <a:gd name="connsiteY1" fmla="*/ 216000 h 216000"/>
                  <a:gd name="connsiteX2" fmla="*/ 0 w 8928000"/>
                  <a:gd name="connsiteY2" fmla="*/ 216000 h 216000"/>
                  <a:gd name="connsiteX3" fmla="*/ 0 w 8928000"/>
                  <a:gd name="connsiteY3" fmla="*/ 0 h 216000"/>
                  <a:gd name="connsiteX0" fmla="*/ 8928000 w 8928000"/>
                  <a:gd name="connsiteY0" fmla="*/ 216000 h 216000"/>
                  <a:gd name="connsiteX1" fmla="*/ 0 w 8928000"/>
                  <a:gd name="connsiteY1" fmla="*/ 216000 h 216000"/>
                  <a:gd name="connsiteX2" fmla="*/ 0 w 8928000"/>
                  <a:gd name="connsiteY2" fmla="*/ 0 h 216000"/>
                  <a:gd name="connsiteX0" fmla="*/ 8928000 w 8928000"/>
                  <a:gd name="connsiteY0" fmla="*/ 0 h 0"/>
                  <a:gd name="connsiteX1" fmla="*/ 0 w 8928000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928000">
                    <a:moveTo>
                      <a:pt x="8928000" y="0"/>
                    </a:moveTo>
                    <a:lnTo>
                      <a:pt x="0" y="0"/>
                    </a:lnTo>
                  </a:path>
                </a:pathLst>
              </a:custGeom>
              <a:grpFill/>
              <a:ln w="1905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lIns="0" tIns="0" rIns="0" bIns="34368" anchor="b" anchorCtr="0"/>
              <a:lstStyle/>
              <a:p>
                <a:pPr algn="ctr" defTabSz="872947">
                  <a:defRPr/>
                </a:pPr>
                <a:endParaRPr lang="en-US" sz="954" b="1" kern="0">
                  <a:solidFill>
                    <a:srgbClr val="00338D"/>
                  </a:solidFill>
                </a:endParaRPr>
              </a:p>
            </p:txBody>
          </p:sp>
          <p:sp>
            <p:nvSpPr>
              <p:cNvPr id="135" name="Gleichschenkliges Dreieck 18">
                <a:extLst>
                  <a:ext uri="{FF2B5EF4-FFF2-40B4-BE49-F238E27FC236}">
                    <a16:creationId xmlns:a16="http://schemas.microsoft.com/office/drawing/2014/main" id="{0400274D-634D-4EE3-9E59-41B9B9D02ADC}"/>
                  </a:ext>
                </a:extLst>
              </p:cNvPr>
              <p:cNvSpPr/>
              <p:nvPr/>
            </p:nvSpPr>
            <p:spPr>
              <a:xfrm rot="5400000">
                <a:off x="7584763" y="3509320"/>
                <a:ext cx="567530" cy="145491"/>
              </a:xfrm>
              <a:prstGeom prst="triangle">
                <a:avLst/>
              </a:prstGeom>
              <a:grpFill/>
              <a:ln w="12700" cap="flat" cmpd="sng" algn="ctr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1552" tIns="51552" rIns="51552" bIns="51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06221" indent="-206221" algn="ctr" defTabSz="872947">
                  <a:spcAft>
                    <a:spcPts val="572"/>
                  </a:spcAft>
                  <a:buFont typeface="Arial" panose="020B0604020202020204" pitchFamily="34" charset="0"/>
                  <a:buChar char="—"/>
                  <a:defRPr/>
                </a:pPr>
                <a:endParaRPr lang="en-US" sz="860" kern="0">
                  <a:solidFill>
                    <a:prstClr val="white"/>
                  </a:solidFill>
                </a:endParaRPr>
              </a:p>
            </p:txBody>
          </p:sp>
        </p:grpSp>
      </p:grpSp>
      <p:pic>
        <p:nvPicPr>
          <p:cNvPr id="17" name="Picture 2" descr="Ministry of Human Resource and Social Development">
            <a:extLst>
              <a:ext uri="{FF2B5EF4-FFF2-40B4-BE49-F238E27FC236}">
                <a16:creationId xmlns:a16="http://schemas.microsoft.com/office/drawing/2014/main" id="{A50FB11C-82D8-4535-8F3F-9ACC3398EB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4840" y="130740"/>
            <a:ext cx="2955815" cy="816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6538470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8" name="think-cell Slide" r:id="rId5" imgW="293" imgH="274" progId="TCLayout.ActiveDocument.1">
                  <p:embed/>
                </p:oleObj>
              </mc:Choice>
              <mc:Fallback>
                <p:oleObj name="think-cell Slide" r:id="rId5" imgW="293" imgH="274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1" name="Title 5"/>
          <p:cNvSpPr txBox="1">
            <a:spLocks/>
          </p:cNvSpPr>
          <p:nvPr/>
        </p:nvSpPr>
        <p:spPr>
          <a:xfrm>
            <a:off x="0" y="-4772"/>
            <a:ext cx="12192000" cy="1081733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61427" y="266394"/>
            <a:ext cx="8154804" cy="416216"/>
          </a:xfrm>
          <a:noFill/>
        </p:spPr>
        <p:txBody>
          <a:bodyPr anchor="t"/>
          <a:lstStyle/>
          <a:p>
            <a:pPr algn="l"/>
            <a:r>
              <a:rPr lang="en-US" sz="4889">
                <a:solidFill>
                  <a:schemeClr val="bg1"/>
                </a:solidFill>
              </a:rPr>
              <a:t>Key Accomplishments</a:t>
            </a:r>
            <a:br>
              <a:rPr lang="en-US" sz="4889">
                <a:solidFill>
                  <a:schemeClr val="bg1"/>
                </a:solidFill>
              </a:rPr>
            </a:br>
            <a:endParaRPr lang="en-US" sz="4889">
              <a:solidFill>
                <a:schemeClr val="bg1"/>
              </a:solidFill>
            </a:endParaRPr>
          </a:p>
        </p:txBody>
      </p:sp>
      <p:sp>
        <p:nvSpPr>
          <p:cNvPr id="235" name="Title 5"/>
          <p:cNvSpPr txBox="1">
            <a:spLocks/>
          </p:cNvSpPr>
          <p:nvPr/>
        </p:nvSpPr>
        <p:spPr>
          <a:xfrm>
            <a:off x="3" y="-4772"/>
            <a:ext cx="60959" cy="1081733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graphicFrame>
        <p:nvGraphicFramePr>
          <p:cNvPr id="17" name="Table 17">
            <a:extLst>
              <a:ext uri="{FF2B5EF4-FFF2-40B4-BE49-F238E27FC236}">
                <a16:creationId xmlns:a16="http://schemas.microsoft.com/office/drawing/2014/main" id="{99161DF2-A3DF-4C2F-8B40-ABC6AA2DC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4799563"/>
              </p:ext>
            </p:extLst>
          </p:nvPr>
        </p:nvGraphicFramePr>
        <p:xfrm>
          <a:off x="203200" y="1289078"/>
          <a:ext cx="11493500" cy="12304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1700">
                  <a:extLst>
                    <a:ext uri="{9D8B030D-6E8A-4147-A177-3AD203B41FA5}">
                      <a16:colId xmlns:a16="http://schemas.microsoft.com/office/drawing/2014/main" val="296437597"/>
                    </a:ext>
                  </a:extLst>
                </a:gridCol>
                <a:gridCol w="10591800">
                  <a:extLst>
                    <a:ext uri="{9D8B030D-6E8A-4147-A177-3AD203B41FA5}">
                      <a16:colId xmlns:a16="http://schemas.microsoft.com/office/drawing/2014/main" val="499901164"/>
                    </a:ext>
                  </a:extLst>
                </a:gridCol>
              </a:tblGrid>
              <a:tr h="407485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#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AU"/>
                        <a:t>Accomplishment Description </a:t>
                      </a:r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3193029576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algn="ctr"/>
                      <a:r>
                        <a:rPr lang="en-US" sz="1800" b="1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/>
                        <a:t>Dashboard model documentation</a:t>
                      </a:r>
                      <a:endParaRPr lang="en-US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0684926"/>
                  </a:ext>
                </a:extLst>
              </a:tr>
            </a:tbl>
          </a:graphicData>
        </a:graphic>
      </p:graphicFrame>
      <p:pic>
        <p:nvPicPr>
          <p:cNvPr id="8" name="Picture 2" descr="Ministry of Human Resource and Social Development">
            <a:extLst>
              <a:ext uri="{FF2B5EF4-FFF2-40B4-BE49-F238E27FC236}">
                <a16:creationId xmlns:a16="http://schemas.microsoft.com/office/drawing/2014/main" id="{479CE6B7-55FD-4B90-A9C4-71A7C4A740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4840" y="130740"/>
            <a:ext cx="2955815" cy="816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938636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6" name="think-cell Slide" r:id="rId5" imgW="293" imgH="274" progId="TCLayout.ActiveDocument.1">
                  <p:embed/>
                </p:oleObj>
              </mc:Choice>
              <mc:Fallback>
                <p:oleObj name="think-cell Slide" r:id="rId5" imgW="293" imgH="274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1" name="Title 5"/>
          <p:cNvSpPr txBox="1">
            <a:spLocks/>
          </p:cNvSpPr>
          <p:nvPr/>
        </p:nvSpPr>
        <p:spPr>
          <a:xfrm>
            <a:off x="0" y="-4772"/>
            <a:ext cx="12192000" cy="1081733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61427" y="266394"/>
            <a:ext cx="8154804" cy="416216"/>
          </a:xfrm>
          <a:noFill/>
        </p:spPr>
        <p:txBody>
          <a:bodyPr anchor="t"/>
          <a:lstStyle/>
          <a:p>
            <a:pPr algn="l"/>
            <a:r>
              <a:rPr lang="en-US" sz="4889" dirty="0">
                <a:solidFill>
                  <a:schemeClr val="bg1"/>
                </a:solidFill>
              </a:rPr>
              <a:t>Risks or Issues</a:t>
            </a:r>
          </a:p>
        </p:txBody>
      </p:sp>
      <p:sp>
        <p:nvSpPr>
          <p:cNvPr id="235" name="Title 5"/>
          <p:cNvSpPr txBox="1">
            <a:spLocks/>
          </p:cNvSpPr>
          <p:nvPr/>
        </p:nvSpPr>
        <p:spPr>
          <a:xfrm>
            <a:off x="3" y="-4772"/>
            <a:ext cx="60959" cy="1081733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graphicFrame>
        <p:nvGraphicFramePr>
          <p:cNvPr id="8" name="Table 2">
            <a:extLst>
              <a:ext uri="{FF2B5EF4-FFF2-40B4-BE49-F238E27FC236}">
                <a16:creationId xmlns:a16="http://schemas.microsoft.com/office/drawing/2014/main" id="{2793979A-DDCD-48F1-AB14-6021A109B3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3174674"/>
              </p:ext>
            </p:extLst>
          </p:nvPr>
        </p:nvGraphicFramePr>
        <p:xfrm>
          <a:off x="161427" y="1348127"/>
          <a:ext cx="11420974" cy="10758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7549">
                  <a:extLst>
                    <a:ext uri="{9D8B030D-6E8A-4147-A177-3AD203B41FA5}">
                      <a16:colId xmlns:a16="http://schemas.microsoft.com/office/drawing/2014/main" val="1196179294"/>
                    </a:ext>
                  </a:extLst>
                </a:gridCol>
                <a:gridCol w="4453960">
                  <a:extLst>
                    <a:ext uri="{9D8B030D-6E8A-4147-A177-3AD203B41FA5}">
                      <a16:colId xmlns:a16="http://schemas.microsoft.com/office/drawing/2014/main" val="2144674027"/>
                    </a:ext>
                  </a:extLst>
                </a:gridCol>
                <a:gridCol w="1861075">
                  <a:extLst>
                    <a:ext uri="{9D8B030D-6E8A-4147-A177-3AD203B41FA5}">
                      <a16:colId xmlns:a16="http://schemas.microsoft.com/office/drawing/2014/main" val="3809724858"/>
                    </a:ext>
                  </a:extLst>
                </a:gridCol>
                <a:gridCol w="2284195">
                  <a:extLst>
                    <a:ext uri="{9D8B030D-6E8A-4147-A177-3AD203B41FA5}">
                      <a16:colId xmlns:a16="http://schemas.microsoft.com/office/drawing/2014/main" val="2590904650"/>
                    </a:ext>
                  </a:extLst>
                </a:gridCol>
                <a:gridCol w="2284195">
                  <a:extLst>
                    <a:ext uri="{9D8B030D-6E8A-4147-A177-3AD203B41FA5}">
                      <a16:colId xmlns:a16="http://schemas.microsoft.com/office/drawing/2014/main" val="1885760172"/>
                    </a:ext>
                  </a:extLst>
                </a:gridCol>
              </a:tblGrid>
              <a:tr h="537922">
                <a:tc>
                  <a:txBody>
                    <a:bodyPr/>
                    <a:lstStyle/>
                    <a:p>
                      <a:r>
                        <a:rPr lang="en-US"/>
                        <a:t>#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Risk or Issue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Priority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Plan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Owner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2666802610"/>
                  </a:ext>
                </a:extLst>
              </a:tr>
              <a:tr h="537922">
                <a:tc>
                  <a:txBody>
                    <a:bodyPr/>
                    <a:lstStyle/>
                    <a:p>
                      <a:r>
                        <a:rPr lang="en-US"/>
                        <a:t>1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No risks or issues identified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0138590"/>
                  </a:ext>
                </a:extLst>
              </a:tr>
            </a:tbl>
          </a:graphicData>
        </a:graphic>
      </p:graphicFrame>
      <p:pic>
        <p:nvPicPr>
          <p:cNvPr id="9" name="Picture 2" descr="Ministry of Human Resource and Social Development">
            <a:extLst>
              <a:ext uri="{FF2B5EF4-FFF2-40B4-BE49-F238E27FC236}">
                <a16:creationId xmlns:a16="http://schemas.microsoft.com/office/drawing/2014/main" id="{CF02D225-AA9D-4110-9140-B7C748E72A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4840" y="130740"/>
            <a:ext cx="2955815" cy="816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4018401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8" name="think-cell Slide" r:id="rId5" imgW="293" imgH="274" progId="TCLayout.ActiveDocument.1">
                  <p:embed/>
                </p:oleObj>
              </mc:Choice>
              <mc:Fallback>
                <p:oleObj name="think-cell Slide" r:id="rId5" imgW="293" imgH="274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2" name="Rectangle 381"/>
          <p:cNvSpPr/>
          <p:nvPr/>
        </p:nvSpPr>
        <p:spPr>
          <a:xfrm>
            <a:off x="154597" y="4305118"/>
            <a:ext cx="3182519" cy="23750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defTabSz="1058286"/>
            <a:endParaRPr lang="en-US" sz="1500" err="1">
              <a:solidFill>
                <a:prstClr val="white"/>
              </a:solidFill>
              <a:latin typeface="Arial"/>
            </a:endParaRPr>
          </a:p>
        </p:txBody>
      </p:sp>
      <p:sp>
        <p:nvSpPr>
          <p:cNvPr id="431" name="Title 5"/>
          <p:cNvSpPr txBox="1">
            <a:spLocks/>
          </p:cNvSpPr>
          <p:nvPr/>
        </p:nvSpPr>
        <p:spPr>
          <a:xfrm>
            <a:off x="0" y="-4772"/>
            <a:ext cx="12192000" cy="1081733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61427" y="266394"/>
            <a:ext cx="8154804" cy="416216"/>
          </a:xfrm>
          <a:noFill/>
        </p:spPr>
        <p:txBody>
          <a:bodyPr anchor="t"/>
          <a:lstStyle/>
          <a:p>
            <a:pPr algn="l"/>
            <a:r>
              <a:rPr lang="en-US" sz="4889" dirty="0">
                <a:solidFill>
                  <a:schemeClr val="bg1"/>
                </a:solidFill>
              </a:rPr>
              <a:t>STC Corporate Analytics &amp; Data (CAD) Sector Audit</a:t>
            </a:r>
          </a:p>
        </p:txBody>
      </p:sp>
      <p:sp>
        <p:nvSpPr>
          <p:cNvPr id="235" name="Title 5"/>
          <p:cNvSpPr txBox="1">
            <a:spLocks/>
          </p:cNvSpPr>
          <p:nvPr/>
        </p:nvSpPr>
        <p:spPr>
          <a:xfrm>
            <a:off x="3" y="-4772"/>
            <a:ext cx="60959" cy="1081733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cxnSp>
        <p:nvCxnSpPr>
          <p:cNvPr id="237" name="Straight Connector 236"/>
          <p:cNvCxnSpPr>
            <a:cxnSpLocks/>
          </p:cNvCxnSpPr>
          <p:nvPr/>
        </p:nvCxnSpPr>
        <p:spPr>
          <a:xfrm>
            <a:off x="308631" y="4305118"/>
            <a:ext cx="0" cy="231920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4" name="Round Same Side Corner Rectangle 243"/>
          <p:cNvSpPr/>
          <p:nvPr/>
        </p:nvSpPr>
        <p:spPr>
          <a:xfrm>
            <a:off x="154597" y="4289365"/>
            <a:ext cx="3182519" cy="331382"/>
          </a:xfrm>
          <a:prstGeom prst="round2Same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</p:spPr>
        <p:txBody>
          <a:bodyPr wrap="square" lIns="121920" tIns="0" bIns="60960" anchor="ctr">
            <a:noAutofit/>
          </a:bodyPr>
          <a:lstStyle/>
          <a:p>
            <a:pPr defTabSz="1058286"/>
            <a:r>
              <a:rPr lang="en-US" sz="1400" b="1">
                <a:solidFill>
                  <a:prstClr val="white"/>
                </a:solidFill>
                <a:latin typeface="Arial"/>
                <a:cs typeface="DIN Next LT Arabic"/>
              </a:rPr>
              <a:t>Other Key updates &amp; notes</a:t>
            </a:r>
          </a:p>
        </p:txBody>
      </p:sp>
      <p:sp>
        <p:nvSpPr>
          <p:cNvPr id="247" name="Rectangle 246"/>
          <p:cNvSpPr/>
          <p:nvPr/>
        </p:nvSpPr>
        <p:spPr>
          <a:xfrm>
            <a:off x="340381" y="4633350"/>
            <a:ext cx="3013378" cy="4684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90498" indent="-190498">
              <a:buFont typeface="Arial" panose="020B0604020202020204" pitchFamily="34" charset="0"/>
              <a:buChar char="•"/>
            </a:pPr>
            <a:r>
              <a:rPr lang="en-US" sz="1222" dirty="0"/>
              <a:t>Finalizing the maturity assessment report</a:t>
            </a:r>
          </a:p>
        </p:txBody>
      </p:sp>
      <p:grpSp>
        <p:nvGrpSpPr>
          <p:cNvPr id="383" name="Group 382"/>
          <p:cNvGrpSpPr/>
          <p:nvPr/>
        </p:nvGrpSpPr>
        <p:grpSpPr>
          <a:xfrm>
            <a:off x="172640" y="6624523"/>
            <a:ext cx="3164476" cy="104129"/>
            <a:chOff x="170119" y="2637607"/>
            <a:chExt cx="2373357" cy="130724"/>
          </a:xfrm>
        </p:grpSpPr>
        <p:sp>
          <p:nvSpPr>
            <p:cNvPr id="384" name="Right Triangle 383"/>
            <p:cNvSpPr/>
            <p:nvPr/>
          </p:nvSpPr>
          <p:spPr>
            <a:xfrm flipH="1" flipV="1">
              <a:off x="173559" y="2637607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85" name="Right Triangle 384"/>
            <p:cNvSpPr/>
            <p:nvPr/>
          </p:nvSpPr>
          <p:spPr>
            <a:xfrm flipV="1">
              <a:off x="170119" y="2637607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</p:grpSp>
      <p:sp>
        <p:nvSpPr>
          <p:cNvPr id="388" name="Rectangle 387"/>
          <p:cNvSpPr/>
          <p:nvPr/>
        </p:nvSpPr>
        <p:spPr>
          <a:xfrm>
            <a:off x="7518400" y="2655532"/>
            <a:ext cx="4579204" cy="26302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defTabSz="1058286"/>
            <a:endParaRPr lang="en-US" sz="1500" err="1">
              <a:solidFill>
                <a:prstClr val="white"/>
              </a:solidFill>
              <a:latin typeface="Arial"/>
            </a:endParaRPr>
          </a:p>
        </p:txBody>
      </p:sp>
      <p:grpSp>
        <p:nvGrpSpPr>
          <p:cNvPr id="389" name="Group 388"/>
          <p:cNvGrpSpPr/>
          <p:nvPr/>
        </p:nvGrpSpPr>
        <p:grpSpPr>
          <a:xfrm>
            <a:off x="7527930" y="6612634"/>
            <a:ext cx="4558976" cy="135134"/>
            <a:chOff x="170119" y="2402504"/>
            <a:chExt cx="2373357" cy="130725"/>
          </a:xfrm>
        </p:grpSpPr>
        <p:sp>
          <p:nvSpPr>
            <p:cNvPr id="390" name="Right Triangle 389"/>
            <p:cNvSpPr/>
            <p:nvPr/>
          </p:nvSpPr>
          <p:spPr>
            <a:xfrm flipH="1" flipV="1">
              <a:off x="173559" y="2402505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91" name="Right Triangle 390"/>
            <p:cNvSpPr/>
            <p:nvPr/>
          </p:nvSpPr>
          <p:spPr>
            <a:xfrm flipV="1">
              <a:off x="170119" y="2402504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</p:grpSp>
      <p:sp>
        <p:nvSpPr>
          <p:cNvPr id="582" name="Rectangle 581"/>
          <p:cNvSpPr/>
          <p:nvPr/>
        </p:nvSpPr>
        <p:spPr>
          <a:xfrm>
            <a:off x="7518400" y="3993261"/>
            <a:ext cx="4579204" cy="7858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</p:spPr>
        <p:txBody>
          <a:bodyPr wrap="square" lIns="121920" tIns="0" bIns="60960" anchor="ctr">
            <a:noAutofit/>
          </a:bodyPr>
          <a:lstStyle/>
          <a:p>
            <a:pPr algn="ctr" defTabSz="1058286"/>
            <a:endParaRPr lang="en-US" sz="1400" b="1" err="1">
              <a:solidFill>
                <a:prstClr val="white"/>
              </a:solidFill>
              <a:latin typeface="Arial"/>
              <a:cs typeface="DIN Next LT Arabic"/>
            </a:endParaRPr>
          </a:p>
        </p:txBody>
      </p:sp>
      <p:sp>
        <p:nvSpPr>
          <p:cNvPr id="403" name="Freeform 402"/>
          <p:cNvSpPr>
            <a:spLocks/>
          </p:cNvSpPr>
          <p:nvPr/>
        </p:nvSpPr>
        <p:spPr bwMode="auto">
          <a:xfrm>
            <a:off x="7647207" y="3629794"/>
            <a:ext cx="293866" cy="302299"/>
          </a:xfrm>
          <a:custGeom>
            <a:avLst/>
            <a:gdLst>
              <a:gd name="connsiteX0" fmla="*/ 189015 w 931448"/>
              <a:gd name="connsiteY0" fmla="*/ 777 h 970477"/>
              <a:gd name="connsiteX1" fmla="*/ 194858 w 931448"/>
              <a:gd name="connsiteY1" fmla="*/ 8026 h 970477"/>
              <a:gd name="connsiteX2" fmla="*/ 255296 w 931448"/>
              <a:gd name="connsiteY2" fmla="*/ 26885 h 970477"/>
              <a:gd name="connsiteX3" fmla="*/ 451720 w 931448"/>
              <a:gd name="connsiteY3" fmla="*/ 57059 h 970477"/>
              <a:gd name="connsiteX4" fmla="*/ 648144 w 931448"/>
              <a:gd name="connsiteY4" fmla="*/ 155125 h 970477"/>
              <a:gd name="connsiteX5" fmla="*/ 931448 w 931448"/>
              <a:gd name="connsiteY5" fmla="*/ 158897 h 970477"/>
              <a:gd name="connsiteX6" fmla="*/ 878565 w 931448"/>
              <a:gd name="connsiteY6" fmla="*/ 471953 h 970477"/>
              <a:gd name="connsiteX7" fmla="*/ 871010 w 931448"/>
              <a:gd name="connsiteY7" fmla="*/ 498355 h 970477"/>
              <a:gd name="connsiteX8" fmla="*/ 708582 w 931448"/>
              <a:gd name="connsiteY8" fmla="*/ 622823 h 970477"/>
              <a:gd name="connsiteX9" fmla="*/ 512158 w 931448"/>
              <a:gd name="connsiteY9" fmla="*/ 554932 h 970477"/>
              <a:gd name="connsiteX10" fmla="*/ 334621 w 931448"/>
              <a:gd name="connsiteY10" fmla="*/ 468181 h 970477"/>
              <a:gd name="connsiteX11" fmla="*/ 240187 w 931448"/>
              <a:gd name="connsiteY11" fmla="*/ 453094 h 970477"/>
              <a:gd name="connsiteX12" fmla="*/ 111756 w 931448"/>
              <a:gd name="connsiteY12" fmla="*/ 562475 h 970477"/>
              <a:gd name="connsiteX13" fmla="*/ 39114 w 931448"/>
              <a:gd name="connsiteY13" fmla="*/ 970477 h 970477"/>
              <a:gd name="connsiteX14" fmla="*/ 0 w 931448"/>
              <a:gd name="connsiteY14" fmla="*/ 938205 h 970477"/>
              <a:gd name="connsiteX15" fmla="*/ 149529 w 931448"/>
              <a:gd name="connsiteY15" fmla="*/ 79690 h 970477"/>
              <a:gd name="connsiteX16" fmla="*/ 160862 w 931448"/>
              <a:gd name="connsiteY16" fmla="*/ 19341 h 970477"/>
              <a:gd name="connsiteX17" fmla="*/ 189015 w 931448"/>
              <a:gd name="connsiteY17" fmla="*/ 777 h 9704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931448" h="970477">
                <a:moveTo>
                  <a:pt x="189015" y="777"/>
                </a:moveTo>
                <a:cubicBezTo>
                  <a:pt x="191789" y="1897"/>
                  <a:pt x="193914" y="4254"/>
                  <a:pt x="194858" y="8026"/>
                </a:cubicBezTo>
                <a:cubicBezTo>
                  <a:pt x="206190" y="57059"/>
                  <a:pt x="232632" y="30657"/>
                  <a:pt x="255296" y="26885"/>
                </a:cubicBezTo>
                <a:cubicBezTo>
                  <a:pt x="323289" y="15570"/>
                  <a:pt x="391282" y="26885"/>
                  <a:pt x="451720" y="57059"/>
                </a:cubicBezTo>
                <a:cubicBezTo>
                  <a:pt x="519713" y="87233"/>
                  <a:pt x="583929" y="124951"/>
                  <a:pt x="648144" y="155125"/>
                </a:cubicBezTo>
                <a:cubicBezTo>
                  <a:pt x="738802" y="196614"/>
                  <a:pt x="829459" y="211701"/>
                  <a:pt x="931448" y="158897"/>
                </a:cubicBezTo>
                <a:cubicBezTo>
                  <a:pt x="912561" y="268278"/>
                  <a:pt x="893674" y="370115"/>
                  <a:pt x="878565" y="471953"/>
                </a:cubicBezTo>
                <a:cubicBezTo>
                  <a:pt x="874787" y="479496"/>
                  <a:pt x="874787" y="490812"/>
                  <a:pt x="871010" y="498355"/>
                </a:cubicBezTo>
                <a:cubicBezTo>
                  <a:pt x="855900" y="600193"/>
                  <a:pt x="814349" y="630367"/>
                  <a:pt x="708582" y="622823"/>
                </a:cubicBezTo>
                <a:cubicBezTo>
                  <a:pt x="640589" y="615280"/>
                  <a:pt x="576374" y="588877"/>
                  <a:pt x="512158" y="554932"/>
                </a:cubicBezTo>
                <a:cubicBezTo>
                  <a:pt x="455498" y="524757"/>
                  <a:pt x="398837" y="490812"/>
                  <a:pt x="334621" y="468181"/>
                </a:cubicBezTo>
                <a:cubicBezTo>
                  <a:pt x="304402" y="460637"/>
                  <a:pt x="274183" y="453094"/>
                  <a:pt x="240187" y="453094"/>
                </a:cubicBezTo>
                <a:cubicBezTo>
                  <a:pt x="145752" y="449322"/>
                  <a:pt x="126865" y="464409"/>
                  <a:pt x="111756" y="562475"/>
                </a:cubicBezTo>
                <a:lnTo>
                  <a:pt x="39114" y="970477"/>
                </a:lnTo>
                <a:lnTo>
                  <a:pt x="0" y="938205"/>
                </a:lnTo>
                <a:lnTo>
                  <a:pt x="149529" y="79690"/>
                </a:lnTo>
                <a:cubicBezTo>
                  <a:pt x="153307" y="60831"/>
                  <a:pt x="153307" y="38200"/>
                  <a:pt x="160862" y="19341"/>
                </a:cubicBezTo>
                <a:cubicBezTo>
                  <a:pt x="166528" y="5198"/>
                  <a:pt x="180693" y="-2582"/>
                  <a:pt x="189015" y="777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Autofit/>
          </a:bodyPr>
          <a:lstStyle/>
          <a:p>
            <a:pPr defTabSz="914391"/>
            <a:endParaRPr lang="en-US" sz="2533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5" name="Freeform 404"/>
          <p:cNvSpPr>
            <a:spLocks/>
          </p:cNvSpPr>
          <p:nvPr/>
        </p:nvSpPr>
        <p:spPr bwMode="auto">
          <a:xfrm flipH="1">
            <a:off x="11685154" y="3703426"/>
            <a:ext cx="293869" cy="302299"/>
          </a:xfrm>
          <a:custGeom>
            <a:avLst/>
            <a:gdLst>
              <a:gd name="connsiteX0" fmla="*/ 189015 w 931448"/>
              <a:gd name="connsiteY0" fmla="*/ 777 h 970477"/>
              <a:gd name="connsiteX1" fmla="*/ 194858 w 931448"/>
              <a:gd name="connsiteY1" fmla="*/ 8026 h 970477"/>
              <a:gd name="connsiteX2" fmla="*/ 255296 w 931448"/>
              <a:gd name="connsiteY2" fmla="*/ 26885 h 970477"/>
              <a:gd name="connsiteX3" fmla="*/ 451720 w 931448"/>
              <a:gd name="connsiteY3" fmla="*/ 57059 h 970477"/>
              <a:gd name="connsiteX4" fmla="*/ 648144 w 931448"/>
              <a:gd name="connsiteY4" fmla="*/ 155125 h 970477"/>
              <a:gd name="connsiteX5" fmla="*/ 931448 w 931448"/>
              <a:gd name="connsiteY5" fmla="*/ 158897 h 970477"/>
              <a:gd name="connsiteX6" fmla="*/ 878565 w 931448"/>
              <a:gd name="connsiteY6" fmla="*/ 471953 h 970477"/>
              <a:gd name="connsiteX7" fmla="*/ 871010 w 931448"/>
              <a:gd name="connsiteY7" fmla="*/ 498355 h 970477"/>
              <a:gd name="connsiteX8" fmla="*/ 708582 w 931448"/>
              <a:gd name="connsiteY8" fmla="*/ 622823 h 970477"/>
              <a:gd name="connsiteX9" fmla="*/ 512158 w 931448"/>
              <a:gd name="connsiteY9" fmla="*/ 554932 h 970477"/>
              <a:gd name="connsiteX10" fmla="*/ 334621 w 931448"/>
              <a:gd name="connsiteY10" fmla="*/ 468181 h 970477"/>
              <a:gd name="connsiteX11" fmla="*/ 240187 w 931448"/>
              <a:gd name="connsiteY11" fmla="*/ 453094 h 970477"/>
              <a:gd name="connsiteX12" fmla="*/ 111756 w 931448"/>
              <a:gd name="connsiteY12" fmla="*/ 562475 h 970477"/>
              <a:gd name="connsiteX13" fmla="*/ 39114 w 931448"/>
              <a:gd name="connsiteY13" fmla="*/ 970477 h 970477"/>
              <a:gd name="connsiteX14" fmla="*/ 0 w 931448"/>
              <a:gd name="connsiteY14" fmla="*/ 938205 h 970477"/>
              <a:gd name="connsiteX15" fmla="*/ 149529 w 931448"/>
              <a:gd name="connsiteY15" fmla="*/ 79690 h 970477"/>
              <a:gd name="connsiteX16" fmla="*/ 160862 w 931448"/>
              <a:gd name="connsiteY16" fmla="*/ 19341 h 970477"/>
              <a:gd name="connsiteX17" fmla="*/ 189015 w 931448"/>
              <a:gd name="connsiteY17" fmla="*/ 777 h 9704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931448" h="970477">
                <a:moveTo>
                  <a:pt x="189015" y="777"/>
                </a:moveTo>
                <a:cubicBezTo>
                  <a:pt x="191789" y="1897"/>
                  <a:pt x="193914" y="4254"/>
                  <a:pt x="194858" y="8026"/>
                </a:cubicBezTo>
                <a:cubicBezTo>
                  <a:pt x="206190" y="57059"/>
                  <a:pt x="232632" y="30657"/>
                  <a:pt x="255296" y="26885"/>
                </a:cubicBezTo>
                <a:cubicBezTo>
                  <a:pt x="323289" y="15570"/>
                  <a:pt x="391282" y="26885"/>
                  <a:pt x="451720" y="57059"/>
                </a:cubicBezTo>
                <a:cubicBezTo>
                  <a:pt x="519713" y="87233"/>
                  <a:pt x="583929" y="124951"/>
                  <a:pt x="648144" y="155125"/>
                </a:cubicBezTo>
                <a:cubicBezTo>
                  <a:pt x="738802" y="196614"/>
                  <a:pt x="829459" y="211701"/>
                  <a:pt x="931448" y="158897"/>
                </a:cubicBezTo>
                <a:cubicBezTo>
                  <a:pt x="912561" y="268278"/>
                  <a:pt x="893674" y="370115"/>
                  <a:pt x="878565" y="471953"/>
                </a:cubicBezTo>
                <a:cubicBezTo>
                  <a:pt x="874787" y="479496"/>
                  <a:pt x="874787" y="490812"/>
                  <a:pt x="871010" y="498355"/>
                </a:cubicBezTo>
                <a:cubicBezTo>
                  <a:pt x="855900" y="600193"/>
                  <a:pt x="814349" y="630367"/>
                  <a:pt x="708582" y="622823"/>
                </a:cubicBezTo>
                <a:cubicBezTo>
                  <a:pt x="640589" y="615280"/>
                  <a:pt x="576374" y="588877"/>
                  <a:pt x="512158" y="554932"/>
                </a:cubicBezTo>
                <a:cubicBezTo>
                  <a:pt x="455498" y="524757"/>
                  <a:pt x="398837" y="490812"/>
                  <a:pt x="334621" y="468181"/>
                </a:cubicBezTo>
                <a:cubicBezTo>
                  <a:pt x="304402" y="460637"/>
                  <a:pt x="274183" y="453094"/>
                  <a:pt x="240187" y="453094"/>
                </a:cubicBezTo>
                <a:cubicBezTo>
                  <a:pt x="145752" y="449322"/>
                  <a:pt x="126865" y="464409"/>
                  <a:pt x="111756" y="562475"/>
                </a:cubicBezTo>
                <a:lnTo>
                  <a:pt x="39114" y="970477"/>
                </a:lnTo>
                <a:lnTo>
                  <a:pt x="0" y="938205"/>
                </a:lnTo>
                <a:lnTo>
                  <a:pt x="149529" y="79690"/>
                </a:lnTo>
                <a:cubicBezTo>
                  <a:pt x="153307" y="60831"/>
                  <a:pt x="153307" y="38200"/>
                  <a:pt x="160862" y="19341"/>
                </a:cubicBezTo>
                <a:cubicBezTo>
                  <a:pt x="166528" y="5198"/>
                  <a:pt x="180693" y="-2582"/>
                  <a:pt x="189015" y="777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Autofit/>
          </a:bodyPr>
          <a:lstStyle/>
          <a:p>
            <a:pPr defTabSz="914391"/>
            <a:endParaRPr lang="en-US" sz="2533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10591584" y="3450103"/>
            <a:ext cx="95070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127"/>
            <a:r>
              <a:rPr lang="en-US" sz="1200">
                <a:solidFill>
                  <a:prstClr val="white">
                    <a:lumMod val="50000"/>
                  </a:prstClr>
                </a:solidFill>
                <a:latin typeface="Arial"/>
                <a:cs typeface="Arial" panose="020B0604020202020204" pitchFamily="34" charset="0"/>
              </a:rPr>
              <a:t>END DATE</a:t>
            </a:r>
          </a:p>
        </p:txBody>
      </p:sp>
      <p:sp>
        <p:nvSpPr>
          <p:cNvPr id="406" name="Rectangle 405"/>
          <p:cNvSpPr/>
          <p:nvPr/>
        </p:nvSpPr>
        <p:spPr>
          <a:xfrm>
            <a:off x="10581190" y="3687170"/>
            <a:ext cx="86594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127"/>
            <a:r>
              <a:rPr lang="en-US" sz="1200" b="1" dirty="0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May 2022</a:t>
            </a:r>
          </a:p>
        </p:txBody>
      </p:sp>
      <p:sp>
        <p:nvSpPr>
          <p:cNvPr id="408" name="Rectangle 407"/>
          <p:cNvSpPr/>
          <p:nvPr/>
        </p:nvSpPr>
        <p:spPr>
          <a:xfrm>
            <a:off x="7898338" y="3450103"/>
            <a:ext cx="111492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127"/>
            <a:r>
              <a:rPr lang="en-US" sz="1200">
                <a:solidFill>
                  <a:prstClr val="white">
                    <a:lumMod val="50000"/>
                  </a:prstClr>
                </a:solidFill>
                <a:latin typeface="Arial"/>
                <a:cs typeface="Arial" panose="020B0604020202020204" pitchFamily="34" charset="0"/>
              </a:rPr>
              <a:t>START DATE</a:t>
            </a:r>
          </a:p>
        </p:txBody>
      </p:sp>
      <p:sp>
        <p:nvSpPr>
          <p:cNvPr id="409" name="Rectangle 408"/>
          <p:cNvSpPr/>
          <p:nvPr/>
        </p:nvSpPr>
        <p:spPr>
          <a:xfrm>
            <a:off x="7898340" y="3687170"/>
            <a:ext cx="84189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127"/>
            <a:r>
              <a:rPr lang="en-US" sz="1200" b="1" dirty="0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Feb 2022</a:t>
            </a:r>
          </a:p>
        </p:txBody>
      </p:sp>
      <p:sp>
        <p:nvSpPr>
          <p:cNvPr id="410" name="Round Same Side Corner Rectangle 409"/>
          <p:cNvSpPr/>
          <p:nvPr/>
        </p:nvSpPr>
        <p:spPr>
          <a:xfrm>
            <a:off x="7592024" y="4294033"/>
            <a:ext cx="4443494" cy="290140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chemeClr val="tx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</a:gradFill>
          <a:ln>
            <a:solidFill>
              <a:schemeClr val="accent3"/>
            </a:solidFill>
          </a:ln>
        </p:spPr>
        <p:txBody>
          <a:bodyPr wrap="square" lIns="121920">
            <a:noAutofit/>
          </a:bodyPr>
          <a:lstStyle/>
          <a:p>
            <a:pPr defTabSz="1058286"/>
            <a:endParaRPr lang="en-US" sz="1400" b="1">
              <a:solidFill>
                <a:prstClr val="white"/>
              </a:solidFill>
              <a:latin typeface="Arial"/>
              <a:cs typeface="DIN Next LT Arabic"/>
            </a:endParaRPr>
          </a:p>
        </p:txBody>
      </p:sp>
      <p:graphicFrame>
        <p:nvGraphicFramePr>
          <p:cNvPr id="44" name="Table 43"/>
          <p:cNvGraphicFramePr>
            <a:graphicFrameLocks noGrp="1"/>
          </p:cNvGraphicFramePr>
          <p:nvPr/>
        </p:nvGraphicFramePr>
        <p:xfrm>
          <a:off x="7595578" y="4312867"/>
          <a:ext cx="4439944" cy="2773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42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71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71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77333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Apr</a:t>
                      </a:r>
                    </a:p>
                  </a:txBody>
                  <a:tcPr marL="18000" marR="18000" marT="54000" marB="54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May</a:t>
                      </a:r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Jun</a:t>
                      </a:r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Jul.</a:t>
                      </a:r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Aug</a:t>
                      </a:r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Sep</a:t>
                      </a:r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Oct</a:t>
                      </a:r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427" name="Table 426"/>
          <p:cNvGraphicFramePr>
            <a:graphicFrameLocks noGrp="1"/>
          </p:cNvGraphicFramePr>
          <p:nvPr/>
        </p:nvGraphicFramePr>
        <p:xfrm>
          <a:off x="7595578" y="4583797"/>
          <a:ext cx="4439944" cy="17735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42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71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71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1773579">
                <a:tc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16" name="Rounded Rectangle 415"/>
          <p:cNvSpPr/>
          <p:nvPr/>
        </p:nvSpPr>
        <p:spPr>
          <a:xfrm>
            <a:off x="7853699" y="4683626"/>
            <a:ext cx="1038687" cy="18442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 w="10172">
            <a:noFill/>
          </a:ln>
        </p:spPr>
        <p:txBody>
          <a:bodyPr wrap="square" lIns="121920" tIns="121920" rIns="121920" bIns="121920" rtlCol="0" anchor="ctr"/>
          <a:lstStyle/>
          <a:p>
            <a:pPr algn="ctr" defTabSz="1219176"/>
            <a:r>
              <a:rPr lang="en-US" sz="889" b="1">
                <a:solidFill>
                  <a:schemeClr val="bg1"/>
                </a:solidFill>
                <a:latin typeface="Arial"/>
                <a:ea typeface="Univers for KPMG Light" charset="0"/>
                <a:cs typeface="Univers for KPMG Light" charset="0"/>
              </a:rPr>
              <a:t>Activity 1</a:t>
            </a:r>
          </a:p>
        </p:txBody>
      </p:sp>
      <p:sp>
        <p:nvSpPr>
          <p:cNvPr id="418" name="Rounded Rectangle 417"/>
          <p:cNvSpPr/>
          <p:nvPr/>
        </p:nvSpPr>
        <p:spPr>
          <a:xfrm>
            <a:off x="8712458" y="5082583"/>
            <a:ext cx="939542" cy="18442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0172">
            <a:noFill/>
          </a:ln>
        </p:spPr>
        <p:txBody>
          <a:bodyPr wrap="square" lIns="121920" tIns="121920" rIns="121920" bIns="121920" rtlCol="0" anchor="ctr"/>
          <a:lstStyle/>
          <a:p>
            <a:pPr algn="ctr" defTabSz="1219176">
              <a:defRPr/>
            </a:pPr>
            <a:r>
              <a:rPr lang="en-US" sz="889" b="1">
                <a:solidFill>
                  <a:schemeClr val="bg1"/>
                </a:solidFill>
                <a:latin typeface="Arial"/>
                <a:ea typeface="Univers for KPMG Light" charset="0"/>
                <a:cs typeface="Univers for KPMG Light" charset="0"/>
              </a:rPr>
              <a:t>Activity 2</a:t>
            </a:r>
          </a:p>
        </p:txBody>
      </p:sp>
      <p:sp>
        <p:nvSpPr>
          <p:cNvPr id="420" name="Rounded Rectangle 419"/>
          <p:cNvSpPr/>
          <p:nvPr/>
        </p:nvSpPr>
        <p:spPr>
          <a:xfrm>
            <a:off x="9067706" y="5422530"/>
            <a:ext cx="1884777" cy="18442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10172">
            <a:noFill/>
          </a:ln>
        </p:spPr>
        <p:txBody>
          <a:bodyPr wrap="square" lIns="121920" tIns="121920" rIns="121920" bIns="121920" rtlCol="0" anchor="ctr"/>
          <a:lstStyle/>
          <a:p>
            <a:pPr algn="ctr" defTabSz="1219176">
              <a:defRPr/>
            </a:pPr>
            <a:r>
              <a:rPr lang="en-US" sz="889" b="1">
                <a:solidFill>
                  <a:schemeClr val="bg1"/>
                </a:solidFill>
                <a:latin typeface="Arial"/>
                <a:ea typeface="Univers for KPMG Light" charset="0"/>
                <a:cs typeface="Univers for KPMG Light" charset="0"/>
              </a:rPr>
              <a:t>Activity 3</a:t>
            </a:r>
          </a:p>
        </p:txBody>
      </p:sp>
      <p:grpSp>
        <p:nvGrpSpPr>
          <p:cNvPr id="132" name="Group 131"/>
          <p:cNvGrpSpPr/>
          <p:nvPr/>
        </p:nvGrpSpPr>
        <p:grpSpPr>
          <a:xfrm>
            <a:off x="7527930" y="3097452"/>
            <a:ext cx="4558976" cy="135133"/>
            <a:chOff x="5645947" y="4054307"/>
            <a:chExt cx="3419232" cy="146922"/>
          </a:xfrm>
        </p:grpSpPr>
        <p:sp>
          <p:nvSpPr>
            <p:cNvPr id="435" name="Right Triangle 434"/>
            <p:cNvSpPr/>
            <p:nvPr/>
          </p:nvSpPr>
          <p:spPr>
            <a:xfrm flipH="1" flipV="1">
              <a:off x="5650903" y="4054307"/>
              <a:ext cx="3414276" cy="146922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436" name="Right Triangle 435"/>
            <p:cNvSpPr/>
            <p:nvPr/>
          </p:nvSpPr>
          <p:spPr>
            <a:xfrm flipV="1">
              <a:off x="5645947" y="4054307"/>
              <a:ext cx="3414276" cy="146922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</p:grpSp>
      <p:sp>
        <p:nvSpPr>
          <p:cNvPr id="437" name="Rectangle 436"/>
          <p:cNvSpPr/>
          <p:nvPr/>
        </p:nvSpPr>
        <p:spPr>
          <a:xfrm>
            <a:off x="7518400" y="1127265"/>
            <a:ext cx="4579204" cy="13745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defTabSz="1058286"/>
            <a:endParaRPr lang="en-US" sz="1500" err="1">
              <a:solidFill>
                <a:prstClr val="white"/>
              </a:solidFill>
              <a:latin typeface="Arial"/>
            </a:endParaRPr>
          </a:p>
        </p:txBody>
      </p:sp>
      <p:sp>
        <p:nvSpPr>
          <p:cNvPr id="439" name="Rectangle 438"/>
          <p:cNvSpPr/>
          <p:nvPr/>
        </p:nvSpPr>
        <p:spPr>
          <a:xfrm>
            <a:off x="7829747" y="1158904"/>
            <a:ext cx="1335622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27"/>
            <a:r>
              <a:rPr lang="en-US" sz="1333" b="1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Project Health</a:t>
            </a:r>
          </a:p>
        </p:txBody>
      </p:sp>
      <p:sp>
        <p:nvSpPr>
          <p:cNvPr id="440" name="Rectangle 439"/>
          <p:cNvSpPr/>
          <p:nvPr/>
        </p:nvSpPr>
        <p:spPr>
          <a:xfrm>
            <a:off x="10403346" y="1158904"/>
            <a:ext cx="925253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27"/>
            <a:r>
              <a:rPr lang="en-US" sz="1333" b="1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Progress</a:t>
            </a:r>
          </a:p>
        </p:txBody>
      </p:sp>
      <p:cxnSp>
        <p:nvCxnSpPr>
          <p:cNvPr id="444" name="Straight Connector 443"/>
          <p:cNvCxnSpPr/>
          <p:nvPr/>
        </p:nvCxnSpPr>
        <p:spPr>
          <a:xfrm>
            <a:off x="10152800" y="2452170"/>
            <a:ext cx="1426344" cy="0"/>
          </a:xfrm>
          <a:prstGeom prst="line">
            <a:avLst/>
          </a:prstGeom>
          <a:ln w="3175">
            <a:solidFill>
              <a:schemeClr val="bg1">
                <a:alpha val="2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7" name="Oval 446"/>
          <p:cNvSpPr/>
          <p:nvPr/>
        </p:nvSpPr>
        <p:spPr>
          <a:xfrm>
            <a:off x="10190609" y="1699559"/>
            <a:ext cx="1264898" cy="1264896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91"/>
            <a:endParaRPr lang="en-IN" sz="2154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57" name="Straight Connector 56"/>
          <p:cNvCxnSpPr/>
          <p:nvPr/>
        </p:nvCxnSpPr>
        <p:spPr>
          <a:xfrm>
            <a:off x="7661463" y="1451278"/>
            <a:ext cx="167219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8" name="Straight Connector 447"/>
          <p:cNvCxnSpPr/>
          <p:nvPr/>
        </p:nvCxnSpPr>
        <p:spPr>
          <a:xfrm>
            <a:off x="9910209" y="1451278"/>
            <a:ext cx="197021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0" name="Group 449"/>
          <p:cNvGrpSpPr/>
          <p:nvPr/>
        </p:nvGrpSpPr>
        <p:grpSpPr>
          <a:xfrm>
            <a:off x="8249017" y="1724075"/>
            <a:ext cx="605435" cy="944212"/>
            <a:chOff x="722757" y="906549"/>
            <a:chExt cx="553599" cy="863372"/>
          </a:xfrm>
        </p:grpSpPr>
        <p:grpSp>
          <p:nvGrpSpPr>
            <p:cNvPr id="451" name="Group 450"/>
            <p:cNvGrpSpPr/>
            <p:nvPr/>
          </p:nvGrpSpPr>
          <p:grpSpPr>
            <a:xfrm>
              <a:off x="722757" y="906549"/>
              <a:ext cx="553599" cy="863372"/>
              <a:chOff x="5997254" y="2460747"/>
              <a:chExt cx="1616607" cy="2521202"/>
            </a:xfrm>
          </p:grpSpPr>
          <p:sp>
            <p:nvSpPr>
              <p:cNvPr id="470" name="Rectangle 469"/>
              <p:cNvSpPr/>
              <p:nvPr/>
            </p:nvSpPr>
            <p:spPr>
              <a:xfrm>
                <a:off x="6718885" y="4188898"/>
                <a:ext cx="177760" cy="793051"/>
              </a:xfrm>
              <a:prstGeom prst="rect">
                <a:avLst/>
              </a:prstGeom>
              <a:gradFill>
                <a:gsLst>
                  <a:gs pos="0">
                    <a:sysClr val="windowText" lastClr="000000">
                      <a:lumMod val="75000"/>
                      <a:lumOff val="25000"/>
                      <a:shade val="30000"/>
                      <a:satMod val="115000"/>
                    </a:sysClr>
                  </a:gs>
                  <a:gs pos="50000">
                    <a:sysClr val="window" lastClr="FFFFFF"/>
                  </a:gs>
                  <a:gs pos="100000">
                    <a:sysClr val="windowText" lastClr="000000">
                      <a:lumMod val="75000"/>
                      <a:lumOff val="25000"/>
                      <a:shade val="100000"/>
                      <a:satMod val="115000"/>
                    </a:sysClr>
                  </a:gs>
                </a:gsLst>
                <a:lin ang="0" scaled="0"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060737">
                  <a:defRPr/>
                </a:pPr>
                <a:endParaRPr lang="en-US" sz="2088" kern="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471" name="Freeform 26"/>
              <p:cNvSpPr>
                <a:spLocks noEditPoints="1"/>
              </p:cNvSpPr>
              <p:nvPr/>
            </p:nvSpPr>
            <p:spPr bwMode="auto">
              <a:xfrm>
                <a:off x="5997254" y="2460747"/>
                <a:ext cx="1616607" cy="1618702"/>
              </a:xfrm>
              <a:custGeom>
                <a:avLst/>
                <a:gdLst>
                  <a:gd name="T0" fmla="*/ 323 w 326"/>
                  <a:gd name="T1" fmla="*/ 157 h 326"/>
                  <a:gd name="T2" fmla="*/ 169 w 326"/>
                  <a:gd name="T3" fmla="*/ 2 h 326"/>
                  <a:gd name="T4" fmla="*/ 163 w 326"/>
                  <a:gd name="T5" fmla="*/ 0 h 326"/>
                  <a:gd name="T6" fmla="*/ 157 w 326"/>
                  <a:gd name="T7" fmla="*/ 2 h 326"/>
                  <a:gd name="T8" fmla="*/ 3 w 326"/>
                  <a:gd name="T9" fmla="*/ 157 h 326"/>
                  <a:gd name="T10" fmla="*/ 0 w 326"/>
                  <a:gd name="T11" fmla="*/ 163 h 326"/>
                  <a:gd name="T12" fmla="*/ 3 w 326"/>
                  <a:gd name="T13" fmla="*/ 169 h 326"/>
                  <a:gd name="T14" fmla="*/ 157 w 326"/>
                  <a:gd name="T15" fmla="*/ 323 h 326"/>
                  <a:gd name="T16" fmla="*/ 163 w 326"/>
                  <a:gd name="T17" fmla="*/ 326 h 326"/>
                  <a:gd name="T18" fmla="*/ 169 w 326"/>
                  <a:gd name="T19" fmla="*/ 323 h 326"/>
                  <a:gd name="T20" fmla="*/ 323 w 326"/>
                  <a:gd name="T21" fmla="*/ 169 h 326"/>
                  <a:gd name="T22" fmla="*/ 326 w 326"/>
                  <a:gd name="T23" fmla="*/ 163 h 326"/>
                  <a:gd name="T24" fmla="*/ 323 w 326"/>
                  <a:gd name="T25" fmla="*/ 157 h 326"/>
                  <a:gd name="T26" fmla="*/ 306 w 326"/>
                  <a:gd name="T27" fmla="*/ 168 h 326"/>
                  <a:gd name="T28" fmla="*/ 168 w 326"/>
                  <a:gd name="T29" fmla="*/ 306 h 326"/>
                  <a:gd name="T30" fmla="*/ 163 w 326"/>
                  <a:gd name="T31" fmla="*/ 308 h 326"/>
                  <a:gd name="T32" fmla="*/ 157 w 326"/>
                  <a:gd name="T33" fmla="*/ 306 h 326"/>
                  <a:gd name="T34" fmla="*/ 20 w 326"/>
                  <a:gd name="T35" fmla="*/ 168 h 326"/>
                  <a:gd name="T36" fmla="*/ 17 w 326"/>
                  <a:gd name="T37" fmla="*/ 163 h 326"/>
                  <a:gd name="T38" fmla="*/ 20 w 326"/>
                  <a:gd name="T39" fmla="*/ 157 h 326"/>
                  <a:gd name="T40" fmla="*/ 157 w 326"/>
                  <a:gd name="T41" fmla="*/ 19 h 326"/>
                  <a:gd name="T42" fmla="*/ 163 w 326"/>
                  <a:gd name="T43" fmla="*/ 17 h 326"/>
                  <a:gd name="T44" fmla="*/ 168 w 326"/>
                  <a:gd name="T45" fmla="*/ 19 h 326"/>
                  <a:gd name="T46" fmla="*/ 306 w 326"/>
                  <a:gd name="T47" fmla="*/ 157 h 326"/>
                  <a:gd name="T48" fmla="*/ 309 w 326"/>
                  <a:gd name="T49" fmla="*/ 163 h 326"/>
                  <a:gd name="T50" fmla="*/ 306 w 326"/>
                  <a:gd name="T51" fmla="*/ 168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6" h="326">
                    <a:moveTo>
                      <a:pt x="323" y="157"/>
                    </a:moveTo>
                    <a:cubicBezTo>
                      <a:pt x="169" y="2"/>
                      <a:pt x="169" y="2"/>
                      <a:pt x="169" y="2"/>
                    </a:cubicBezTo>
                    <a:cubicBezTo>
                      <a:pt x="167" y="0"/>
                      <a:pt x="164" y="0"/>
                      <a:pt x="163" y="0"/>
                    </a:cubicBezTo>
                    <a:cubicBezTo>
                      <a:pt x="162" y="0"/>
                      <a:pt x="159" y="0"/>
                      <a:pt x="157" y="2"/>
                    </a:cubicBezTo>
                    <a:cubicBezTo>
                      <a:pt x="3" y="157"/>
                      <a:pt x="3" y="157"/>
                      <a:pt x="3" y="157"/>
                    </a:cubicBezTo>
                    <a:cubicBezTo>
                      <a:pt x="1" y="158"/>
                      <a:pt x="0" y="160"/>
                      <a:pt x="0" y="163"/>
                    </a:cubicBezTo>
                    <a:cubicBezTo>
                      <a:pt x="0" y="165"/>
                      <a:pt x="1" y="167"/>
                      <a:pt x="3" y="169"/>
                    </a:cubicBezTo>
                    <a:cubicBezTo>
                      <a:pt x="157" y="323"/>
                      <a:pt x="157" y="323"/>
                      <a:pt x="157" y="323"/>
                    </a:cubicBezTo>
                    <a:cubicBezTo>
                      <a:pt x="159" y="325"/>
                      <a:pt x="162" y="326"/>
                      <a:pt x="163" y="326"/>
                    </a:cubicBezTo>
                    <a:cubicBezTo>
                      <a:pt x="164" y="326"/>
                      <a:pt x="167" y="325"/>
                      <a:pt x="169" y="323"/>
                    </a:cubicBezTo>
                    <a:cubicBezTo>
                      <a:pt x="323" y="169"/>
                      <a:pt x="323" y="169"/>
                      <a:pt x="323" y="169"/>
                    </a:cubicBezTo>
                    <a:cubicBezTo>
                      <a:pt x="325" y="167"/>
                      <a:pt x="326" y="164"/>
                      <a:pt x="326" y="163"/>
                    </a:cubicBezTo>
                    <a:cubicBezTo>
                      <a:pt x="326" y="161"/>
                      <a:pt x="325" y="159"/>
                      <a:pt x="323" y="157"/>
                    </a:cubicBezTo>
                    <a:close/>
                    <a:moveTo>
                      <a:pt x="306" y="168"/>
                    </a:moveTo>
                    <a:cubicBezTo>
                      <a:pt x="168" y="306"/>
                      <a:pt x="168" y="306"/>
                      <a:pt x="168" y="306"/>
                    </a:cubicBezTo>
                    <a:cubicBezTo>
                      <a:pt x="167" y="308"/>
                      <a:pt x="164" y="308"/>
                      <a:pt x="163" y="308"/>
                    </a:cubicBezTo>
                    <a:cubicBezTo>
                      <a:pt x="162" y="308"/>
                      <a:pt x="159" y="308"/>
                      <a:pt x="157" y="306"/>
                    </a:cubicBezTo>
                    <a:cubicBezTo>
                      <a:pt x="20" y="168"/>
                      <a:pt x="20" y="168"/>
                      <a:pt x="20" y="168"/>
                    </a:cubicBezTo>
                    <a:cubicBezTo>
                      <a:pt x="18" y="167"/>
                      <a:pt x="17" y="165"/>
                      <a:pt x="17" y="163"/>
                    </a:cubicBezTo>
                    <a:cubicBezTo>
                      <a:pt x="17" y="161"/>
                      <a:pt x="18" y="159"/>
                      <a:pt x="20" y="157"/>
                    </a:cubicBezTo>
                    <a:cubicBezTo>
                      <a:pt x="157" y="19"/>
                      <a:pt x="157" y="19"/>
                      <a:pt x="157" y="19"/>
                    </a:cubicBezTo>
                    <a:cubicBezTo>
                      <a:pt x="159" y="17"/>
                      <a:pt x="162" y="17"/>
                      <a:pt x="163" y="17"/>
                    </a:cubicBezTo>
                    <a:cubicBezTo>
                      <a:pt x="164" y="17"/>
                      <a:pt x="167" y="17"/>
                      <a:pt x="168" y="19"/>
                    </a:cubicBezTo>
                    <a:cubicBezTo>
                      <a:pt x="306" y="157"/>
                      <a:pt x="306" y="157"/>
                      <a:pt x="306" y="157"/>
                    </a:cubicBezTo>
                    <a:cubicBezTo>
                      <a:pt x="308" y="159"/>
                      <a:pt x="309" y="161"/>
                      <a:pt x="309" y="163"/>
                    </a:cubicBezTo>
                    <a:cubicBezTo>
                      <a:pt x="309" y="164"/>
                      <a:pt x="308" y="166"/>
                      <a:pt x="306" y="16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106072" tIns="53034" rIns="106072" bIns="53034" numCol="1" anchor="t" anchorCtr="0" compatLnSpc="1">
                <a:prstTxWarp prst="textNoShape">
                  <a:avLst/>
                </a:prstTxWarp>
              </a:bodyPr>
              <a:lstStyle/>
              <a:p>
                <a:pPr defTabSz="1060737">
                  <a:defRPr/>
                </a:pPr>
                <a:endParaRPr lang="en-US" sz="2088" kern="0">
                  <a:solidFill>
                    <a:prstClr val="black"/>
                  </a:solidFill>
                  <a:latin typeface="Arial"/>
                </a:endParaRPr>
              </a:p>
            </p:txBody>
          </p:sp>
        </p:grpSp>
        <p:grpSp>
          <p:nvGrpSpPr>
            <p:cNvPr id="452" name="Group 37"/>
            <p:cNvGrpSpPr/>
            <p:nvPr/>
          </p:nvGrpSpPr>
          <p:grpSpPr>
            <a:xfrm>
              <a:off x="758944" y="928520"/>
              <a:ext cx="476130" cy="740410"/>
              <a:chOff x="1903412" y="1676400"/>
              <a:chExt cx="1776606" cy="2835299"/>
            </a:xfrm>
          </p:grpSpPr>
          <p:sp>
            <p:nvSpPr>
              <p:cNvPr id="453" name="Freeform 7"/>
              <p:cNvSpPr>
                <a:spLocks/>
              </p:cNvSpPr>
              <p:nvPr/>
            </p:nvSpPr>
            <p:spPr bwMode="auto">
              <a:xfrm>
                <a:off x="2239650" y="1690031"/>
                <a:ext cx="1114733" cy="2809552"/>
              </a:xfrm>
              <a:custGeom>
                <a:avLst/>
                <a:gdLst/>
                <a:ahLst/>
                <a:cxnLst>
                  <a:cxn ang="0">
                    <a:pos x="79" y="0"/>
                  </a:cxn>
                  <a:cxn ang="0">
                    <a:pos x="657" y="0"/>
                  </a:cxn>
                  <a:cxn ang="0">
                    <a:pos x="675" y="2"/>
                  </a:cxn>
                  <a:cxn ang="0">
                    <a:pos x="691" y="8"/>
                  </a:cxn>
                  <a:cxn ang="0">
                    <a:pos x="706" y="17"/>
                  </a:cxn>
                  <a:cxn ang="0">
                    <a:pos x="718" y="29"/>
                  </a:cxn>
                  <a:cxn ang="0">
                    <a:pos x="728" y="44"/>
                  </a:cxn>
                  <a:cxn ang="0">
                    <a:pos x="733" y="60"/>
                  </a:cxn>
                  <a:cxn ang="0">
                    <a:pos x="736" y="79"/>
                  </a:cxn>
                  <a:cxn ang="0">
                    <a:pos x="736" y="1776"/>
                  </a:cxn>
                  <a:cxn ang="0">
                    <a:pos x="733" y="1794"/>
                  </a:cxn>
                  <a:cxn ang="0">
                    <a:pos x="728" y="1811"/>
                  </a:cxn>
                  <a:cxn ang="0">
                    <a:pos x="718" y="1825"/>
                  </a:cxn>
                  <a:cxn ang="0">
                    <a:pos x="706" y="1838"/>
                  </a:cxn>
                  <a:cxn ang="0">
                    <a:pos x="691" y="1847"/>
                  </a:cxn>
                  <a:cxn ang="0">
                    <a:pos x="675" y="1853"/>
                  </a:cxn>
                  <a:cxn ang="0">
                    <a:pos x="657" y="1855"/>
                  </a:cxn>
                  <a:cxn ang="0">
                    <a:pos x="79" y="1855"/>
                  </a:cxn>
                  <a:cxn ang="0">
                    <a:pos x="61" y="1853"/>
                  </a:cxn>
                  <a:cxn ang="0">
                    <a:pos x="44" y="1847"/>
                  </a:cxn>
                  <a:cxn ang="0">
                    <a:pos x="30" y="1838"/>
                  </a:cxn>
                  <a:cxn ang="0">
                    <a:pos x="17" y="1825"/>
                  </a:cxn>
                  <a:cxn ang="0">
                    <a:pos x="8" y="1811"/>
                  </a:cxn>
                  <a:cxn ang="0">
                    <a:pos x="2" y="1794"/>
                  </a:cxn>
                  <a:cxn ang="0">
                    <a:pos x="0" y="1776"/>
                  </a:cxn>
                  <a:cxn ang="0">
                    <a:pos x="0" y="79"/>
                  </a:cxn>
                  <a:cxn ang="0">
                    <a:pos x="2" y="60"/>
                  </a:cxn>
                  <a:cxn ang="0">
                    <a:pos x="8" y="44"/>
                  </a:cxn>
                  <a:cxn ang="0">
                    <a:pos x="17" y="29"/>
                  </a:cxn>
                  <a:cxn ang="0">
                    <a:pos x="30" y="17"/>
                  </a:cxn>
                  <a:cxn ang="0">
                    <a:pos x="44" y="8"/>
                  </a:cxn>
                  <a:cxn ang="0">
                    <a:pos x="61" y="2"/>
                  </a:cxn>
                  <a:cxn ang="0">
                    <a:pos x="79" y="0"/>
                  </a:cxn>
                </a:cxnLst>
                <a:rect l="0" t="0" r="r" b="b"/>
                <a:pathLst>
                  <a:path w="736" h="1855">
                    <a:moveTo>
                      <a:pt x="79" y="0"/>
                    </a:moveTo>
                    <a:lnTo>
                      <a:pt x="657" y="0"/>
                    </a:lnTo>
                    <a:lnTo>
                      <a:pt x="675" y="2"/>
                    </a:lnTo>
                    <a:lnTo>
                      <a:pt x="691" y="8"/>
                    </a:lnTo>
                    <a:lnTo>
                      <a:pt x="706" y="17"/>
                    </a:lnTo>
                    <a:lnTo>
                      <a:pt x="718" y="29"/>
                    </a:lnTo>
                    <a:lnTo>
                      <a:pt x="728" y="44"/>
                    </a:lnTo>
                    <a:lnTo>
                      <a:pt x="733" y="60"/>
                    </a:lnTo>
                    <a:lnTo>
                      <a:pt x="736" y="79"/>
                    </a:lnTo>
                    <a:lnTo>
                      <a:pt x="736" y="1776"/>
                    </a:lnTo>
                    <a:lnTo>
                      <a:pt x="733" y="1794"/>
                    </a:lnTo>
                    <a:lnTo>
                      <a:pt x="728" y="1811"/>
                    </a:lnTo>
                    <a:lnTo>
                      <a:pt x="718" y="1825"/>
                    </a:lnTo>
                    <a:lnTo>
                      <a:pt x="706" y="1838"/>
                    </a:lnTo>
                    <a:lnTo>
                      <a:pt x="691" y="1847"/>
                    </a:lnTo>
                    <a:lnTo>
                      <a:pt x="675" y="1853"/>
                    </a:lnTo>
                    <a:lnTo>
                      <a:pt x="657" y="1855"/>
                    </a:lnTo>
                    <a:lnTo>
                      <a:pt x="79" y="1855"/>
                    </a:lnTo>
                    <a:lnTo>
                      <a:pt x="61" y="1853"/>
                    </a:lnTo>
                    <a:lnTo>
                      <a:pt x="44" y="1847"/>
                    </a:lnTo>
                    <a:lnTo>
                      <a:pt x="30" y="1838"/>
                    </a:lnTo>
                    <a:lnTo>
                      <a:pt x="17" y="1825"/>
                    </a:lnTo>
                    <a:lnTo>
                      <a:pt x="8" y="1811"/>
                    </a:lnTo>
                    <a:lnTo>
                      <a:pt x="2" y="1794"/>
                    </a:lnTo>
                    <a:lnTo>
                      <a:pt x="0" y="1776"/>
                    </a:lnTo>
                    <a:lnTo>
                      <a:pt x="0" y="79"/>
                    </a:lnTo>
                    <a:lnTo>
                      <a:pt x="2" y="60"/>
                    </a:lnTo>
                    <a:lnTo>
                      <a:pt x="8" y="44"/>
                    </a:lnTo>
                    <a:lnTo>
                      <a:pt x="17" y="29"/>
                    </a:lnTo>
                    <a:lnTo>
                      <a:pt x="30" y="17"/>
                    </a:lnTo>
                    <a:lnTo>
                      <a:pt x="44" y="8"/>
                    </a:lnTo>
                    <a:lnTo>
                      <a:pt x="61" y="2"/>
                    </a:lnTo>
                    <a:lnTo>
                      <a:pt x="79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95000"/>
                      <a:lumOff val="5000"/>
                    </a:schemeClr>
                  </a:gs>
                  <a:gs pos="100000">
                    <a:schemeClr val="tx1">
                      <a:lumMod val="75000"/>
                      <a:lumOff val="2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4" name="Freeform 8"/>
              <p:cNvSpPr>
                <a:spLocks noEditPoints="1"/>
              </p:cNvSpPr>
              <p:nvPr/>
            </p:nvSpPr>
            <p:spPr bwMode="auto">
              <a:xfrm>
                <a:off x="2226018" y="1676400"/>
                <a:ext cx="1140482" cy="2835299"/>
              </a:xfrm>
              <a:custGeom>
                <a:avLst/>
                <a:gdLst/>
                <a:ahLst/>
                <a:cxnLst>
                  <a:cxn ang="0">
                    <a:pos x="72" y="19"/>
                  </a:cxn>
                  <a:cxn ang="0">
                    <a:pos x="44" y="33"/>
                  </a:cxn>
                  <a:cxn ang="0">
                    <a:pos x="25" y="56"/>
                  </a:cxn>
                  <a:cxn ang="0">
                    <a:pos x="18" y="88"/>
                  </a:cxn>
                  <a:cxn ang="0">
                    <a:pos x="20" y="1801"/>
                  </a:cxn>
                  <a:cxn ang="0">
                    <a:pos x="33" y="1829"/>
                  </a:cxn>
                  <a:cxn ang="0">
                    <a:pos x="57" y="1848"/>
                  </a:cxn>
                  <a:cxn ang="0">
                    <a:pos x="88" y="1855"/>
                  </a:cxn>
                  <a:cxn ang="0">
                    <a:pos x="682" y="1853"/>
                  </a:cxn>
                  <a:cxn ang="0">
                    <a:pos x="709" y="1840"/>
                  </a:cxn>
                  <a:cxn ang="0">
                    <a:pos x="729" y="1816"/>
                  </a:cxn>
                  <a:cxn ang="0">
                    <a:pos x="735" y="1785"/>
                  </a:cxn>
                  <a:cxn ang="0">
                    <a:pos x="734" y="72"/>
                  </a:cxn>
                  <a:cxn ang="0">
                    <a:pos x="720" y="44"/>
                  </a:cxn>
                  <a:cxn ang="0">
                    <a:pos x="697" y="25"/>
                  </a:cxn>
                  <a:cxn ang="0">
                    <a:pos x="666" y="18"/>
                  </a:cxn>
                  <a:cxn ang="0">
                    <a:pos x="88" y="0"/>
                  </a:cxn>
                  <a:cxn ang="0">
                    <a:pos x="686" y="3"/>
                  </a:cxn>
                  <a:cxn ang="0">
                    <a:pos x="720" y="19"/>
                  </a:cxn>
                  <a:cxn ang="0">
                    <a:pos x="744" y="49"/>
                  </a:cxn>
                  <a:cxn ang="0">
                    <a:pos x="753" y="88"/>
                  </a:cxn>
                  <a:cxn ang="0">
                    <a:pos x="751" y="1805"/>
                  </a:cxn>
                  <a:cxn ang="0">
                    <a:pos x="734" y="1840"/>
                  </a:cxn>
                  <a:cxn ang="0">
                    <a:pos x="704" y="1863"/>
                  </a:cxn>
                  <a:cxn ang="0">
                    <a:pos x="666" y="1872"/>
                  </a:cxn>
                  <a:cxn ang="0">
                    <a:pos x="68" y="1870"/>
                  </a:cxn>
                  <a:cxn ang="0">
                    <a:pos x="33" y="1853"/>
                  </a:cxn>
                  <a:cxn ang="0">
                    <a:pos x="10" y="1824"/>
                  </a:cxn>
                  <a:cxn ang="0">
                    <a:pos x="0" y="1785"/>
                  </a:cxn>
                  <a:cxn ang="0">
                    <a:pos x="3" y="67"/>
                  </a:cxn>
                  <a:cxn ang="0">
                    <a:pos x="20" y="33"/>
                  </a:cxn>
                  <a:cxn ang="0">
                    <a:pos x="50" y="9"/>
                  </a:cxn>
                  <a:cxn ang="0">
                    <a:pos x="88" y="0"/>
                  </a:cxn>
                </a:cxnLst>
                <a:rect l="0" t="0" r="r" b="b"/>
                <a:pathLst>
                  <a:path w="753" h="1872">
                    <a:moveTo>
                      <a:pt x="88" y="18"/>
                    </a:moveTo>
                    <a:lnTo>
                      <a:pt x="72" y="19"/>
                    </a:lnTo>
                    <a:lnTo>
                      <a:pt x="57" y="25"/>
                    </a:lnTo>
                    <a:lnTo>
                      <a:pt x="44" y="33"/>
                    </a:lnTo>
                    <a:lnTo>
                      <a:pt x="33" y="44"/>
                    </a:lnTo>
                    <a:lnTo>
                      <a:pt x="25" y="56"/>
                    </a:lnTo>
                    <a:lnTo>
                      <a:pt x="20" y="72"/>
                    </a:lnTo>
                    <a:lnTo>
                      <a:pt x="18" y="88"/>
                    </a:lnTo>
                    <a:lnTo>
                      <a:pt x="18" y="1785"/>
                    </a:lnTo>
                    <a:lnTo>
                      <a:pt x="20" y="1801"/>
                    </a:lnTo>
                    <a:lnTo>
                      <a:pt x="25" y="1816"/>
                    </a:lnTo>
                    <a:lnTo>
                      <a:pt x="33" y="1829"/>
                    </a:lnTo>
                    <a:lnTo>
                      <a:pt x="44" y="1840"/>
                    </a:lnTo>
                    <a:lnTo>
                      <a:pt x="57" y="1848"/>
                    </a:lnTo>
                    <a:lnTo>
                      <a:pt x="72" y="1853"/>
                    </a:lnTo>
                    <a:lnTo>
                      <a:pt x="88" y="1855"/>
                    </a:lnTo>
                    <a:lnTo>
                      <a:pt x="666" y="1855"/>
                    </a:lnTo>
                    <a:lnTo>
                      <a:pt x="682" y="1853"/>
                    </a:lnTo>
                    <a:lnTo>
                      <a:pt x="697" y="1848"/>
                    </a:lnTo>
                    <a:lnTo>
                      <a:pt x="709" y="1840"/>
                    </a:lnTo>
                    <a:lnTo>
                      <a:pt x="720" y="1829"/>
                    </a:lnTo>
                    <a:lnTo>
                      <a:pt x="729" y="1816"/>
                    </a:lnTo>
                    <a:lnTo>
                      <a:pt x="734" y="1801"/>
                    </a:lnTo>
                    <a:lnTo>
                      <a:pt x="735" y="1785"/>
                    </a:lnTo>
                    <a:lnTo>
                      <a:pt x="735" y="88"/>
                    </a:lnTo>
                    <a:lnTo>
                      <a:pt x="734" y="72"/>
                    </a:lnTo>
                    <a:lnTo>
                      <a:pt x="729" y="56"/>
                    </a:lnTo>
                    <a:lnTo>
                      <a:pt x="720" y="44"/>
                    </a:lnTo>
                    <a:lnTo>
                      <a:pt x="709" y="33"/>
                    </a:lnTo>
                    <a:lnTo>
                      <a:pt x="697" y="25"/>
                    </a:lnTo>
                    <a:lnTo>
                      <a:pt x="682" y="19"/>
                    </a:lnTo>
                    <a:lnTo>
                      <a:pt x="666" y="18"/>
                    </a:lnTo>
                    <a:lnTo>
                      <a:pt x="88" y="18"/>
                    </a:lnTo>
                    <a:close/>
                    <a:moveTo>
                      <a:pt x="88" y="0"/>
                    </a:moveTo>
                    <a:lnTo>
                      <a:pt x="666" y="0"/>
                    </a:lnTo>
                    <a:lnTo>
                      <a:pt x="686" y="3"/>
                    </a:lnTo>
                    <a:lnTo>
                      <a:pt x="704" y="9"/>
                    </a:lnTo>
                    <a:lnTo>
                      <a:pt x="720" y="19"/>
                    </a:lnTo>
                    <a:lnTo>
                      <a:pt x="734" y="33"/>
                    </a:lnTo>
                    <a:lnTo>
                      <a:pt x="744" y="49"/>
                    </a:lnTo>
                    <a:lnTo>
                      <a:pt x="751" y="67"/>
                    </a:lnTo>
                    <a:lnTo>
                      <a:pt x="753" y="88"/>
                    </a:lnTo>
                    <a:lnTo>
                      <a:pt x="753" y="1785"/>
                    </a:lnTo>
                    <a:lnTo>
                      <a:pt x="751" y="1805"/>
                    </a:lnTo>
                    <a:lnTo>
                      <a:pt x="744" y="1824"/>
                    </a:lnTo>
                    <a:lnTo>
                      <a:pt x="734" y="1840"/>
                    </a:lnTo>
                    <a:lnTo>
                      <a:pt x="720" y="1853"/>
                    </a:lnTo>
                    <a:lnTo>
                      <a:pt x="704" y="1863"/>
                    </a:lnTo>
                    <a:lnTo>
                      <a:pt x="686" y="1870"/>
                    </a:lnTo>
                    <a:lnTo>
                      <a:pt x="666" y="1872"/>
                    </a:lnTo>
                    <a:lnTo>
                      <a:pt x="88" y="1872"/>
                    </a:lnTo>
                    <a:lnTo>
                      <a:pt x="68" y="1870"/>
                    </a:lnTo>
                    <a:lnTo>
                      <a:pt x="50" y="1863"/>
                    </a:lnTo>
                    <a:lnTo>
                      <a:pt x="33" y="1853"/>
                    </a:lnTo>
                    <a:lnTo>
                      <a:pt x="20" y="1840"/>
                    </a:lnTo>
                    <a:lnTo>
                      <a:pt x="10" y="1824"/>
                    </a:lnTo>
                    <a:lnTo>
                      <a:pt x="3" y="1805"/>
                    </a:lnTo>
                    <a:lnTo>
                      <a:pt x="0" y="1785"/>
                    </a:lnTo>
                    <a:lnTo>
                      <a:pt x="0" y="88"/>
                    </a:lnTo>
                    <a:lnTo>
                      <a:pt x="3" y="67"/>
                    </a:lnTo>
                    <a:lnTo>
                      <a:pt x="10" y="49"/>
                    </a:lnTo>
                    <a:lnTo>
                      <a:pt x="20" y="33"/>
                    </a:lnTo>
                    <a:lnTo>
                      <a:pt x="33" y="19"/>
                    </a:lnTo>
                    <a:lnTo>
                      <a:pt x="50" y="9"/>
                    </a:lnTo>
                    <a:lnTo>
                      <a:pt x="68" y="3"/>
                    </a:lnTo>
                    <a:lnTo>
                      <a:pt x="88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  <a:shade val="30000"/>
                      <a:satMod val="115000"/>
                    </a:schemeClr>
                  </a:gs>
                  <a:gs pos="50000">
                    <a:schemeClr val="tx1">
                      <a:lumMod val="75000"/>
                      <a:lumOff val="25000"/>
                      <a:shade val="67500"/>
                      <a:satMod val="115000"/>
                    </a:schemeClr>
                  </a:gs>
                  <a:gs pos="100000">
                    <a:schemeClr val="tx1">
                      <a:lumMod val="75000"/>
                      <a:lumOff val="2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5" name="Freeform 24"/>
              <p:cNvSpPr>
                <a:spLocks/>
              </p:cNvSpPr>
              <p:nvPr/>
            </p:nvSpPr>
            <p:spPr bwMode="auto">
              <a:xfrm>
                <a:off x="1903412" y="1853606"/>
                <a:ext cx="322607" cy="75880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3" y="0"/>
                  </a:cxn>
                  <a:cxn ang="0">
                    <a:pos x="213" y="501"/>
                  </a:cxn>
                  <a:cxn ang="0">
                    <a:pos x="163" y="501"/>
                  </a:cxn>
                  <a:cxn ang="0">
                    <a:pos x="163" y="250"/>
                  </a:cxn>
                  <a:cxn ang="0">
                    <a:pos x="0" y="0"/>
                  </a:cxn>
                </a:cxnLst>
                <a:rect l="0" t="0" r="r" b="b"/>
                <a:pathLst>
                  <a:path w="213" h="501">
                    <a:moveTo>
                      <a:pt x="0" y="0"/>
                    </a:moveTo>
                    <a:lnTo>
                      <a:pt x="213" y="0"/>
                    </a:lnTo>
                    <a:lnTo>
                      <a:pt x="213" y="501"/>
                    </a:lnTo>
                    <a:lnTo>
                      <a:pt x="163" y="501"/>
                    </a:lnTo>
                    <a:lnTo>
                      <a:pt x="163" y="25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6" name="Freeform 25"/>
              <p:cNvSpPr>
                <a:spLocks/>
              </p:cNvSpPr>
              <p:nvPr/>
            </p:nvSpPr>
            <p:spPr bwMode="auto">
              <a:xfrm>
                <a:off x="1903412" y="2724491"/>
                <a:ext cx="322607" cy="75880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3" y="0"/>
                  </a:cxn>
                  <a:cxn ang="0">
                    <a:pos x="213" y="501"/>
                  </a:cxn>
                  <a:cxn ang="0">
                    <a:pos x="163" y="501"/>
                  </a:cxn>
                  <a:cxn ang="0">
                    <a:pos x="163" y="250"/>
                  </a:cxn>
                  <a:cxn ang="0">
                    <a:pos x="0" y="0"/>
                  </a:cxn>
                </a:cxnLst>
                <a:rect l="0" t="0" r="r" b="b"/>
                <a:pathLst>
                  <a:path w="213" h="501">
                    <a:moveTo>
                      <a:pt x="0" y="0"/>
                    </a:moveTo>
                    <a:lnTo>
                      <a:pt x="213" y="0"/>
                    </a:lnTo>
                    <a:lnTo>
                      <a:pt x="213" y="501"/>
                    </a:lnTo>
                    <a:lnTo>
                      <a:pt x="163" y="501"/>
                    </a:lnTo>
                    <a:lnTo>
                      <a:pt x="163" y="25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7" name="Freeform 26"/>
              <p:cNvSpPr>
                <a:spLocks/>
              </p:cNvSpPr>
              <p:nvPr/>
            </p:nvSpPr>
            <p:spPr bwMode="auto">
              <a:xfrm>
                <a:off x="1903412" y="3554483"/>
                <a:ext cx="322607" cy="75729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3" y="0"/>
                  </a:cxn>
                  <a:cxn ang="0">
                    <a:pos x="213" y="500"/>
                  </a:cxn>
                  <a:cxn ang="0">
                    <a:pos x="163" y="500"/>
                  </a:cxn>
                  <a:cxn ang="0">
                    <a:pos x="163" y="250"/>
                  </a:cxn>
                  <a:cxn ang="0">
                    <a:pos x="0" y="0"/>
                  </a:cxn>
                </a:cxnLst>
                <a:rect l="0" t="0" r="r" b="b"/>
                <a:pathLst>
                  <a:path w="213" h="500">
                    <a:moveTo>
                      <a:pt x="0" y="0"/>
                    </a:moveTo>
                    <a:lnTo>
                      <a:pt x="213" y="0"/>
                    </a:lnTo>
                    <a:lnTo>
                      <a:pt x="213" y="500"/>
                    </a:lnTo>
                    <a:lnTo>
                      <a:pt x="163" y="500"/>
                    </a:lnTo>
                    <a:lnTo>
                      <a:pt x="163" y="25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8" name="Freeform 27"/>
              <p:cNvSpPr>
                <a:spLocks/>
              </p:cNvSpPr>
              <p:nvPr/>
            </p:nvSpPr>
            <p:spPr bwMode="auto">
              <a:xfrm>
                <a:off x="3358926" y="1853606"/>
                <a:ext cx="321092" cy="75880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2" y="0"/>
                  </a:cxn>
                  <a:cxn ang="0">
                    <a:pos x="50" y="250"/>
                  </a:cxn>
                  <a:cxn ang="0">
                    <a:pos x="50" y="501"/>
                  </a:cxn>
                  <a:cxn ang="0">
                    <a:pos x="0" y="501"/>
                  </a:cxn>
                  <a:cxn ang="0">
                    <a:pos x="0" y="0"/>
                  </a:cxn>
                </a:cxnLst>
                <a:rect l="0" t="0" r="r" b="b"/>
                <a:pathLst>
                  <a:path w="212" h="501">
                    <a:moveTo>
                      <a:pt x="0" y="0"/>
                    </a:moveTo>
                    <a:lnTo>
                      <a:pt x="212" y="0"/>
                    </a:lnTo>
                    <a:lnTo>
                      <a:pt x="50" y="250"/>
                    </a:lnTo>
                    <a:lnTo>
                      <a:pt x="50" y="501"/>
                    </a:lnTo>
                    <a:lnTo>
                      <a:pt x="0" y="501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9" name="Freeform 28"/>
              <p:cNvSpPr>
                <a:spLocks/>
              </p:cNvSpPr>
              <p:nvPr/>
            </p:nvSpPr>
            <p:spPr bwMode="auto">
              <a:xfrm>
                <a:off x="3358926" y="2724491"/>
                <a:ext cx="321092" cy="75880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2" y="0"/>
                  </a:cxn>
                  <a:cxn ang="0">
                    <a:pos x="50" y="250"/>
                  </a:cxn>
                  <a:cxn ang="0">
                    <a:pos x="50" y="501"/>
                  </a:cxn>
                  <a:cxn ang="0">
                    <a:pos x="0" y="501"/>
                  </a:cxn>
                  <a:cxn ang="0">
                    <a:pos x="0" y="0"/>
                  </a:cxn>
                </a:cxnLst>
                <a:rect l="0" t="0" r="r" b="b"/>
                <a:pathLst>
                  <a:path w="212" h="501">
                    <a:moveTo>
                      <a:pt x="0" y="0"/>
                    </a:moveTo>
                    <a:lnTo>
                      <a:pt x="212" y="0"/>
                    </a:lnTo>
                    <a:lnTo>
                      <a:pt x="50" y="250"/>
                    </a:lnTo>
                    <a:lnTo>
                      <a:pt x="50" y="501"/>
                    </a:lnTo>
                    <a:lnTo>
                      <a:pt x="0" y="501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60" name="Freeform 29"/>
              <p:cNvSpPr>
                <a:spLocks/>
              </p:cNvSpPr>
              <p:nvPr/>
            </p:nvSpPr>
            <p:spPr bwMode="auto">
              <a:xfrm>
                <a:off x="3358926" y="3554483"/>
                <a:ext cx="321092" cy="75729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2" y="0"/>
                  </a:cxn>
                  <a:cxn ang="0">
                    <a:pos x="50" y="250"/>
                  </a:cxn>
                  <a:cxn ang="0">
                    <a:pos x="50" y="500"/>
                  </a:cxn>
                  <a:cxn ang="0">
                    <a:pos x="0" y="500"/>
                  </a:cxn>
                  <a:cxn ang="0">
                    <a:pos x="0" y="0"/>
                  </a:cxn>
                </a:cxnLst>
                <a:rect l="0" t="0" r="r" b="b"/>
                <a:pathLst>
                  <a:path w="212" h="500">
                    <a:moveTo>
                      <a:pt x="0" y="0"/>
                    </a:moveTo>
                    <a:lnTo>
                      <a:pt x="212" y="0"/>
                    </a:lnTo>
                    <a:lnTo>
                      <a:pt x="50" y="250"/>
                    </a:lnTo>
                    <a:lnTo>
                      <a:pt x="50" y="500"/>
                    </a:lnTo>
                    <a:lnTo>
                      <a:pt x="0" y="50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grpSp>
            <p:nvGrpSpPr>
              <p:cNvPr id="461" name="Group 33"/>
              <p:cNvGrpSpPr/>
              <p:nvPr/>
            </p:nvGrpSpPr>
            <p:grpSpPr>
              <a:xfrm>
                <a:off x="2442604" y="1894500"/>
                <a:ext cx="708825" cy="707311"/>
                <a:chOff x="5722938" y="1676401"/>
                <a:chExt cx="742950" cy="741363"/>
              </a:xfrm>
              <a:effectLst>
                <a:outerShdw blurRad="38100" dist="63500" dir="2700000" algn="tl" rotWithShape="0">
                  <a:prstClr val="black">
                    <a:alpha val="99000"/>
                  </a:prstClr>
                </a:outerShdw>
              </a:effectLst>
            </p:grpSpPr>
            <p:sp>
              <p:nvSpPr>
                <p:cNvPr id="468" name="Freeform 17"/>
                <p:cNvSpPr>
                  <a:spLocks/>
                </p:cNvSpPr>
                <p:nvPr/>
              </p:nvSpPr>
              <p:spPr bwMode="auto">
                <a:xfrm>
                  <a:off x="5722938" y="1676401"/>
                  <a:ext cx="742950" cy="741363"/>
                </a:xfrm>
                <a:custGeom>
                  <a:avLst/>
                  <a:gdLst/>
                  <a:ahLst/>
                  <a:cxnLst>
                    <a:cxn ang="0">
                      <a:pos x="234" y="0"/>
                    </a:cxn>
                    <a:cxn ang="0">
                      <a:pos x="266" y="2"/>
                    </a:cxn>
                    <a:cxn ang="0">
                      <a:pos x="296" y="8"/>
                    </a:cxn>
                    <a:cxn ang="0">
                      <a:pos x="325" y="18"/>
                    </a:cxn>
                    <a:cxn ang="0">
                      <a:pos x="352" y="32"/>
                    </a:cxn>
                    <a:cxn ang="0">
                      <a:pos x="377" y="48"/>
                    </a:cxn>
                    <a:cxn ang="0">
                      <a:pos x="400" y="68"/>
                    </a:cxn>
                    <a:cxn ang="0">
                      <a:pos x="420" y="90"/>
                    </a:cxn>
                    <a:cxn ang="0">
                      <a:pos x="436" y="115"/>
                    </a:cxn>
                    <a:cxn ang="0">
                      <a:pos x="450" y="142"/>
                    </a:cxn>
                    <a:cxn ang="0">
                      <a:pos x="460" y="171"/>
                    </a:cxn>
                    <a:cxn ang="0">
                      <a:pos x="466" y="201"/>
                    </a:cxn>
                    <a:cxn ang="0">
                      <a:pos x="468" y="233"/>
                    </a:cxn>
                    <a:cxn ang="0">
                      <a:pos x="466" y="265"/>
                    </a:cxn>
                    <a:cxn ang="0">
                      <a:pos x="460" y="295"/>
                    </a:cxn>
                    <a:cxn ang="0">
                      <a:pos x="450" y="324"/>
                    </a:cxn>
                    <a:cxn ang="0">
                      <a:pos x="436" y="351"/>
                    </a:cxn>
                    <a:cxn ang="0">
                      <a:pos x="420" y="376"/>
                    </a:cxn>
                    <a:cxn ang="0">
                      <a:pos x="400" y="399"/>
                    </a:cxn>
                    <a:cxn ang="0">
                      <a:pos x="377" y="418"/>
                    </a:cxn>
                    <a:cxn ang="0">
                      <a:pos x="352" y="435"/>
                    </a:cxn>
                    <a:cxn ang="0">
                      <a:pos x="325" y="449"/>
                    </a:cxn>
                    <a:cxn ang="0">
                      <a:pos x="296" y="459"/>
                    </a:cxn>
                    <a:cxn ang="0">
                      <a:pos x="266" y="465"/>
                    </a:cxn>
                    <a:cxn ang="0">
                      <a:pos x="234" y="467"/>
                    </a:cxn>
                    <a:cxn ang="0">
                      <a:pos x="202" y="465"/>
                    </a:cxn>
                    <a:cxn ang="0">
                      <a:pos x="171" y="459"/>
                    </a:cxn>
                    <a:cxn ang="0">
                      <a:pos x="142" y="449"/>
                    </a:cxn>
                    <a:cxn ang="0">
                      <a:pos x="116" y="435"/>
                    </a:cxn>
                    <a:cxn ang="0">
                      <a:pos x="91" y="418"/>
                    </a:cxn>
                    <a:cxn ang="0">
                      <a:pos x="68" y="399"/>
                    </a:cxn>
                    <a:cxn ang="0">
                      <a:pos x="49" y="376"/>
                    </a:cxn>
                    <a:cxn ang="0">
                      <a:pos x="32" y="351"/>
                    </a:cxn>
                    <a:cxn ang="0">
                      <a:pos x="18" y="324"/>
                    </a:cxn>
                    <a:cxn ang="0">
                      <a:pos x="8" y="295"/>
                    </a:cxn>
                    <a:cxn ang="0">
                      <a:pos x="2" y="265"/>
                    </a:cxn>
                    <a:cxn ang="0">
                      <a:pos x="0" y="233"/>
                    </a:cxn>
                    <a:cxn ang="0">
                      <a:pos x="2" y="201"/>
                    </a:cxn>
                    <a:cxn ang="0">
                      <a:pos x="8" y="171"/>
                    </a:cxn>
                    <a:cxn ang="0">
                      <a:pos x="18" y="142"/>
                    </a:cxn>
                    <a:cxn ang="0">
                      <a:pos x="32" y="115"/>
                    </a:cxn>
                    <a:cxn ang="0">
                      <a:pos x="49" y="90"/>
                    </a:cxn>
                    <a:cxn ang="0">
                      <a:pos x="68" y="68"/>
                    </a:cxn>
                    <a:cxn ang="0">
                      <a:pos x="91" y="48"/>
                    </a:cxn>
                    <a:cxn ang="0">
                      <a:pos x="116" y="32"/>
                    </a:cxn>
                    <a:cxn ang="0">
                      <a:pos x="142" y="18"/>
                    </a:cxn>
                    <a:cxn ang="0">
                      <a:pos x="171" y="8"/>
                    </a:cxn>
                    <a:cxn ang="0">
                      <a:pos x="202" y="2"/>
                    </a:cxn>
                    <a:cxn ang="0">
                      <a:pos x="234" y="0"/>
                    </a:cxn>
                  </a:cxnLst>
                  <a:rect l="0" t="0" r="r" b="b"/>
                  <a:pathLst>
                    <a:path w="468" h="467">
                      <a:moveTo>
                        <a:pt x="234" y="0"/>
                      </a:moveTo>
                      <a:lnTo>
                        <a:pt x="266" y="2"/>
                      </a:lnTo>
                      <a:lnTo>
                        <a:pt x="296" y="8"/>
                      </a:lnTo>
                      <a:lnTo>
                        <a:pt x="325" y="18"/>
                      </a:lnTo>
                      <a:lnTo>
                        <a:pt x="352" y="32"/>
                      </a:lnTo>
                      <a:lnTo>
                        <a:pt x="377" y="48"/>
                      </a:lnTo>
                      <a:lnTo>
                        <a:pt x="400" y="68"/>
                      </a:lnTo>
                      <a:lnTo>
                        <a:pt x="420" y="90"/>
                      </a:lnTo>
                      <a:lnTo>
                        <a:pt x="436" y="115"/>
                      </a:lnTo>
                      <a:lnTo>
                        <a:pt x="450" y="142"/>
                      </a:lnTo>
                      <a:lnTo>
                        <a:pt x="460" y="171"/>
                      </a:lnTo>
                      <a:lnTo>
                        <a:pt x="466" y="201"/>
                      </a:lnTo>
                      <a:lnTo>
                        <a:pt x="468" y="233"/>
                      </a:lnTo>
                      <a:lnTo>
                        <a:pt x="466" y="265"/>
                      </a:lnTo>
                      <a:lnTo>
                        <a:pt x="460" y="295"/>
                      </a:lnTo>
                      <a:lnTo>
                        <a:pt x="450" y="324"/>
                      </a:lnTo>
                      <a:lnTo>
                        <a:pt x="436" y="351"/>
                      </a:lnTo>
                      <a:lnTo>
                        <a:pt x="420" y="376"/>
                      </a:lnTo>
                      <a:lnTo>
                        <a:pt x="400" y="399"/>
                      </a:lnTo>
                      <a:lnTo>
                        <a:pt x="377" y="418"/>
                      </a:lnTo>
                      <a:lnTo>
                        <a:pt x="352" y="435"/>
                      </a:lnTo>
                      <a:lnTo>
                        <a:pt x="325" y="449"/>
                      </a:lnTo>
                      <a:lnTo>
                        <a:pt x="296" y="459"/>
                      </a:lnTo>
                      <a:lnTo>
                        <a:pt x="266" y="465"/>
                      </a:lnTo>
                      <a:lnTo>
                        <a:pt x="234" y="467"/>
                      </a:lnTo>
                      <a:lnTo>
                        <a:pt x="202" y="465"/>
                      </a:lnTo>
                      <a:lnTo>
                        <a:pt x="171" y="459"/>
                      </a:lnTo>
                      <a:lnTo>
                        <a:pt x="142" y="449"/>
                      </a:lnTo>
                      <a:lnTo>
                        <a:pt x="116" y="435"/>
                      </a:lnTo>
                      <a:lnTo>
                        <a:pt x="91" y="418"/>
                      </a:lnTo>
                      <a:lnTo>
                        <a:pt x="68" y="399"/>
                      </a:lnTo>
                      <a:lnTo>
                        <a:pt x="49" y="376"/>
                      </a:lnTo>
                      <a:lnTo>
                        <a:pt x="32" y="351"/>
                      </a:lnTo>
                      <a:lnTo>
                        <a:pt x="18" y="324"/>
                      </a:lnTo>
                      <a:lnTo>
                        <a:pt x="8" y="295"/>
                      </a:lnTo>
                      <a:lnTo>
                        <a:pt x="2" y="265"/>
                      </a:lnTo>
                      <a:lnTo>
                        <a:pt x="0" y="233"/>
                      </a:lnTo>
                      <a:lnTo>
                        <a:pt x="2" y="201"/>
                      </a:lnTo>
                      <a:lnTo>
                        <a:pt x="8" y="171"/>
                      </a:lnTo>
                      <a:lnTo>
                        <a:pt x="18" y="142"/>
                      </a:lnTo>
                      <a:lnTo>
                        <a:pt x="32" y="115"/>
                      </a:lnTo>
                      <a:lnTo>
                        <a:pt x="49" y="90"/>
                      </a:lnTo>
                      <a:lnTo>
                        <a:pt x="68" y="68"/>
                      </a:lnTo>
                      <a:lnTo>
                        <a:pt x="91" y="48"/>
                      </a:lnTo>
                      <a:lnTo>
                        <a:pt x="116" y="32"/>
                      </a:lnTo>
                      <a:lnTo>
                        <a:pt x="142" y="18"/>
                      </a:lnTo>
                      <a:lnTo>
                        <a:pt x="171" y="8"/>
                      </a:lnTo>
                      <a:lnTo>
                        <a:pt x="202" y="2"/>
                      </a:lnTo>
                      <a:lnTo>
                        <a:pt x="234" y="0"/>
                      </a:lnTo>
                      <a:close/>
                    </a:path>
                  </a:pathLst>
                </a:custGeom>
                <a:noFill/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128302" tIns="64151" rIns="128302" bIns="6415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710448"/>
                  <a:endParaRPr lang="en-US" sz="3368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469" name="Freeform 18"/>
                <p:cNvSpPr>
                  <a:spLocks/>
                </p:cNvSpPr>
                <p:nvPr/>
              </p:nvSpPr>
              <p:spPr bwMode="auto">
                <a:xfrm>
                  <a:off x="5746750" y="2032001"/>
                  <a:ext cx="695325" cy="36036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" y="31"/>
                    </a:cxn>
                    <a:cxn ang="0">
                      <a:pos x="12" y="61"/>
                    </a:cxn>
                    <a:cxn ang="0">
                      <a:pos x="23" y="89"/>
                    </a:cxn>
                    <a:cxn ang="0">
                      <a:pos x="38" y="115"/>
                    </a:cxn>
                    <a:cxn ang="0">
                      <a:pos x="56" y="138"/>
                    </a:cxn>
                    <a:cxn ang="0">
                      <a:pos x="78" y="159"/>
                    </a:cxn>
                    <a:cxn ang="0">
                      <a:pos x="102" y="176"/>
                    </a:cxn>
                    <a:cxn ang="0">
                      <a:pos x="128" y="190"/>
                    </a:cxn>
                    <a:cxn ang="0">
                      <a:pos x="157" y="200"/>
                    </a:cxn>
                    <a:cxn ang="0">
                      <a:pos x="187" y="207"/>
                    </a:cxn>
                    <a:cxn ang="0">
                      <a:pos x="219" y="209"/>
                    </a:cxn>
                    <a:cxn ang="0">
                      <a:pos x="250" y="207"/>
                    </a:cxn>
                    <a:cxn ang="0">
                      <a:pos x="280" y="200"/>
                    </a:cxn>
                    <a:cxn ang="0">
                      <a:pos x="309" y="190"/>
                    </a:cxn>
                    <a:cxn ang="0">
                      <a:pos x="335" y="176"/>
                    </a:cxn>
                    <a:cxn ang="0">
                      <a:pos x="360" y="159"/>
                    </a:cxn>
                    <a:cxn ang="0">
                      <a:pos x="381" y="138"/>
                    </a:cxn>
                    <a:cxn ang="0">
                      <a:pos x="399" y="115"/>
                    </a:cxn>
                    <a:cxn ang="0">
                      <a:pos x="414" y="89"/>
                    </a:cxn>
                    <a:cxn ang="0">
                      <a:pos x="426" y="61"/>
                    </a:cxn>
                    <a:cxn ang="0">
                      <a:pos x="433" y="31"/>
                    </a:cxn>
                    <a:cxn ang="0">
                      <a:pos x="437" y="0"/>
                    </a:cxn>
                    <a:cxn ang="0">
                      <a:pos x="437" y="3"/>
                    </a:cxn>
                    <a:cxn ang="0">
                      <a:pos x="438" y="6"/>
                    </a:cxn>
                    <a:cxn ang="0">
                      <a:pos x="438" y="8"/>
                    </a:cxn>
                    <a:cxn ang="0">
                      <a:pos x="436" y="41"/>
                    </a:cxn>
                    <a:cxn ang="0">
                      <a:pos x="429" y="71"/>
                    </a:cxn>
                    <a:cxn ang="0">
                      <a:pos x="417" y="100"/>
                    </a:cxn>
                    <a:cxn ang="0">
                      <a:pos x="403" y="127"/>
                    </a:cxn>
                    <a:cxn ang="0">
                      <a:pos x="384" y="152"/>
                    </a:cxn>
                    <a:cxn ang="0">
                      <a:pos x="363" y="173"/>
                    </a:cxn>
                    <a:cxn ang="0">
                      <a:pos x="338" y="192"/>
                    </a:cxn>
                    <a:cxn ang="0">
                      <a:pos x="311" y="206"/>
                    </a:cxn>
                    <a:cxn ang="0">
                      <a:pos x="282" y="218"/>
                    </a:cxn>
                    <a:cxn ang="0">
                      <a:pos x="251" y="225"/>
                    </a:cxn>
                    <a:cxn ang="0">
                      <a:pos x="219" y="227"/>
                    </a:cxn>
                    <a:cxn ang="0">
                      <a:pos x="186" y="225"/>
                    </a:cxn>
                    <a:cxn ang="0">
                      <a:pos x="155" y="218"/>
                    </a:cxn>
                    <a:cxn ang="0">
                      <a:pos x="127" y="206"/>
                    </a:cxn>
                    <a:cxn ang="0">
                      <a:pos x="100" y="192"/>
                    </a:cxn>
                    <a:cxn ang="0">
                      <a:pos x="76" y="173"/>
                    </a:cxn>
                    <a:cxn ang="0">
                      <a:pos x="53" y="152"/>
                    </a:cxn>
                    <a:cxn ang="0">
                      <a:pos x="35" y="127"/>
                    </a:cxn>
                    <a:cxn ang="0">
                      <a:pos x="21" y="100"/>
                    </a:cxn>
                    <a:cxn ang="0">
                      <a:pos x="9" y="71"/>
                    </a:cxn>
                    <a:cxn ang="0">
                      <a:pos x="2" y="41"/>
                    </a:cxn>
                    <a:cxn ang="0">
                      <a:pos x="0" y="8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38" h="227">
                      <a:moveTo>
                        <a:pt x="0" y="0"/>
                      </a:moveTo>
                      <a:lnTo>
                        <a:pt x="4" y="31"/>
                      </a:lnTo>
                      <a:lnTo>
                        <a:pt x="12" y="61"/>
                      </a:lnTo>
                      <a:lnTo>
                        <a:pt x="23" y="89"/>
                      </a:lnTo>
                      <a:lnTo>
                        <a:pt x="38" y="115"/>
                      </a:lnTo>
                      <a:lnTo>
                        <a:pt x="56" y="138"/>
                      </a:lnTo>
                      <a:lnTo>
                        <a:pt x="78" y="159"/>
                      </a:lnTo>
                      <a:lnTo>
                        <a:pt x="102" y="176"/>
                      </a:lnTo>
                      <a:lnTo>
                        <a:pt x="128" y="190"/>
                      </a:lnTo>
                      <a:lnTo>
                        <a:pt x="157" y="200"/>
                      </a:lnTo>
                      <a:lnTo>
                        <a:pt x="187" y="207"/>
                      </a:lnTo>
                      <a:lnTo>
                        <a:pt x="219" y="209"/>
                      </a:lnTo>
                      <a:lnTo>
                        <a:pt x="250" y="207"/>
                      </a:lnTo>
                      <a:lnTo>
                        <a:pt x="280" y="200"/>
                      </a:lnTo>
                      <a:lnTo>
                        <a:pt x="309" y="190"/>
                      </a:lnTo>
                      <a:lnTo>
                        <a:pt x="335" y="176"/>
                      </a:lnTo>
                      <a:lnTo>
                        <a:pt x="360" y="159"/>
                      </a:lnTo>
                      <a:lnTo>
                        <a:pt x="381" y="138"/>
                      </a:lnTo>
                      <a:lnTo>
                        <a:pt x="399" y="115"/>
                      </a:lnTo>
                      <a:lnTo>
                        <a:pt x="414" y="89"/>
                      </a:lnTo>
                      <a:lnTo>
                        <a:pt x="426" y="61"/>
                      </a:lnTo>
                      <a:lnTo>
                        <a:pt x="433" y="31"/>
                      </a:lnTo>
                      <a:lnTo>
                        <a:pt x="437" y="0"/>
                      </a:lnTo>
                      <a:lnTo>
                        <a:pt x="437" y="3"/>
                      </a:lnTo>
                      <a:lnTo>
                        <a:pt x="438" y="6"/>
                      </a:lnTo>
                      <a:lnTo>
                        <a:pt x="438" y="8"/>
                      </a:lnTo>
                      <a:lnTo>
                        <a:pt x="436" y="41"/>
                      </a:lnTo>
                      <a:lnTo>
                        <a:pt x="429" y="71"/>
                      </a:lnTo>
                      <a:lnTo>
                        <a:pt x="417" y="100"/>
                      </a:lnTo>
                      <a:lnTo>
                        <a:pt x="403" y="127"/>
                      </a:lnTo>
                      <a:lnTo>
                        <a:pt x="384" y="152"/>
                      </a:lnTo>
                      <a:lnTo>
                        <a:pt x="363" y="173"/>
                      </a:lnTo>
                      <a:lnTo>
                        <a:pt x="338" y="192"/>
                      </a:lnTo>
                      <a:lnTo>
                        <a:pt x="311" y="206"/>
                      </a:lnTo>
                      <a:lnTo>
                        <a:pt x="282" y="218"/>
                      </a:lnTo>
                      <a:lnTo>
                        <a:pt x="251" y="225"/>
                      </a:lnTo>
                      <a:lnTo>
                        <a:pt x="219" y="227"/>
                      </a:lnTo>
                      <a:lnTo>
                        <a:pt x="186" y="225"/>
                      </a:lnTo>
                      <a:lnTo>
                        <a:pt x="155" y="218"/>
                      </a:lnTo>
                      <a:lnTo>
                        <a:pt x="127" y="206"/>
                      </a:lnTo>
                      <a:lnTo>
                        <a:pt x="100" y="192"/>
                      </a:lnTo>
                      <a:lnTo>
                        <a:pt x="76" y="173"/>
                      </a:lnTo>
                      <a:lnTo>
                        <a:pt x="53" y="152"/>
                      </a:lnTo>
                      <a:lnTo>
                        <a:pt x="35" y="127"/>
                      </a:lnTo>
                      <a:lnTo>
                        <a:pt x="21" y="100"/>
                      </a:lnTo>
                      <a:lnTo>
                        <a:pt x="9" y="71"/>
                      </a:lnTo>
                      <a:lnTo>
                        <a:pt x="2" y="41"/>
                      </a:ln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>
                    <a:alpha val="33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128302" tIns="64151" rIns="128302" bIns="6415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710448"/>
                  <a:endParaRPr lang="en-US" sz="3368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462" name="Group 34"/>
              <p:cNvGrpSpPr/>
              <p:nvPr/>
            </p:nvGrpSpPr>
            <p:grpSpPr>
              <a:xfrm>
                <a:off x="2442610" y="1937231"/>
                <a:ext cx="708826" cy="1502142"/>
                <a:chOff x="5722937" y="1721192"/>
                <a:chExt cx="742950" cy="1574459"/>
              </a:xfrm>
              <a:effectLst>
                <a:outerShdw blurRad="38100" dist="63500" dir="2700000" algn="tl" rotWithShape="0">
                  <a:prstClr val="black">
                    <a:alpha val="99000"/>
                  </a:prstClr>
                </a:outerShdw>
              </a:effectLst>
            </p:grpSpPr>
            <p:sp>
              <p:nvSpPr>
                <p:cNvPr id="466" name="Freeform 13"/>
                <p:cNvSpPr>
                  <a:spLocks/>
                </p:cNvSpPr>
                <p:nvPr/>
              </p:nvSpPr>
              <p:spPr bwMode="auto">
                <a:xfrm>
                  <a:off x="5722937" y="1721192"/>
                  <a:ext cx="742950" cy="741363"/>
                </a:xfrm>
                <a:custGeom>
                  <a:avLst/>
                  <a:gdLst/>
                  <a:ahLst/>
                  <a:cxnLst>
                    <a:cxn ang="0">
                      <a:pos x="234" y="0"/>
                    </a:cxn>
                    <a:cxn ang="0">
                      <a:pos x="266" y="2"/>
                    </a:cxn>
                    <a:cxn ang="0">
                      <a:pos x="296" y="8"/>
                    </a:cxn>
                    <a:cxn ang="0">
                      <a:pos x="325" y="18"/>
                    </a:cxn>
                    <a:cxn ang="0">
                      <a:pos x="352" y="32"/>
                    </a:cxn>
                    <a:cxn ang="0">
                      <a:pos x="377" y="48"/>
                    </a:cxn>
                    <a:cxn ang="0">
                      <a:pos x="400" y="68"/>
                    </a:cxn>
                    <a:cxn ang="0">
                      <a:pos x="420" y="90"/>
                    </a:cxn>
                    <a:cxn ang="0">
                      <a:pos x="436" y="115"/>
                    </a:cxn>
                    <a:cxn ang="0">
                      <a:pos x="450" y="142"/>
                    </a:cxn>
                    <a:cxn ang="0">
                      <a:pos x="460" y="171"/>
                    </a:cxn>
                    <a:cxn ang="0">
                      <a:pos x="466" y="201"/>
                    </a:cxn>
                    <a:cxn ang="0">
                      <a:pos x="468" y="233"/>
                    </a:cxn>
                    <a:cxn ang="0">
                      <a:pos x="466" y="265"/>
                    </a:cxn>
                    <a:cxn ang="0">
                      <a:pos x="460" y="295"/>
                    </a:cxn>
                    <a:cxn ang="0">
                      <a:pos x="450" y="324"/>
                    </a:cxn>
                    <a:cxn ang="0">
                      <a:pos x="436" y="351"/>
                    </a:cxn>
                    <a:cxn ang="0">
                      <a:pos x="420" y="376"/>
                    </a:cxn>
                    <a:cxn ang="0">
                      <a:pos x="400" y="398"/>
                    </a:cxn>
                    <a:cxn ang="0">
                      <a:pos x="377" y="418"/>
                    </a:cxn>
                    <a:cxn ang="0">
                      <a:pos x="352" y="435"/>
                    </a:cxn>
                    <a:cxn ang="0">
                      <a:pos x="325" y="448"/>
                    </a:cxn>
                    <a:cxn ang="0">
                      <a:pos x="296" y="458"/>
                    </a:cxn>
                    <a:cxn ang="0">
                      <a:pos x="266" y="464"/>
                    </a:cxn>
                    <a:cxn ang="0">
                      <a:pos x="234" y="467"/>
                    </a:cxn>
                    <a:cxn ang="0">
                      <a:pos x="202" y="464"/>
                    </a:cxn>
                    <a:cxn ang="0">
                      <a:pos x="171" y="458"/>
                    </a:cxn>
                    <a:cxn ang="0">
                      <a:pos x="142" y="448"/>
                    </a:cxn>
                    <a:cxn ang="0">
                      <a:pos x="116" y="435"/>
                    </a:cxn>
                    <a:cxn ang="0">
                      <a:pos x="91" y="418"/>
                    </a:cxn>
                    <a:cxn ang="0">
                      <a:pos x="68" y="398"/>
                    </a:cxn>
                    <a:cxn ang="0">
                      <a:pos x="49" y="376"/>
                    </a:cxn>
                    <a:cxn ang="0">
                      <a:pos x="32" y="351"/>
                    </a:cxn>
                    <a:cxn ang="0">
                      <a:pos x="18" y="324"/>
                    </a:cxn>
                    <a:cxn ang="0">
                      <a:pos x="8" y="295"/>
                    </a:cxn>
                    <a:cxn ang="0">
                      <a:pos x="2" y="265"/>
                    </a:cxn>
                    <a:cxn ang="0">
                      <a:pos x="0" y="233"/>
                    </a:cxn>
                    <a:cxn ang="0">
                      <a:pos x="2" y="201"/>
                    </a:cxn>
                    <a:cxn ang="0">
                      <a:pos x="8" y="171"/>
                    </a:cxn>
                    <a:cxn ang="0">
                      <a:pos x="18" y="142"/>
                    </a:cxn>
                    <a:cxn ang="0">
                      <a:pos x="32" y="115"/>
                    </a:cxn>
                    <a:cxn ang="0">
                      <a:pos x="49" y="90"/>
                    </a:cxn>
                    <a:cxn ang="0">
                      <a:pos x="68" y="68"/>
                    </a:cxn>
                    <a:cxn ang="0">
                      <a:pos x="91" y="48"/>
                    </a:cxn>
                    <a:cxn ang="0">
                      <a:pos x="116" y="32"/>
                    </a:cxn>
                    <a:cxn ang="0">
                      <a:pos x="142" y="18"/>
                    </a:cxn>
                    <a:cxn ang="0">
                      <a:pos x="171" y="8"/>
                    </a:cxn>
                    <a:cxn ang="0">
                      <a:pos x="202" y="2"/>
                    </a:cxn>
                    <a:cxn ang="0">
                      <a:pos x="234" y="0"/>
                    </a:cxn>
                  </a:cxnLst>
                  <a:rect l="0" t="0" r="r" b="b"/>
                  <a:pathLst>
                    <a:path w="468" h="467">
                      <a:moveTo>
                        <a:pt x="234" y="0"/>
                      </a:moveTo>
                      <a:lnTo>
                        <a:pt x="266" y="2"/>
                      </a:lnTo>
                      <a:lnTo>
                        <a:pt x="296" y="8"/>
                      </a:lnTo>
                      <a:lnTo>
                        <a:pt x="325" y="18"/>
                      </a:lnTo>
                      <a:lnTo>
                        <a:pt x="352" y="32"/>
                      </a:lnTo>
                      <a:lnTo>
                        <a:pt x="377" y="48"/>
                      </a:lnTo>
                      <a:lnTo>
                        <a:pt x="400" y="68"/>
                      </a:lnTo>
                      <a:lnTo>
                        <a:pt x="420" y="90"/>
                      </a:lnTo>
                      <a:lnTo>
                        <a:pt x="436" y="115"/>
                      </a:lnTo>
                      <a:lnTo>
                        <a:pt x="450" y="142"/>
                      </a:lnTo>
                      <a:lnTo>
                        <a:pt x="460" y="171"/>
                      </a:lnTo>
                      <a:lnTo>
                        <a:pt x="466" y="201"/>
                      </a:lnTo>
                      <a:lnTo>
                        <a:pt x="468" y="233"/>
                      </a:lnTo>
                      <a:lnTo>
                        <a:pt x="466" y="265"/>
                      </a:lnTo>
                      <a:lnTo>
                        <a:pt x="460" y="295"/>
                      </a:lnTo>
                      <a:lnTo>
                        <a:pt x="450" y="324"/>
                      </a:lnTo>
                      <a:lnTo>
                        <a:pt x="436" y="351"/>
                      </a:lnTo>
                      <a:lnTo>
                        <a:pt x="420" y="376"/>
                      </a:lnTo>
                      <a:lnTo>
                        <a:pt x="400" y="398"/>
                      </a:lnTo>
                      <a:lnTo>
                        <a:pt x="377" y="418"/>
                      </a:lnTo>
                      <a:lnTo>
                        <a:pt x="352" y="435"/>
                      </a:lnTo>
                      <a:lnTo>
                        <a:pt x="325" y="448"/>
                      </a:lnTo>
                      <a:lnTo>
                        <a:pt x="296" y="458"/>
                      </a:lnTo>
                      <a:lnTo>
                        <a:pt x="266" y="464"/>
                      </a:lnTo>
                      <a:lnTo>
                        <a:pt x="234" y="467"/>
                      </a:lnTo>
                      <a:lnTo>
                        <a:pt x="202" y="464"/>
                      </a:lnTo>
                      <a:lnTo>
                        <a:pt x="171" y="458"/>
                      </a:lnTo>
                      <a:lnTo>
                        <a:pt x="142" y="448"/>
                      </a:lnTo>
                      <a:lnTo>
                        <a:pt x="116" y="435"/>
                      </a:lnTo>
                      <a:lnTo>
                        <a:pt x="91" y="418"/>
                      </a:lnTo>
                      <a:lnTo>
                        <a:pt x="68" y="398"/>
                      </a:lnTo>
                      <a:lnTo>
                        <a:pt x="49" y="376"/>
                      </a:lnTo>
                      <a:lnTo>
                        <a:pt x="32" y="351"/>
                      </a:lnTo>
                      <a:lnTo>
                        <a:pt x="18" y="324"/>
                      </a:lnTo>
                      <a:lnTo>
                        <a:pt x="8" y="295"/>
                      </a:lnTo>
                      <a:lnTo>
                        <a:pt x="2" y="265"/>
                      </a:lnTo>
                      <a:lnTo>
                        <a:pt x="0" y="233"/>
                      </a:lnTo>
                      <a:lnTo>
                        <a:pt x="2" y="201"/>
                      </a:lnTo>
                      <a:lnTo>
                        <a:pt x="8" y="171"/>
                      </a:lnTo>
                      <a:lnTo>
                        <a:pt x="18" y="142"/>
                      </a:lnTo>
                      <a:lnTo>
                        <a:pt x="32" y="115"/>
                      </a:lnTo>
                      <a:lnTo>
                        <a:pt x="49" y="90"/>
                      </a:lnTo>
                      <a:lnTo>
                        <a:pt x="68" y="68"/>
                      </a:lnTo>
                      <a:lnTo>
                        <a:pt x="91" y="48"/>
                      </a:lnTo>
                      <a:lnTo>
                        <a:pt x="116" y="32"/>
                      </a:lnTo>
                      <a:lnTo>
                        <a:pt x="142" y="18"/>
                      </a:lnTo>
                      <a:lnTo>
                        <a:pt x="171" y="8"/>
                      </a:lnTo>
                      <a:lnTo>
                        <a:pt x="202" y="2"/>
                      </a:lnTo>
                      <a:lnTo>
                        <a:pt x="234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128302" tIns="64151" rIns="128302" bIns="6415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710448"/>
                  <a:endParaRPr lang="en-US" sz="3368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467" name="Freeform 14"/>
                <p:cNvSpPr>
                  <a:spLocks/>
                </p:cNvSpPr>
                <p:nvPr/>
              </p:nvSpPr>
              <p:spPr bwMode="auto">
                <a:xfrm>
                  <a:off x="5746750" y="2935288"/>
                  <a:ext cx="695325" cy="36036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" y="31"/>
                    </a:cxn>
                    <a:cxn ang="0">
                      <a:pos x="12" y="60"/>
                    </a:cxn>
                    <a:cxn ang="0">
                      <a:pos x="23" y="89"/>
                    </a:cxn>
                    <a:cxn ang="0">
                      <a:pos x="38" y="114"/>
                    </a:cxn>
                    <a:cxn ang="0">
                      <a:pos x="56" y="137"/>
                    </a:cxn>
                    <a:cxn ang="0">
                      <a:pos x="78" y="158"/>
                    </a:cxn>
                    <a:cxn ang="0">
                      <a:pos x="102" y="176"/>
                    </a:cxn>
                    <a:cxn ang="0">
                      <a:pos x="128" y="190"/>
                    </a:cxn>
                    <a:cxn ang="0">
                      <a:pos x="157" y="200"/>
                    </a:cxn>
                    <a:cxn ang="0">
                      <a:pos x="187" y="207"/>
                    </a:cxn>
                    <a:cxn ang="0">
                      <a:pos x="219" y="209"/>
                    </a:cxn>
                    <a:cxn ang="0">
                      <a:pos x="250" y="207"/>
                    </a:cxn>
                    <a:cxn ang="0">
                      <a:pos x="280" y="200"/>
                    </a:cxn>
                    <a:cxn ang="0">
                      <a:pos x="309" y="190"/>
                    </a:cxn>
                    <a:cxn ang="0">
                      <a:pos x="335" y="176"/>
                    </a:cxn>
                    <a:cxn ang="0">
                      <a:pos x="360" y="158"/>
                    </a:cxn>
                    <a:cxn ang="0">
                      <a:pos x="381" y="137"/>
                    </a:cxn>
                    <a:cxn ang="0">
                      <a:pos x="399" y="114"/>
                    </a:cxn>
                    <a:cxn ang="0">
                      <a:pos x="414" y="89"/>
                    </a:cxn>
                    <a:cxn ang="0">
                      <a:pos x="426" y="60"/>
                    </a:cxn>
                    <a:cxn ang="0">
                      <a:pos x="433" y="31"/>
                    </a:cxn>
                    <a:cxn ang="0">
                      <a:pos x="437" y="0"/>
                    </a:cxn>
                    <a:cxn ang="0">
                      <a:pos x="437" y="3"/>
                    </a:cxn>
                    <a:cxn ang="0">
                      <a:pos x="438" y="5"/>
                    </a:cxn>
                    <a:cxn ang="0">
                      <a:pos x="438" y="8"/>
                    </a:cxn>
                    <a:cxn ang="0">
                      <a:pos x="436" y="41"/>
                    </a:cxn>
                    <a:cxn ang="0">
                      <a:pos x="429" y="71"/>
                    </a:cxn>
                    <a:cxn ang="0">
                      <a:pos x="417" y="100"/>
                    </a:cxn>
                    <a:cxn ang="0">
                      <a:pos x="403" y="127"/>
                    </a:cxn>
                    <a:cxn ang="0">
                      <a:pos x="384" y="152"/>
                    </a:cxn>
                    <a:cxn ang="0">
                      <a:pos x="363" y="173"/>
                    </a:cxn>
                    <a:cxn ang="0">
                      <a:pos x="338" y="192"/>
                    </a:cxn>
                    <a:cxn ang="0">
                      <a:pos x="311" y="206"/>
                    </a:cxn>
                    <a:cxn ang="0">
                      <a:pos x="282" y="218"/>
                    </a:cxn>
                    <a:cxn ang="0">
                      <a:pos x="251" y="224"/>
                    </a:cxn>
                    <a:cxn ang="0">
                      <a:pos x="219" y="227"/>
                    </a:cxn>
                    <a:cxn ang="0">
                      <a:pos x="186" y="224"/>
                    </a:cxn>
                    <a:cxn ang="0">
                      <a:pos x="155" y="218"/>
                    </a:cxn>
                    <a:cxn ang="0">
                      <a:pos x="127" y="206"/>
                    </a:cxn>
                    <a:cxn ang="0">
                      <a:pos x="100" y="192"/>
                    </a:cxn>
                    <a:cxn ang="0">
                      <a:pos x="76" y="173"/>
                    </a:cxn>
                    <a:cxn ang="0">
                      <a:pos x="53" y="152"/>
                    </a:cxn>
                    <a:cxn ang="0">
                      <a:pos x="35" y="127"/>
                    </a:cxn>
                    <a:cxn ang="0">
                      <a:pos x="21" y="100"/>
                    </a:cxn>
                    <a:cxn ang="0">
                      <a:pos x="9" y="71"/>
                    </a:cxn>
                    <a:cxn ang="0">
                      <a:pos x="2" y="41"/>
                    </a:cxn>
                    <a:cxn ang="0">
                      <a:pos x="0" y="8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38" h="227">
                      <a:moveTo>
                        <a:pt x="0" y="0"/>
                      </a:moveTo>
                      <a:lnTo>
                        <a:pt x="4" y="31"/>
                      </a:lnTo>
                      <a:lnTo>
                        <a:pt x="12" y="60"/>
                      </a:lnTo>
                      <a:lnTo>
                        <a:pt x="23" y="89"/>
                      </a:lnTo>
                      <a:lnTo>
                        <a:pt x="38" y="114"/>
                      </a:lnTo>
                      <a:lnTo>
                        <a:pt x="56" y="137"/>
                      </a:lnTo>
                      <a:lnTo>
                        <a:pt x="78" y="158"/>
                      </a:lnTo>
                      <a:lnTo>
                        <a:pt x="102" y="176"/>
                      </a:lnTo>
                      <a:lnTo>
                        <a:pt x="128" y="190"/>
                      </a:lnTo>
                      <a:lnTo>
                        <a:pt x="157" y="200"/>
                      </a:lnTo>
                      <a:lnTo>
                        <a:pt x="187" y="207"/>
                      </a:lnTo>
                      <a:lnTo>
                        <a:pt x="219" y="209"/>
                      </a:lnTo>
                      <a:lnTo>
                        <a:pt x="250" y="207"/>
                      </a:lnTo>
                      <a:lnTo>
                        <a:pt x="280" y="200"/>
                      </a:lnTo>
                      <a:lnTo>
                        <a:pt x="309" y="190"/>
                      </a:lnTo>
                      <a:lnTo>
                        <a:pt x="335" y="176"/>
                      </a:lnTo>
                      <a:lnTo>
                        <a:pt x="360" y="158"/>
                      </a:lnTo>
                      <a:lnTo>
                        <a:pt x="381" y="137"/>
                      </a:lnTo>
                      <a:lnTo>
                        <a:pt x="399" y="114"/>
                      </a:lnTo>
                      <a:lnTo>
                        <a:pt x="414" y="89"/>
                      </a:lnTo>
                      <a:lnTo>
                        <a:pt x="426" y="60"/>
                      </a:lnTo>
                      <a:lnTo>
                        <a:pt x="433" y="31"/>
                      </a:lnTo>
                      <a:lnTo>
                        <a:pt x="437" y="0"/>
                      </a:lnTo>
                      <a:lnTo>
                        <a:pt x="437" y="3"/>
                      </a:lnTo>
                      <a:lnTo>
                        <a:pt x="438" y="5"/>
                      </a:lnTo>
                      <a:lnTo>
                        <a:pt x="438" y="8"/>
                      </a:lnTo>
                      <a:lnTo>
                        <a:pt x="436" y="41"/>
                      </a:lnTo>
                      <a:lnTo>
                        <a:pt x="429" y="71"/>
                      </a:lnTo>
                      <a:lnTo>
                        <a:pt x="417" y="100"/>
                      </a:lnTo>
                      <a:lnTo>
                        <a:pt x="403" y="127"/>
                      </a:lnTo>
                      <a:lnTo>
                        <a:pt x="384" y="152"/>
                      </a:lnTo>
                      <a:lnTo>
                        <a:pt x="363" y="173"/>
                      </a:lnTo>
                      <a:lnTo>
                        <a:pt x="338" y="192"/>
                      </a:lnTo>
                      <a:lnTo>
                        <a:pt x="311" y="206"/>
                      </a:lnTo>
                      <a:lnTo>
                        <a:pt x="282" y="218"/>
                      </a:lnTo>
                      <a:lnTo>
                        <a:pt x="251" y="224"/>
                      </a:lnTo>
                      <a:lnTo>
                        <a:pt x="219" y="227"/>
                      </a:lnTo>
                      <a:lnTo>
                        <a:pt x="186" y="224"/>
                      </a:lnTo>
                      <a:lnTo>
                        <a:pt x="155" y="218"/>
                      </a:lnTo>
                      <a:lnTo>
                        <a:pt x="127" y="206"/>
                      </a:lnTo>
                      <a:lnTo>
                        <a:pt x="100" y="192"/>
                      </a:lnTo>
                      <a:lnTo>
                        <a:pt x="76" y="173"/>
                      </a:lnTo>
                      <a:lnTo>
                        <a:pt x="53" y="152"/>
                      </a:lnTo>
                      <a:lnTo>
                        <a:pt x="35" y="127"/>
                      </a:lnTo>
                      <a:lnTo>
                        <a:pt x="21" y="100"/>
                      </a:lnTo>
                      <a:lnTo>
                        <a:pt x="9" y="71"/>
                      </a:lnTo>
                      <a:lnTo>
                        <a:pt x="2" y="41"/>
                      </a:ln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>
                    <a:alpha val="33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128302" tIns="64151" rIns="128302" bIns="6415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710448"/>
                  <a:endParaRPr lang="en-US" sz="3368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463" name="Group 35"/>
              <p:cNvGrpSpPr/>
              <p:nvPr/>
            </p:nvGrpSpPr>
            <p:grpSpPr>
              <a:xfrm>
                <a:off x="2442609" y="3616581"/>
                <a:ext cx="708825" cy="708825"/>
                <a:chOff x="5722943" y="3481390"/>
                <a:chExt cx="742950" cy="742950"/>
              </a:xfrm>
              <a:effectLst>
                <a:outerShdw blurRad="38100" dist="63500" dir="2700000" algn="tl" rotWithShape="0">
                  <a:prstClr val="black">
                    <a:alpha val="99000"/>
                  </a:prstClr>
                </a:outerShdw>
              </a:effectLst>
            </p:grpSpPr>
            <p:sp>
              <p:nvSpPr>
                <p:cNvPr id="464" name="Freeform 9"/>
                <p:cNvSpPr>
                  <a:spLocks/>
                </p:cNvSpPr>
                <p:nvPr/>
              </p:nvSpPr>
              <p:spPr bwMode="auto">
                <a:xfrm>
                  <a:off x="5722943" y="3481390"/>
                  <a:ext cx="742950" cy="742950"/>
                </a:xfrm>
                <a:custGeom>
                  <a:avLst/>
                  <a:gdLst/>
                  <a:ahLst/>
                  <a:cxnLst>
                    <a:cxn ang="0">
                      <a:pos x="234" y="0"/>
                    </a:cxn>
                    <a:cxn ang="0">
                      <a:pos x="266" y="3"/>
                    </a:cxn>
                    <a:cxn ang="0">
                      <a:pos x="296" y="9"/>
                    </a:cxn>
                    <a:cxn ang="0">
                      <a:pos x="325" y="19"/>
                    </a:cxn>
                    <a:cxn ang="0">
                      <a:pos x="352" y="32"/>
                    </a:cxn>
                    <a:cxn ang="0">
                      <a:pos x="377" y="49"/>
                    </a:cxn>
                    <a:cxn ang="0">
                      <a:pos x="400" y="69"/>
                    </a:cxn>
                    <a:cxn ang="0">
                      <a:pos x="420" y="91"/>
                    </a:cxn>
                    <a:cxn ang="0">
                      <a:pos x="436" y="116"/>
                    </a:cxn>
                    <a:cxn ang="0">
                      <a:pos x="450" y="142"/>
                    </a:cxn>
                    <a:cxn ang="0">
                      <a:pos x="460" y="171"/>
                    </a:cxn>
                    <a:cxn ang="0">
                      <a:pos x="466" y="202"/>
                    </a:cxn>
                    <a:cxn ang="0">
                      <a:pos x="468" y="234"/>
                    </a:cxn>
                    <a:cxn ang="0">
                      <a:pos x="466" y="266"/>
                    </a:cxn>
                    <a:cxn ang="0">
                      <a:pos x="460" y="296"/>
                    </a:cxn>
                    <a:cxn ang="0">
                      <a:pos x="450" y="325"/>
                    </a:cxn>
                    <a:cxn ang="0">
                      <a:pos x="436" y="351"/>
                    </a:cxn>
                    <a:cxn ang="0">
                      <a:pos x="420" y="376"/>
                    </a:cxn>
                    <a:cxn ang="0">
                      <a:pos x="400" y="399"/>
                    </a:cxn>
                    <a:cxn ang="0">
                      <a:pos x="377" y="419"/>
                    </a:cxn>
                    <a:cxn ang="0">
                      <a:pos x="352" y="436"/>
                    </a:cxn>
                    <a:cxn ang="0">
                      <a:pos x="325" y="449"/>
                    </a:cxn>
                    <a:cxn ang="0">
                      <a:pos x="296" y="459"/>
                    </a:cxn>
                    <a:cxn ang="0">
                      <a:pos x="266" y="465"/>
                    </a:cxn>
                    <a:cxn ang="0">
                      <a:pos x="234" y="468"/>
                    </a:cxn>
                    <a:cxn ang="0">
                      <a:pos x="202" y="465"/>
                    </a:cxn>
                    <a:cxn ang="0">
                      <a:pos x="171" y="459"/>
                    </a:cxn>
                    <a:cxn ang="0">
                      <a:pos x="142" y="449"/>
                    </a:cxn>
                    <a:cxn ang="0">
                      <a:pos x="116" y="436"/>
                    </a:cxn>
                    <a:cxn ang="0">
                      <a:pos x="91" y="419"/>
                    </a:cxn>
                    <a:cxn ang="0">
                      <a:pos x="68" y="399"/>
                    </a:cxn>
                    <a:cxn ang="0">
                      <a:pos x="49" y="376"/>
                    </a:cxn>
                    <a:cxn ang="0">
                      <a:pos x="32" y="351"/>
                    </a:cxn>
                    <a:cxn ang="0">
                      <a:pos x="18" y="325"/>
                    </a:cxn>
                    <a:cxn ang="0">
                      <a:pos x="8" y="296"/>
                    </a:cxn>
                    <a:cxn ang="0">
                      <a:pos x="2" y="266"/>
                    </a:cxn>
                    <a:cxn ang="0">
                      <a:pos x="0" y="234"/>
                    </a:cxn>
                    <a:cxn ang="0">
                      <a:pos x="2" y="202"/>
                    </a:cxn>
                    <a:cxn ang="0">
                      <a:pos x="8" y="171"/>
                    </a:cxn>
                    <a:cxn ang="0">
                      <a:pos x="18" y="142"/>
                    </a:cxn>
                    <a:cxn ang="0">
                      <a:pos x="32" y="116"/>
                    </a:cxn>
                    <a:cxn ang="0">
                      <a:pos x="49" y="91"/>
                    </a:cxn>
                    <a:cxn ang="0">
                      <a:pos x="68" y="69"/>
                    </a:cxn>
                    <a:cxn ang="0">
                      <a:pos x="91" y="49"/>
                    </a:cxn>
                    <a:cxn ang="0">
                      <a:pos x="116" y="32"/>
                    </a:cxn>
                    <a:cxn ang="0">
                      <a:pos x="142" y="19"/>
                    </a:cxn>
                    <a:cxn ang="0">
                      <a:pos x="171" y="9"/>
                    </a:cxn>
                    <a:cxn ang="0">
                      <a:pos x="202" y="3"/>
                    </a:cxn>
                    <a:cxn ang="0">
                      <a:pos x="234" y="0"/>
                    </a:cxn>
                  </a:cxnLst>
                  <a:rect l="0" t="0" r="r" b="b"/>
                  <a:pathLst>
                    <a:path w="468" h="468">
                      <a:moveTo>
                        <a:pt x="234" y="0"/>
                      </a:moveTo>
                      <a:lnTo>
                        <a:pt x="266" y="3"/>
                      </a:lnTo>
                      <a:lnTo>
                        <a:pt x="296" y="9"/>
                      </a:lnTo>
                      <a:lnTo>
                        <a:pt x="325" y="19"/>
                      </a:lnTo>
                      <a:lnTo>
                        <a:pt x="352" y="32"/>
                      </a:lnTo>
                      <a:lnTo>
                        <a:pt x="377" y="49"/>
                      </a:lnTo>
                      <a:lnTo>
                        <a:pt x="400" y="69"/>
                      </a:lnTo>
                      <a:lnTo>
                        <a:pt x="420" y="91"/>
                      </a:lnTo>
                      <a:lnTo>
                        <a:pt x="436" y="116"/>
                      </a:lnTo>
                      <a:lnTo>
                        <a:pt x="450" y="142"/>
                      </a:lnTo>
                      <a:lnTo>
                        <a:pt x="460" y="171"/>
                      </a:lnTo>
                      <a:lnTo>
                        <a:pt x="466" y="202"/>
                      </a:lnTo>
                      <a:lnTo>
                        <a:pt x="468" y="234"/>
                      </a:lnTo>
                      <a:lnTo>
                        <a:pt x="466" y="266"/>
                      </a:lnTo>
                      <a:lnTo>
                        <a:pt x="460" y="296"/>
                      </a:lnTo>
                      <a:lnTo>
                        <a:pt x="450" y="325"/>
                      </a:lnTo>
                      <a:lnTo>
                        <a:pt x="436" y="351"/>
                      </a:lnTo>
                      <a:lnTo>
                        <a:pt x="420" y="376"/>
                      </a:lnTo>
                      <a:lnTo>
                        <a:pt x="400" y="399"/>
                      </a:lnTo>
                      <a:lnTo>
                        <a:pt x="377" y="419"/>
                      </a:lnTo>
                      <a:lnTo>
                        <a:pt x="352" y="436"/>
                      </a:lnTo>
                      <a:lnTo>
                        <a:pt x="325" y="449"/>
                      </a:lnTo>
                      <a:lnTo>
                        <a:pt x="296" y="459"/>
                      </a:lnTo>
                      <a:lnTo>
                        <a:pt x="266" y="465"/>
                      </a:lnTo>
                      <a:lnTo>
                        <a:pt x="234" y="468"/>
                      </a:lnTo>
                      <a:lnTo>
                        <a:pt x="202" y="465"/>
                      </a:lnTo>
                      <a:lnTo>
                        <a:pt x="171" y="459"/>
                      </a:lnTo>
                      <a:lnTo>
                        <a:pt x="142" y="449"/>
                      </a:lnTo>
                      <a:lnTo>
                        <a:pt x="116" y="436"/>
                      </a:lnTo>
                      <a:lnTo>
                        <a:pt x="91" y="419"/>
                      </a:lnTo>
                      <a:lnTo>
                        <a:pt x="68" y="399"/>
                      </a:lnTo>
                      <a:lnTo>
                        <a:pt x="49" y="376"/>
                      </a:lnTo>
                      <a:lnTo>
                        <a:pt x="32" y="351"/>
                      </a:lnTo>
                      <a:lnTo>
                        <a:pt x="18" y="325"/>
                      </a:lnTo>
                      <a:lnTo>
                        <a:pt x="8" y="296"/>
                      </a:lnTo>
                      <a:lnTo>
                        <a:pt x="2" y="266"/>
                      </a:lnTo>
                      <a:lnTo>
                        <a:pt x="0" y="234"/>
                      </a:lnTo>
                      <a:lnTo>
                        <a:pt x="2" y="202"/>
                      </a:lnTo>
                      <a:lnTo>
                        <a:pt x="8" y="171"/>
                      </a:lnTo>
                      <a:lnTo>
                        <a:pt x="18" y="142"/>
                      </a:lnTo>
                      <a:lnTo>
                        <a:pt x="32" y="116"/>
                      </a:lnTo>
                      <a:lnTo>
                        <a:pt x="49" y="91"/>
                      </a:lnTo>
                      <a:lnTo>
                        <a:pt x="68" y="69"/>
                      </a:lnTo>
                      <a:lnTo>
                        <a:pt x="91" y="49"/>
                      </a:lnTo>
                      <a:lnTo>
                        <a:pt x="116" y="32"/>
                      </a:lnTo>
                      <a:lnTo>
                        <a:pt x="142" y="19"/>
                      </a:lnTo>
                      <a:lnTo>
                        <a:pt x="171" y="9"/>
                      </a:lnTo>
                      <a:lnTo>
                        <a:pt x="202" y="3"/>
                      </a:lnTo>
                      <a:lnTo>
                        <a:pt x="234" y="0"/>
                      </a:lnTo>
                      <a:close/>
                    </a:path>
                  </a:pathLst>
                </a:custGeom>
                <a:noFill/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128302" tIns="64151" rIns="128302" bIns="6415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710448"/>
                  <a:endParaRPr lang="en-US" sz="3368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465" name="Freeform 12"/>
                <p:cNvSpPr>
                  <a:spLocks/>
                </p:cNvSpPr>
                <p:nvPr/>
              </p:nvSpPr>
              <p:spPr bwMode="auto">
                <a:xfrm>
                  <a:off x="5746750" y="3838576"/>
                  <a:ext cx="695325" cy="36036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" y="31"/>
                    </a:cxn>
                    <a:cxn ang="0">
                      <a:pos x="12" y="60"/>
                    </a:cxn>
                    <a:cxn ang="0">
                      <a:pos x="23" y="88"/>
                    </a:cxn>
                    <a:cxn ang="0">
                      <a:pos x="38" y="114"/>
                    </a:cxn>
                    <a:cxn ang="0">
                      <a:pos x="56" y="137"/>
                    </a:cxn>
                    <a:cxn ang="0">
                      <a:pos x="78" y="157"/>
                    </a:cxn>
                    <a:cxn ang="0">
                      <a:pos x="102" y="176"/>
                    </a:cxn>
                    <a:cxn ang="0">
                      <a:pos x="128" y="189"/>
                    </a:cxn>
                    <a:cxn ang="0">
                      <a:pos x="157" y="200"/>
                    </a:cxn>
                    <a:cxn ang="0">
                      <a:pos x="187" y="207"/>
                    </a:cxn>
                    <a:cxn ang="0">
                      <a:pos x="219" y="209"/>
                    </a:cxn>
                    <a:cxn ang="0">
                      <a:pos x="250" y="207"/>
                    </a:cxn>
                    <a:cxn ang="0">
                      <a:pos x="280" y="200"/>
                    </a:cxn>
                    <a:cxn ang="0">
                      <a:pos x="309" y="189"/>
                    </a:cxn>
                    <a:cxn ang="0">
                      <a:pos x="335" y="176"/>
                    </a:cxn>
                    <a:cxn ang="0">
                      <a:pos x="360" y="157"/>
                    </a:cxn>
                    <a:cxn ang="0">
                      <a:pos x="381" y="137"/>
                    </a:cxn>
                    <a:cxn ang="0">
                      <a:pos x="399" y="114"/>
                    </a:cxn>
                    <a:cxn ang="0">
                      <a:pos x="414" y="88"/>
                    </a:cxn>
                    <a:cxn ang="0">
                      <a:pos x="426" y="60"/>
                    </a:cxn>
                    <a:cxn ang="0">
                      <a:pos x="433" y="31"/>
                    </a:cxn>
                    <a:cxn ang="0">
                      <a:pos x="437" y="0"/>
                    </a:cxn>
                    <a:cxn ang="0">
                      <a:pos x="437" y="3"/>
                    </a:cxn>
                    <a:cxn ang="0">
                      <a:pos x="438" y="5"/>
                    </a:cxn>
                    <a:cxn ang="0">
                      <a:pos x="438" y="8"/>
                    </a:cxn>
                    <a:cxn ang="0">
                      <a:pos x="436" y="41"/>
                    </a:cxn>
                    <a:cxn ang="0">
                      <a:pos x="429" y="71"/>
                    </a:cxn>
                    <a:cxn ang="0">
                      <a:pos x="417" y="100"/>
                    </a:cxn>
                    <a:cxn ang="0">
                      <a:pos x="403" y="127"/>
                    </a:cxn>
                    <a:cxn ang="0">
                      <a:pos x="384" y="151"/>
                    </a:cxn>
                    <a:cxn ang="0">
                      <a:pos x="363" y="173"/>
                    </a:cxn>
                    <a:cxn ang="0">
                      <a:pos x="338" y="192"/>
                    </a:cxn>
                    <a:cxn ang="0">
                      <a:pos x="311" y="206"/>
                    </a:cxn>
                    <a:cxn ang="0">
                      <a:pos x="282" y="217"/>
                    </a:cxn>
                    <a:cxn ang="0">
                      <a:pos x="251" y="224"/>
                    </a:cxn>
                    <a:cxn ang="0">
                      <a:pos x="219" y="227"/>
                    </a:cxn>
                    <a:cxn ang="0">
                      <a:pos x="186" y="224"/>
                    </a:cxn>
                    <a:cxn ang="0">
                      <a:pos x="155" y="217"/>
                    </a:cxn>
                    <a:cxn ang="0">
                      <a:pos x="127" y="206"/>
                    </a:cxn>
                    <a:cxn ang="0">
                      <a:pos x="100" y="192"/>
                    </a:cxn>
                    <a:cxn ang="0">
                      <a:pos x="76" y="173"/>
                    </a:cxn>
                    <a:cxn ang="0">
                      <a:pos x="53" y="151"/>
                    </a:cxn>
                    <a:cxn ang="0">
                      <a:pos x="35" y="127"/>
                    </a:cxn>
                    <a:cxn ang="0">
                      <a:pos x="21" y="100"/>
                    </a:cxn>
                    <a:cxn ang="0">
                      <a:pos x="9" y="71"/>
                    </a:cxn>
                    <a:cxn ang="0">
                      <a:pos x="2" y="41"/>
                    </a:cxn>
                    <a:cxn ang="0">
                      <a:pos x="0" y="8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38" h="227">
                      <a:moveTo>
                        <a:pt x="0" y="0"/>
                      </a:moveTo>
                      <a:lnTo>
                        <a:pt x="4" y="31"/>
                      </a:lnTo>
                      <a:lnTo>
                        <a:pt x="12" y="60"/>
                      </a:lnTo>
                      <a:lnTo>
                        <a:pt x="23" y="88"/>
                      </a:lnTo>
                      <a:lnTo>
                        <a:pt x="38" y="114"/>
                      </a:lnTo>
                      <a:lnTo>
                        <a:pt x="56" y="137"/>
                      </a:lnTo>
                      <a:lnTo>
                        <a:pt x="78" y="157"/>
                      </a:lnTo>
                      <a:lnTo>
                        <a:pt x="102" y="176"/>
                      </a:lnTo>
                      <a:lnTo>
                        <a:pt x="128" y="189"/>
                      </a:lnTo>
                      <a:lnTo>
                        <a:pt x="157" y="200"/>
                      </a:lnTo>
                      <a:lnTo>
                        <a:pt x="187" y="207"/>
                      </a:lnTo>
                      <a:lnTo>
                        <a:pt x="219" y="209"/>
                      </a:lnTo>
                      <a:lnTo>
                        <a:pt x="250" y="207"/>
                      </a:lnTo>
                      <a:lnTo>
                        <a:pt x="280" y="200"/>
                      </a:lnTo>
                      <a:lnTo>
                        <a:pt x="309" y="189"/>
                      </a:lnTo>
                      <a:lnTo>
                        <a:pt x="335" y="176"/>
                      </a:lnTo>
                      <a:lnTo>
                        <a:pt x="360" y="157"/>
                      </a:lnTo>
                      <a:lnTo>
                        <a:pt x="381" y="137"/>
                      </a:lnTo>
                      <a:lnTo>
                        <a:pt x="399" y="114"/>
                      </a:lnTo>
                      <a:lnTo>
                        <a:pt x="414" y="88"/>
                      </a:lnTo>
                      <a:lnTo>
                        <a:pt x="426" y="60"/>
                      </a:lnTo>
                      <a:lnTo>
                        <a:pt x="433" y="31"/>
                      </a:lnTo>
                      <a:lnTo>
                        <a:pt x="437" y="0"/>
                      </a:lnTo>
                      <a:lnTo>
                        <a:pt x="437" y="3"/>
                      </a:lnTo>
                      <a:lnTo>
                        <a:pt x="438" y="5"/>
                      </a:lnTo>
                      <a:lnTo>
                        <a:pt x="438" y="8"/>
                      </a:lnTo>
                      <a:lnTo>
                        <a:pt x="436" y="41"/>
                      </a:lnTo>
                      <a:lnTo>
                        <a:pt x="429" y="71"/>
                      </a:lnTo>
                      <a:lnTo>
                        <a:pt x="417" y="100"/>
                      </a:lnTo>
                      <a:lnTo>
                        <a:pt x="403" y="127"/>
                      </a:lnTo>
                      <a:lnTo>
                        <a:pt x="384" y="151"/>
                      </a:lnTo>
                      <a:lnTo>
                        <a:pt x="363" y="173"/>
                      </a:lnTo>
                      <a:lnTo>
                        <a:pt x="338" y="192"/>
                      </a:lnTo>
                      <a:lnTo>
                        <a:pt x="311" y="206"/>
                      </a:lnTo>
                      <a:lnTo>
                        <a:pt x="282" y="217"/>
                      </a:lnTo>
                      <a:lnTo>
                        <a:pt x="251" y="224"/>
                      </a:lnTo>
                      <a:lnTo>
                        <a:pt x="219" y="227"/>
                      </a:lnTo>
                      <a:lnTo>
                        <a:pt x="186" y="224"/>
                      </a:lnTo>
                      <a:lnTo>
                        <a:pt x="155" y="217"/>
                      </a:lnTo>
                      <a:lnTo>
                        <a:pt x="127" y="206"/>
                      </a:lnTo>
                      <a:lnTo>
                        <a:pt x="100" y="192"/>
                      </a:lnTo>
                      <a:lnTo>
                        <a:pt x="76" y="173"/>
                      </a:lnTo>
                      <a:lnTo>
                        <a:pt x="53" y="151"/>
                      </a:lnTo>
                      <a:lnTo>
                        <a:pt x="35" y="127"/>
                      </a:lnTo>
                      <a:lnTo>
                        <a:pt x="21" y="100"/>
                      </a:lnTo>
                      <a:lnTo>
                        <a:pt x="9" y="71"/>
                      </a:lnTo>
                      <a:lnTo>
                        <a:pt x="2" y="41"/>
                      </a:ln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>
                    <a:alpha val="33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128302" tIns="64151" rIns="128302" bIns="6415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710448"/>
                  <a:endParaRPr lang="en-US" sz="3368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</p:grpSp>
        </p:grpSp>
      </p:grpSp>
      <p:sp>
        <p:nvSpPr>
          <p:cNvPr id="480" name="Rectangle 479"/>
          <p:cNvSpPr/>
          <p:nvPr/>
        </p:nvSpPr>
        <p:spPr>
          <a:xfrm>
            <a:off x="3652575" y="4610013"/>
            <a:ext cx="1717707" cy="2070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121920" rIns="54611" bIns="54611" rtlCol="0" anchor="t"/>
          <a:lstStyle/>
          <a:p>
            <a:pPr marL="228595" indent="-228595" defTabSz="1058286">
              <a:buFont typeface="Arial" panose="020B0604020202020204" pitchFamily="34" charset="0"/>
              <a:buChar char="•"/>
            </a:pPr>
            <a:r>
              <a:rPr lang="en-US" sz="1200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None Noted</a:t>
            </a:r>
            <a:endParaRPr lang="en-US" sz="1500">
              <a:solidFill>
                <a:prstClr val="white"/>
              </a:solidFill>
              <a:latin typeface="Arial"/>
            </a:endParaRPr>
          </a:p>
        </p:txBody>
      </p:sp>
      <p:sp>
        <p:nvSpPr>
          <p:cNvPr id="481" name="Round Same Side Corner Rectangle 480"/>
          <p:cNvSpPr/>
          <p:nvPr/>
        </p:nvSpPr>
        <p:spPr>
          <a:xfrm>
            <a:off x="3652575" y="4305118"/>
            <a:ext cx="1717707" cy="331382"/>
          </a:xfrm>
          <a:prstGeom prst="round2Same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</p:spPr>
        <p:txBody>
          <a:bodyPr wrap="square" lIns="121920" tIns="0" bIns="60960" anchor="ctr">
            <a:noAutofit/>
          </a:bodyPr>
          <a:lstStyle/>
          <a:p>
            <a:pPr defTabSz="1058286"/>
            <a:r>
              <a:rPr lang="en-US" sz="1400" b="1">
                <a:solidFill>
                  <a:prstClr val="white"/>
                </a:solidFill>
                <a:latin typeface="Arial"/>
                <a:cs typeface="DIN Next LT Arabic"/>
              </a:rPr>
              <a:t>Dependency </a:t>
            </a:r>
          </a:p>
        </p:txBody>
      </p:sp>
      <p:grpSp>
        <p:nvGrpSpPr>
          <p:cNvPr id="482" name="Group 481"/>
          <p:cNvGrpSpPr/>
          <p:nvPr/>
        </p:nvGrpSpPr>
        <p:grpSpPr>
          <a:xfrm>
            <a:off x="3662317" y="6624523"/>
            <a:ext cx="1707969" cy="104129"/>
            <a:chOff x="170119" y="2637607"/>
            <a:chExt cx="2373357" cy="130724"/>
          </a:xfrm>
        </p:grpSpPr>
        <p:sp>
          <p:nvSpPr>
            <p:cNvPr id="483" name="Right Triangle 482"/>
            <p:cNvSpPr/>
            <p:nvPr/>
          </p:nvSpPr>
          <p:spPr>
            <a:xfrm flipH="1" flipV="1">
              <a:off x="173559" y="2637607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484" name="Right Triangle 483"/>
            <p:cNvSpPr/>
            <p:nvPr/>
          </p:nvSpPr>
          <p:spPr>
            <a:xfrm flipV="1">
              <a:off x="170119" y="2637607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</p:grpSp>
      <p:sp>
        <p:nvSpPr>
          <p:cNvPr id="523" name="Rectangle 522"/>
          <p:cNvSpPr/>
          <p:nvPr/>
        </p:nvSpPr>
        <p:spPr>
          <a:xfrm>
            <a:off x="5502664" y="4610013"/>
            <a:ext cx="1717707" cy="2070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121920" rIns="54611" bIns="54611" rtlCol="0" anchor="t"/>
          <a:lstStyle/>
          <a:p>
            <a:pPr marL="228595" indent="-228595" defTabSz="1058286">
              <a:buFont typeface="Arial" panose="020B0604020202020204" pitchFamily="34" charset="0"/>
              <a:buChar char="•"/>
            </a:pPr>
            <a:r>
              <a:rPr lang="en-US" sz="1200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No risks identified</a:t>
            </a:r>
          </a:p>
        </p:txBody>
      </p:sp>
      <p:sp>
        <p:nvSpPr>
          <p:cNvPr id="524" name="Round Same Side Corner Rectangle 523"/>
          <p:cNvSpPr/>
          <p:nvPr/>
        </p:nvSpPr>
        <p:spPr>
          <a:xfrm>
            <a:off x="5502664" y="4305118"/>
            <a:ext cx="1717707" cy="331382"/>
          </a:xfrm>
          <a:prstGeom prst="round2Same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</p:spPr>
        <p:txBody>
          <a:bodyPr wrap="square" lIns="121920" tIns="0" bIns="60960" anchor="ctr">
            <a:noAutofit/>
          </a:bodyPr>
          <a:lstStyle/>
          <a:p>
            <a:pPr defTabSz="1058286"/>
            <a:r>
              <a:rPr lang="en-US" sz="1400" b="1">
                <a:solidFill>
                  <a:prstClr val="white"/>
                </a:solidFill>
                <a:latin typeface="Arial"/>
                <a:cs typeface="DIN Next LT Arabic"/>
              </a:rPr>
              <a:t>Risk</a:t>
            </a:r>
          </a:p>
        </p:txBody>
      </p:sp>
      <p:grpSp>
        <p:nvGrpSpPr>
          <p:cNvPr id="525" name="Group 524"/>
          <p:cNvGrpSpPr/>
          <p:nvPr/>
        </p:nvGrpSpPr>
        <p:grpSpPr>
          <a:xfrm>
            <a:off x="5512403" y="6624523"/>
            <a:ext cx="1707969" cy="104129"/>
            <a:chOff x="170119" y="2637607"/>
            <a:chExt cx="2373357" cy="130724"/>
          </a:xfrm>
        </p:grpSpPr>
        <p:sp>
          <p:nvSpPr>
            <p:cNvPr id="526" name="Right Triangle 525"/>
            <p:cNvSpPr/>
            <p:nvPr/>
          </p:nvSpPr>
          <p:spPr>
            <a:xfrm flipH="1" flipV="1">
              <a:off x="173559" y="2637607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527" name="Right Triangle 526"/>
            <p:cNvSpPr/>
            <p:nvPr/>
          </p:nvSpPr>
          <p:spPr>
            <a:xfrm flipV="1">
              <a:off x="170119" y="2637607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</p:grpSp>
      <p:grpSp>
        <p:nvGrpSpPr>
          <p:cNvPr id="534" name="Group 84"/>
          <p:cNvGrpSpPr>
            <a:grpSpLocks noChangeAspect="1"/>
          </p:cNvGrpSpPr>
          <p:nvPr/>
        </p:nvGrpSpPr>
        <p:grpSpPr bwMode="auto">
          <a:xfrm>
            <a:off x="6855887" y="4334996"/>
            <a:ext cx="310301" cy="267459"/>
            <a:chOff x="3333" y="1722"/>
            <a:chExt cx="1014" cy="874"/>
          </a:xfrm>
          <a:solidFill>
            <a:schemeClr val="bg1"/>
          </a:solidFill>
        </p:grpSpPr>
        <p:sp>
          <p:nvSpPr>
            <p:cNvPr id="535" name="Freeform 85"/>
            <p:cNvSpPr>
              <a:spLocks noEditPoints="1"/>
            </p:cNvSpPr>
            <p:nvPr/>
          </p:nvSpPr>
          <p:spPr bwMode="auto">
            <a:xfrm>
              <a:off x="3333" y="1722"/>
              <a:ext cx="1014" cy="874"/>
            </a:xfrm>
            <a:custGeom>
              <a:avLst/>
              <a:gdLst>
                <a:gd name="T0" fmla="*/ 213 w 426"/>
                <a:gd name="T1" fmla="*/ 366 h 367"/>
                <a:gd name="T2" fmla="*/ 36 w 426"/>
                <a:gd name="T3" fmla="*/ 367 h 367"/>
                <a:gd name="T4" fmla="*/ 6 w 426"/>
                <a:gd name="T5" fmla="*/ 351 h 367"/>
                <a:gd name="T6" fmla="*/ 9 w 426"/>
                <a:gd name="T7" fmla="*/ 318 h 367"/>
                <a:gd name="T8" fmla="*/ 183 w 426"/>
                <a:gd name="T9" fmla="*/ 20 h 367"/>
                <a:gd name="T10" fmla="*/ 214 w 426"/>
                <a:gd name="T11" fmla="*/ 0 h 367"/>
                <a:gd name="T12" fmla="*/ 243 w 426"/>
                <a:gd name="T13" fmla="*/ 20 h 367"/>
                <a:gd name="T14" fmla="*/ 417 w 426"/>
                <a:gd name="T15" fmla="*/ 318 h 367"/>
                <a:gd name="T16" fmla="*/ 420 w 426"/>
                <a:gd name="T17" fmla="*/ 351 h 367"/>
                <a:gd name="T18" fmla="*/ 390 w 426"/>
                <a:gd name="T19" fmla="*/ 367 h 367"/>
                <a:gd name="T20" fmla="*/ 213 w 426"/>
                <a:gd name="T21" fmla="*/ 366 h 367"/>
                <a:gd name="T22" fmla="*/ 213 w 426"/>
                <a:gd name="T23" fmla="*/ 336 h 367"/>
                <a:gd name="T24" fmla="*/ 375 w 426"/>
                <a:gd name="T25" fmla="*/ 336 h 367"/>
                <a:gd name="T26" fmla="*/ 384 w 426"/>
                <a:gd name="T27" fmla="*/ 323 h 367"/>
                <a:gd name="T28" fmla="*/ 221 w 426"/>
                <a:gd name="T29" fmla="*/ 46 h 367"/>
                <a:gd name="T30" fmla="*/ 205 w 426"/>
                <a:gd name="T31" fmla="*/ 45 h 367"/>
                <a:gd name="T32" fmla="*/ 44 w 426"/>
                <a:gd name="T33" fmla="*/ 321 h 367"/>
                <a:gd name="T34" fmla="*/ 54 w 426"/>
                <a:gd name="T35" fmla="*/ 336 h 367"/>
                <a:gd name="T36" fmla="*/ 213 w 426"/>
                <a:gd name="T37" fmla="*/ 336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26" h="367">
                  <a:moveTo>
                    <a:pt x="213" y="366"/>
                  </a:moveTo>
                  <a:cubicBezTo>
                    <a:pt x="154" y="366"/>
                    <a:pt x="95" y="366"/>
                    <a:pt x="36" y="367"/>
                  </a:cubicBezTo>
                  <a:cubicBezTo>
                    <a:pt x="23" y="367"/>
                    <a:pt x="12" y="363"/>
                    <a:pt x="6" y="351"/>
                  </a:cubicBezTo>
                  <a:cubicBezTo>
                    <a:pt x="0" y="340"/>
                    <a:pt x="3" y="329"/>
                    <a:pt x="9" y="318"/>
                  </a:cubicBezTo>
                  <a:cubicBezTo>
                    <a:pt x="67" y="219"/>
                    <a:pt x="125" y="119"/>
                    <a:pt x="183" y="20"/>
                  </a:cubicBezTo>
                  <a:cubicBezTo>
                    <a:pt x="190" y="8"/>
                    <a:pt x="199" y="0"/>
                    <a:pt x="214" y="0"/>
                  </a:cubicBezTo>
                  <a:cubicBezTo>
                    <a:pt x="228" y="0"/>
                    <a:pt x="236" y="9"/>
                    <a:pt x="243" y="20"/>
                  </a:cubicBezTo>
                  <a:cubicBezTo>
                    <a:pt x="300" y="120"/>
                    <a:pt x="358" y="219"/>
                    <a:pt x="417" y="318"/>
                  </a:cubicBezTo>
                  <a:cubicBezTo>
                    <a:pt x="423" y="329"/>
                    <a:pt x="426" y="340"/>
                    <a:pt x="420" y="351"/>
                  </a:cubicBezTo>
                  <a:cubicBezTo>
                    <a:pt x="414" y="363"/>
                    <a:pt x="403" y="367"/>
                    <a:pt x="390" y="367"/>
                  </a:cubicBezTo>
                  <a:cubicBezTo>
                    <a:pt x="331" y="366"/>
                    <a:pt x="272" y="366"/>
                    <a:pt x="213" y="366"/>
                  </a:cubicBezTo>
                  <a:close/>
                  <a:moveTo>
                    <a:pt x="213" y="336"/>
                  </a:moveTo>
                  <a:cubicBezTo>
                    <a:pt x="267" y="336"/>
                    <a:pt x="321" y="336"/>
                    <a:pt x="375" y="336"/>
                  </a:cubicBezTo>
                  <a:cubicBezTo>
                    <a:pt x="383" y="336"/>
                    <a:pt x="392" y="336"/>
                    <a:pt x="384" y="323"/>
                  </a:cubicBezTo>
                  <a:cubicBezTo>
                    <a:pt x="330" y="231"/>
                    <a:pt x="275" y="138"/>
                    <a:pt x="221" y="46"/>
                  </a:cubicBezTo>
                  <a:cubicBezTo>
                    <a:pt x="215" y="35"/>
                    <a:pt x="212" y="33"/>
                    <a:pt x="205" y="45"/>
                  </a:cubicBezTo>
                  <a:cubicBezTo>
                    <a:pt x="151" y="137"/>
                    <a:pt x="97" y="229"/>
                    <a:pt x="44" y="321"/>
                  </a:cubicBezTo>
                  <a:cubicBezTo>
                    <a:pt x="35" y="335"/>
                    <a:pt x="36" y="336"/>
                    <a:pt x="54" y="336"/>
                  </a:cubicBezTo>
                  <a:cubicBezTo>
                    <a:pt x="107" y="336"/>
                    <a:pt x="160" y="336"/>
                    <a:pt x="213" y="3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36" name="Freeform 86"/>
            <p:cNvSpPr>
              <a:spLocks/>
            </p:cNvSpPr>
            <p:nvPr/>
          </p:nvSpPr>
          <p:spPr bwMode="auto">
            <a:xfrm>
              <a:off x="3797" y="1943"/>
              <a:ext cx="88" cy="393"/>
            </a:xfrm>
            <a:custGeom>
              <a:avLst/>
              <a:gdLst>
                <a:gd name="T0" fmla="*/ 37 w 37"/>
                <a:gd name="T1" fmla="*/ 41 h 165"/>
                <a:gd name="T2" fmla="*/ 27 w 37"/>
                <a:gd name="T3" fmla="*/ 152 h 165"/>
                <a:gd name="T4" fmla="*/ 18 w 37"/>
                <a:gd name="T5" fmla="*/ 165 h 165"/>
                <a:gd name="T6" fmla="*/ 9 w 37"/>
                <a:gd name="T7" fmla="*/ 153 h 165"/>
                <a:gd name="T8" fmla="*/ 0 w 37"/>
                <a:gd name="T9" fmla="*/ 22 h 165"/>
                <a:gd name="T10" fmla="*/ 1 w 37"/>
                <a:gd name="T11" fmla="*/ 13 h 165"/>
                <a:gd name="T12" fmla="*/ 18 w 37"/>
                <a:gd name="T13" fmla="*/ 0 h 165"/>
                <a:gd name="T14" fmla="*/ 35 w 37"/>
                <a:gd name="T15" fmla="*/ 14 h 165"/>
                <a:gd name="T16" fmla="*/ 35 w 37"/>
                <a:gd name="T17" fmla="*/ 41 h 165"/>
                <a:gd name="T18" fmla="*/ 37 w 37"/>
                <a:gd name="T19" fmla="*/ 41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165">
                  <a:moveTo>
                    <a:pt x="37" y="41"/>
                  </a:moveTo>
                  <a:cubicBezTo>
                    <a:pt x="34" y="78"/>
                    <a:pt x="30" y="115"/>
                    <a:pt x="27" y="152"/>
                  </a:cubicBezTo>
                  <a:cubicBezTo>
                    <a:pt x="27" y="158"/>
                    <a:pt x="26" y="165"/>
                    <a:pt x="18" y="165"/>
                  </a:cubicBezTo>
                  <a:cubicBezTo>
                    <a:pt x="10" y="165"/>
                    <a:pt x="9" y="159"/>
                    <a:pt x="9" y="153"/>
                  </a:cubicBezTo>
                  <a:cubicBezTo>
                    <a:pt x="5" y="110"/>
                    <a:pt x="0" y="66"/>
                    <a:pt x="0" y="22"/>
                  </a:cubicBezTo>
                  <a:cubicBezTo>
                    <a:pt x="0" y="19"/>
                    <a:pt x="0" y="16"/>
                    <a:pt x="1" y="13"/>
                  </a:cubicBezTo>
                  <a:cubicBezTo>
                    <a:pt x="3" y="4"/>
                    <a:pt x="9" y="0"/>
                    <a:pt x="18" y="0"/>
                  </a:cubicBezTo>
                  <a:cubicBezTo>
                    <a:pt x="27" y="0"/>
                    <a:pt x="34" y="5"/>
                    <a:pt x="35" y="14"/>
                  </a:cubicBezTo>
                  <a:cubicBezTo>
                    <a:pt x="36" y="23"/>
                    <a:pt x="35" y="32"/>
                    <a:pt x="35" y="41"/>
                  </a:cubicBezTo>
                  <a:cubicBezTo>
                    <a:pt x="36" y="41"/>
                    <a:pt x="36" y="41"/>
                    <a:pt x="37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37" name="Freeform 87"/>
            <p:cNvSpPr>
              <a:spLocks/>
            </p:cNvSpPr>
            <p:nvPr/>
          </p:nvSpPr>
          <p:spPr bwMode="auto">
            <a:xfrm>
              <a:off x="3790" y="2379"/>
              <a:ext cx="95" cy="93"/>
            </a:xfrm>
            <a:custGeom>
              <a:avLst/>
              <a:gdLst>
                <a:gd name="T0" fmla="*/ 21 w 40"/>
                <a:gd name="T1" fmla="*/ 39 h 39"/>
                <a:gd name="T2" fmla="*/ 1 w 40"/>
                <a:gd name="T3" fmla="*/ 21 h 39"/>
                <a:gd name="T4" fmla="*/ 21 w 40"/>
                <a:gd name="T5" fmla="*/ 1 h 39"/>
                <a:gd name="T6" fmla="*/ 40 w 40"/>
                <a:gd name="T7" fmla="*/ 20 h 39"/>
                <a:gd name="T8" fmla="*/ 21 w 40"/>
                <a:gd name="T9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9">
                  <a:moveTo>
                    <a:pt x="21" y="39"/>
                  </a:moveTo>
                  <a:cubicBezTo>
                    <a:pt x="10" y="38"/>
                    <a:pt x="3" y="32"/>
                    <a:pt x="1" y="21"/>
                  </a:cubicBezTo>
                  <a:cubicBezTo>
                    <a:pt x="0" y="11"/>
                    <a:pt x="11" y="0"/>
                    <a:pt x="21" y="1"/>
                  </a:cubicBezTo>
                  <a:cubicBezTo>
                    <a:pt x="32" y="2"/>
                    <a:pt x="40" y="9"/>
                    <a:pt x="40" y="20"/>
                  </a:cubicBezTo>
                  <a:cubicBezTo>
                    <a:pt x="40" y="31"/>
                    <a:pt x="33" y="38"/>
                    <a:pt x="21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538" name="Group 55"/>
          <p:cNvGrpSpPr>
            <a:grpSpLocks noChangeAspect="1"/>
          </p:cNvGrpSpPr>
          <p:nvPr/>
        </p:nvGrpSpPr>
        <p:grpSpPr bwMode="auto">
          <a:xfrm>
            <a:off x="2982384" y="4305118"/>
            <a:ext cx="295909" cy="295666"/>
            <a:chOff x="2017" y="342"/>
            <a:chExt cx="3641" cy="3638"/>
          </a:xfrm>
          <a:solidFill>
            <a:schemeClr val="bg1"/>
          </a:solidFill>
        </p:grpSpPr>
        <p:sp>
          <p:nvSpPr>
            <p:cNvPr id="539" name="Freeform 56"/>
            <p:cNvSpPr>
              <a:spLocks noEditPoints="1"/>
            </p:cNvSpPr>
            <p:nvPr/>
          </p:nvSpPr>
          <p:spPr bwMode="auto">
            <a:xfrm>
              <a:off x="2017" y="342"/>
              <a:ext cx="3641" cy="3638"/>
            </a:xfrm>
            <a:custGeom>
              <a:avLst/>
              <a:gdLst>
                <a:gd name="T0" fmla="*/ 701 w 1538"/>
                <a:gd name="T1" fmla="*/ 0 h 1537"/>
                <a:gd name="T2" fmla="*/ 839 w 1538"/>
                <a:gd name="T3" fmla="*/ 0 h 1537"/>
                <a:gd name="T4" fmla="*/ 849 w 1538"/>
                <a:gd name="T5" fmla="*/ 4 h 1537"/>
                <a:gd name="T6" fmla="*/ 905 w 1538"/>
                <a:gd name="T7" fmla="*/ 11 h 1537"/>
                <a:gd name="T8" fmla="*/ 1083 w 1538"/>
                <a:gd name="T9" fmla="*/ 66 h 1537"/>
                <a:gd name="T10" fmla="*/ 1279 w 1538"/>
                <a:gd name="T11" fmla="*/ 192 h 1537"/>
                <a:gd name="T12" fmla="*/ 1451 w 1538"/>
                <a:gd name="T13" fmla="*/ 411 h 1537"/>
                <a:gd name="T14" fmla="*/ 1532 w 1538"/>
                <a:gd name="T15" fmla="*/ 666 h 1537"/>
                <a:gd name="T16" fmla="*/ 1538 w 1538"/>
                <a:gd name="T17" fmla="*/ 699 h 1537"/>
                <a:gd name="T18" fmla="*/ 1538 w 1538"/>
                <a:gd name="T19" fmla="*/ 837 h 1537"/>
                <a:gd name="T20" fmla="*/ 1534 w 1538"/>
                <a:gd name="T21" fmla="*/ 845 h 1537"/>
                <a:gd name="T22" fmla="*/ 1527 w 1538"/>
                <a:gd name="T23" fmla="*/ 901 h 1537"/>
                <a:gd name="T24" fmla="*/ 1440 w 1538"/>
                <a:gd name="T25" fmla="*/ 1144 h 1537"/>
                <a:gd name="T26" fmla="*/ 1258 w 1538"/>
                <a:gd name="T27" fmla="*/ 1362 h 1537"/>
                <a:gd name="T28" fmla="*/ 1055 w 1538"/>
                <a:gd name="T29" fmla="*/ 1482 h 1537"/>
                <a:gd name="T30" fmla="*/ 828 w 1538"/>
                <a:gd name="T31" fmla="*/ 1534 h 1537"/>
                <a:gd name="T32" fmla="*/ 695 w 1538"/>
                <a:gd name="T33" fmla="*/ 1533 h 1537"/>
                <a:gd name="T34" fmla="*/ 579 w 1538"/>
                <a:gd name="T35" fmla="*/ 1512 h 1537"/>
                <a:gd name="T36" fmla="*/ 372 w 1538"/>
                <a:gd name="T37" fmla="*/ 1426 h 1537"/>
                <a:gd name="T38" fmla="*/ 191 w 1538"/>
                <a:gd name="T39" fmla="*/ 1274 h 1537"/>
                <a:gd name="T40" fmla="*/ 64 w 1538"/>
                <a:gd name="T41" fmla="*/ 1073 h 1537"/>
                <a:gd name="T42" fmla="*/ 4 w 1538"/>
                <a:gd name="T43" fmla="*/ 827 h 1537"/>
                <a:gd name="T44" fmla="*/ 11 w 1538"/>
                <a:gd name="T45" fmla="*/ 646 h 1537"/>
                <a:gd name="T46" fmla="*/ 75 w 1538"/>
                <a:gd name="T47" fmla="*/ 439 h 1537"/>
                <a:gd name="T48" fmla="*/ 290 w 1538"/>
                <a:gd name="T49" fmla="*/ 168 h 1537"/>
                <a:gd name="T50" fmla="*/ 517 w 1538"/>
                <a:gd name="T51" fmla="*/ 42 h 1537"/>
                <a:gd name="T52" fmla="*/ 669 w 1538"/>
                <a:gd name="T53" fmla="*/ 6 h 1537"/>
                <a:gd name="T54" fmla="*/ 701 w 1538"/>
                <a:gd name="T55" fmla="*/ 0 h 1537"/>
                <a:gd name="T56" fmla="*/ 425 w 1538"/>
                <a:gd name="T57" fmla="*/ 775 h 1537"/>
                <a:gd name="T58" fmla="*/ 424 w 1538"/>
                <a:gd name="T59" fmla="*/ 1232 h 1537"/>
                <a:gd name="T60" fmla="*/ 441 w 1538"/>
                <a:gd name="T61" fmla="*/ 1249 h 1537"/>
                <a:gd name="T62" fmla="*/ 1097 w 1538"/>
                <a:gd name="T63" fmla="*/ 1249 h 1537"/>
                <a:gd name="T64" fmla="*/ 1113 w 1538"/>
                <a:gd name="T65" fmla="*/ 1233 h 1537"/>
                <a:gd name="T66" fmla="*/ 1113 w 1538"/>
                <a:gd name="T67" fmla="*/ 453 h 1537"/>
                <a:gd name="T68" fmla="*/ 1107 w 1538"/>
                <a:gd name="T69" fmla="*/ 432 h 1537"/>
                <a:gd name="T70" fmla="*/ 1035 w 1538"/>
                <a:gd name="T71" fmla="*/ 315 h 1537"/>
                <a:gd name="T72" fmla="*/ 1013 w 1538"/>
                <a:gd name="T73" fmla="*/ 302 h 1537"/>
                <a:gd name="T74" fmla="*/ 442 w 1538"/>
                <a:gd name="T75" fmla="*/ 302 h 1537"/>
                <a:gd name="T76" fmla="*/ 424 w 1538"/>
                <a:gd name="T77" fmla="*/ 319 h 1537"/>
                <a:gd name="T78" fmla="*/ 425 w 1538"/>
                <a:gd name="T79" fmla="*/ 775 h 1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38" h="1537">
                  <a:moveTo>
                    <a:pt x="701" y="0"/>
                  </a:moveTo>
                  <a:cubicBezTo>
                    <a:pt x="747" y="0"/>
                    <a:pt x="793" y="0"/>
                    <a:pt x="839" y="0"/>
                  </a:cubicBezTo>
                  <a:cubicBezTo>
                    <a:pt x="840" y="6"/>
                    <a:pt x="845" y="3"/>
                    <a:pt x="849" y="4"/>
                  </a:cubicBezTo>
                  <a:cubicBezTo>
                    <a:pt x="868" y="6"/>
                    <a:pt x="886" y="7"/>
                    <a:pt x="905" y="11"/>
                  </a:cubicBezTo>
                  <a:cubicBezTo>
                    <a:pt x="966" y="23"/>
                    <a:pt x="1025" y="41"/>
                    <a:pt x="1083" y="66"/>
                  </a:cubicBezTo>
                  <a:cubicBezTo>
                    <a:pt x="1155" y="97"/>
                    <a:pt x="1221" y="140"/>
                    <a:pt x="1279" y="192"/>
                  </a:cubicBezTo>
                  <a:cubicBezTo>
                    <a:pt x="1350" y="255"/>
                    <a:pt x="1407" y="327"/>
                    <a:pt x="1451" y="411"/>
                  </a:cubicBezTo>
                  <a:cubicBezTo>
                    <a:pt x="1492" y="492"/>
                    <a:pt x="1520" y="576"/>
                    <a:pt x="1532" y="666"/>
                  </a:cubicBezTo>
                  <a:cubicBezTo>
                    <a:pt x="1533" y="677"/>
                    <a:pt x="1529" y="689"/>
                    <a:pt x="1538" y="699"/>
                  </a:cubicBezTo>
                  <a:cubicBezTo>
                    <a:pt x="1538" y="745"/>
                    <a:pt x="1538" y="791"/>
                    <a:pt x="1538" y="837"/>
                  </a:cubicBezTo>
                  <a:cubicBezTo>
                    <a:pt x="1533" y="838"/>
                    <a:pt x="1534" y="842"/>
                    <a:pt x="1534" y="845"/>
                  </a:cubicBezTo>
                  <a:cubicBezTo>
                    <a:pt x="1534" y="864"/>
                    <a:pt x="1531" y="883"/>
                    <a:pt x="1527" y="901"/>
                  </a:cubicBezTo>
                  <a:cubicBezTo>
                    <a:pt x="1511" y="987"/>
                    <a:pt x="1483" y="1068"/>
                    <a:pt x="1440" y="1144"/>
                  </a:cubicBezTo>
                  <a:cubicBezTo>
                    <a:pt x="1393" y="1229"/>
                    <a:pt x="1332" y="1301"/>
                    <a:pt x="1258" y="1362"/>
                  </a:cubicBezTo>
                  <a:cubicBezTo>
                    <a:pt x="1197" y="1413"/>
                    <a:pt x="1129" y="1453"/>
                    <a:pt x="1055" y="1482"/>
                  </a:cubicBezTo>
                  <a:cubicBezTo>
                    <a:pt x="982" y="1511"/>
                    <a:pt x="906" y="1530"/>
                    <a:pt x="828" y="1534"/>
                  </a:cubicBezTo>
                  <a:cubicBezTo>
                    <a:pt x="784" y="1537"/>
                    <a:pt x="740" y="1537"/>
                    <a:pt x="695" y="1533"/>
                  </a:cubicBezTo>
                  <a:cubicBezTo>
                    <a:pt x="656" y="1529"/>
                    <a:pt x="617" y="1522"/>
                    <a:pt x="579" y="1512"/>
                  </a:cubicBezTo>
                  <a:cubicBezTo>
                    <a:pt x="505" y="1494"/>
                    <a:pt x="437" y="1464"/>
                    <a:pt x="372" y="1426"/>
                  </a:cubicBezTo>
                  <a:cubicBezTo>
                    <a:pt x="303" y="1384"/>
                    <a:pt x="243" y="1333"/>
                    <a:pt x="191" y="1274"/>
                  </a:cubicBezTo>
                  <a:cubicBezTo>
                    <a:pt x="138" y="1214"/>
                    <a:pt x="96" y="1147"/>
                    <a:pt x="64" y="1073"/>
                  </a:cubicBezTo>
                  <a:cubicBezTo>
                    <a:pt x="31" y="994"/>
                    <a:pt x="9" y="913"/>
                    <a:pt x="4" y="827"/>
                  </a:cubicBezTo>
                  <a:cubicBezTo>
                    <a:pt x="0" y="767"/>
                    <a:pt x="1" y="706"/>
                    <a:pt x="11" y="646"/>
                  </a:cubicBezTo>
                  <a:cubicBezTo>
                    <a:pt x="23" y="574"/>
                    <a:pt x="44" y="504"/>
                    <a:pt x="75" y="439"/>
                  </a:cubicBezTo>
                  <a:cubicBezTo>
                    <a:pt x="126" y="332"/>
                    <a:pt x="198" y="241"/>
                    <a:pt x="290" y="168"/>
                  </a:cubicBezTo>
                  <a:cubicBezTo>
                    <a:pt x="359" y="113"/>
                    <a:pt x="434" y="71"/>
                    <a:pt x="517" y="42"/>
                  </a:cubicBezTo>
                  <a:cubicBezTo>
                    <a:pt x="566" y="25"/>
                    <a:pt x="617" y="13"/>
                    <a:pt x="669" y="6"/>
                  </a:cubicBezTo>
                  <a:cubicBezTo>
                    <a:pt x="679" y="5"/>
                    <a:pt x="692" y="9"/>
                    <a:pt x="701" y="0"/>
                  </a:cubicBezTo>
                  <a:close/>
                  <a:moveTo>
                    <a:pt x="425" y="775"/>
                  </a:moveTo>
                  <a:cubicBezTo>
                    <a:pt x="425" y="927"/>
                    <a:pt x="425" y="1080"/>
                    <a:pt x="424" y="1232"/>
                  </a:cubicBezTo>
                  <a:cubicBezTo>
                    <a:pt x="424" y="1245"/>
                    <a:pt x="427" y="1249"/>
                    <a:pt x="441" y="1249"/>
                  </a:cubicBezTo>
                  <a:cubicBezTo>
                    <a:pt x="659" y="1248"/>
                    <a:pt x="878" y="1248"/>
                    <a:pt x="1097" y="1249"/>
                  </a:cubicBezTo>
                  <a:cubicBezTo>
                    <a:pt x="1110" y="1249"/>
                    <a:pt x="1113" y="1246"/>
                    <a:pt x="1113" y="1233"/>
                  </a:cubicBezTo>
                  <a:cubicBezTo>
                    <a:pt x="1113" y="973"/>
                    <a:pt x="1113" y="713"/>
                    <a:pt x="1113" y="453"/>
                  </a:cubicBezTo>
                  <a:cubicBezTo>
                    <a:pt x="1113" y="445"/>
                    <a:pt x="1111" y="439"/>
                    <a:pt x="1107" y="432"/>
                  </a:cubicBezTo>
                  <a:cubicBezTo>
                    <a:pt x="1083" y="393"/>
                    <a:pt x="1059" y="354"/>
                    <a:pt x="1035" y="315"/>
                  </a:cubicBezTo>
                  <a:cubicBezTo>
                    <a:pt x="1030" y="305"/>
                    <a:pt x="1024" y="302"/>
                    <a:pt x="1013" y="302"/>
                  </a:cubicBezTo>
                  <a:cubicBezTo>
                    <a:pt x="822" y="302"/>
                    <a:pt x="632" y="302"/>
                    <a:pt x="442" y="302"/>
                  </a:cubicBezTo>
                  <a:cubicBezTo>
                    <a:pt x="428" y="302"/>
                    <a:pt x="424" y="305"/>
                    <a:pt x="424" y="319"/>
                  </a:cubicBezTo>
                  <a:cubicBezTo>
                    <a:pt x="425" y="471"/>
                    <a:pt x="424" y="623"/>
                    <a:pt x="425" y="7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0" name="Freeform 57"/>
            <p:cNvSpPr>
              <a:spLocks noEditPoints="1"/>
            </p:cNvSpPr>
            <p:nvPr/>
          </p:nvSpPr>
          <p:spPr bwMode="auto">
            <a:xfrm>
              <a:off x="3187" y="1642"/>
              <a:ext cx="435" cy="291"/>
            </a:xfrm>
            <a:custGeom>
              <a:avLst/>
              <a:gdLst>
                <a:gd name="T0" fmla="*/ 119 w 184"/>
                <a:gd name="T1" fmla="*/ 35 h 123"/>
                <a:gd name="T2" fmla="*/ 163 w 184"/>
                <a:gd name="T3" fmla="*/ 5 h 123"/>
                <a:gd name="T4" fmla="*/ 176 w 184"/>
                <a:gd name="T5" fmla="*/ 8 h 123"/>
                <a:gd name="T6" fmla="*/ 175 w 184"/>
                <a:gd name="T7" fmla="*/ 23 h 123"/>
                <a:gd name="T8" fmla="*/ 128 w 184"/>
                <a:gd name="T9" fmla="*/ 54 h 123"/>
                <a:gd name="T10" fmla="*/ 118 w 184"/>
                <a:gd name="T11" fmla="*/ 73 h 123"/>
                <a:gd name="T12" fmla="*/ 119 w 184"/>
                <a:gd name="T13" fmla="*/ 112 h 123"/>
                <a:gd name="T14" fmla="*/ 107 w 184"/>
                <a:gd name="T15" fmla="*/ 123 h 123"/>
                <a:gd name="T16" fmla="*/ 11 w 184"/>
                <a:gd name="T17" fmla="*/ 123 h 123"/>
                <a:gd name="T18" fmla="*/ 0 w 184"/>
                <a:gd name="T19" fmla="*/ 112 h 123"/>
                <a:gd name="T20" fmla="*/ 0 w 184"/>
                <a:gd name="T21" fmla="*/ 16 h 123"/>
                <a:gd name="T22" fmla="*/ 12 w 184"/>
                <a:gd name="T23" fmla="*/ 3 h 123"/>
                <a:gd name="T24" fmla="*/ 106 w 184"/>
                <a:gd name="T25" fmla="*/ 3 h 123"/>
                <a:gd name="T26" fmla="*/ 119 w 184"/>
                <a:gd name="T27" fmla="*/ 16 h 123"/>
                <a:gd name="T28" fmla="*/ 119 w 184"/>
                <a:gd name="T29" fmla="*/ 35 h 123"/>
                <a:gd name="T30" fmla="*/ 107 w 184"/>
                <a:gd name="T31" fmla="*/ 69 h 123"/>
                <a:gd name="T32" fmla="*/ 85 w 184"/>
                <a:gd name="T33" fmla="*/ 84 h 123"/>
                <a:gd name="T34" fmla="*/ 34 w 184"/>
                <a:gd name="T35" fmla="*/ 80 h 123"/>
                <a:gd name="T36" fmla="*/ 31 w 184"/>
                <a:gd name="T37" fmla="*/ 64 h 123"/>
                <a:gd name="T38" fmla="*/ 49 w 184"/>
                <a:gd name="T39" fmla="*/ 64 h 123"/>
                <a:gd name="T40" fmla="*/ 66 w 184"/>
                <a:gd name="T41" fmla="*/ 71 h 123"/>
                <a:gd name="T42" fmla="*/ 103 w 184"/>
                <a:gd name="T43" fmla="*/ 45 h 123"/>
                <a:gd name="T44" fmla="*/ 108 w 184"/>
                <a:gd name="T45" fmla="*/ 19 h 123"/>
                <a:gd name="T46" fmla="*/ 93 w 184"/>
                <a:gd name="T47" fmla="*/ 15 h 123"/>
                <a:gd name="T48" fmla="*/ 22 w 184"/>
                <a:gd name="T49" fmla="*/ 14 h 123"/>
                <a:gd name="T50" fmla="*/ 9 w 184"/>
                <a:gd name="T51" fmla="*/ 27 h 123"/>
                <a:gd name="T52" fmla="*/ 9 w 184"/>
                <a:gd name="T53" fmla="*/ 101 h 123"/>
                <a:gd name="T54" fmla="*/ 21 w 184"/>
                <a:gd name="T55" fmla="*/ 113 h 123"/>
                <a:gd name="T56" fmla="*/ 71 w 184"/>
                <a:gd name="T57" fmla="*/ 113 h 123"/>
                <a:gd name="T58" fmla="*/ 107 w 184"/>
                <a:gd name="T59" fmla="*/ 69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4" h="123">
                  <a:moveTo>
                    <a:pt x="119" y="35"/>
                  </a:moveTo>
                  <a:cubicBezTo>
                    <a:pt x="135" y="24"/>
                    <a:pt x="150" y="15"/>
                    <a:pt x="163" y="5"/>
                  </a:cubicBezTo>
                  <a:cubicBezTo>
                    <a:pt x="170" y="0"/>
                    <a:pt x="172" y="3"/>
                    <a:pt x="176" y="8"/>
                  </a:cubicBezTo>
                  <a:cubicBezTo>
                    <a:pt x="179" y="13"/>
                    <a:pt x="184" y="18"/>
                    <a:pt x="175" y="23"/>
                  </a:cubicBezTo>
                  <a:cubicBezTo>
                    <a:pt x="159" y="33"/>
                    <a:pt x="144" y="44"/>
                    <a:pt x="128" y="54"/>
                  </a:cubicBezTo>
                  <a:cubicBezTo>
                    <a:pt x="121" y="59"/>
                    <a:pt x="118" y="64"/>
                    <a:pt x="118" y="73"/>
                  </a:cubicBezTo>
                  <a:cubicBezTo>
                    <a:pt x="119" y="86"/>
                    <a:pt x="118" y="99"/>
                    <a:pt x="119" y="112"/>
                  </a:cubicBezTo>
                  <a:cubicBezTo>
                    <a:pt x="119" y="120"/>
                    <a:pt x="116" y="123"/>
                    <a:pt x="107" y="123"/>
                  </a:cubicBezTo>
                  <a:cubicBezTo>
                    <a:pt x="75" y="123"/>
                    <a:pt x="43" y="123"/>
                    <a:pt x="11" y="123"/>
                  </a:cubicBezTo>
                  <a:cubicBezTo>
                    <a:pt x="3" y="123"/>
                    <a:pt x="0" y="120"/>
                    <a:pt x="0" y="112"/>
                  </a:cubicBezTo>
                  <a:cubicBezTo>
                    <a:pt x="0" y="80"/>
                    <a:pt x="0" y="48"/>
                    <a:pt x="0" y="16"/>
                  </a:cubicBezTo>
                  <a:cubicBezTo>
                    <a:pt x="0" y="7"/>
                    <a:pt x="3" y="3"/>
                    <a:pt x="12" y="3"/>
                  </a:cubicBezTo>
                  <a:cubicBezTo>
                    <a:pt x="43" y="4"/>
                    <a:pt x="75" y="4"/>
                    <a:pt x="106" y="3"/>
                  </a:cubicBezTo>
                  <a:cubicBezTo>
                    <a:pt x="115" y="3"/>
                    <a:pt x="119" y="7"/>
                    <a:pt x="119" y="16"/>
                  </a:cubicBezTo>
                  <a:cubicBezTo>
                    <a:pt x="118" y="21"/>
                    <a:pt x="119" y="26"/>
                    <a:pt x="119" y="35"/>
                  </a:cubicBezTo>
                  <a:close/>
                  <a:moveTo>
                    <a:pt x="107" y="69"/>
                  </a:moveTo>
                  <a:cubicBezTo>
                    <a:pt x="98" y="75"/>
                    <a:pt x="91" y="79"/>
                    <a:pt x="85" y="84"/>
                  </a:cubicBezTo>
                  <a:cubicBezTo>
                    <a:pt x="58" y="102"/>
                    <a:pt x="58" y="102"/>
                    <a:pt x="34" y="80"/>
                  </a:cubicBezTo>
                  <a:cubicBezTo>
                    <a:pt x="29" y="75"/>
                    <a:pt x="23" y="72"/>
                    <a:pt x="31" y="64"/>
                  </a:cubicBezTo>
                  <a:cubicBezTo>
                    <a:pt x="38" y="55"/>
                    <a:pt x="43" y="59"/>
                    <a:pt x="49" y="64"/>
                  </a:cubicBezTo>
                  <a:cubicBezTo>
                    <a:pt x="53" y="68"/>
                    <a:pt x="57" y="77"/>
                    <a:pt x="66" y="71"/>
                  </a:cubicBezTo>
                  <a:cubicBezTo>
                    <a:pt x="78" y="62"/>
                    <a:pt x="91" y="54"/>
                    <a:pt x="103" y="45"/>
                  </a:cubicBezTo>
                  <a:cubicBezTo>
                    <a:pt x="113" y="38"/>
                    <a:pt x="109" y="28"/>
                    <a:pt x="108" y="19"/>
                  </a:cubicBezTo>
                  <a:cubicBezTo>
                    <a:pt x="107" y="11"/>
                    <a:pt x="98" y="15"/>
                    <a:pt x="93" y="15"/>
                  </a:cubicBezTo>
                  <a:cubicBezTo>
                    <a:pt x="69" y="14"/>
                    <a:pt x="46" y="15"/>
                    <a:pt x="22" y="14"/>
                  </a:cubicBezTo>
                  <a:cubicBezTo>
                    <a:pt x="12" y="14"/>
                    <a:pt x="9" y="18"/>
                    <a:pt x="9" y="27"/>
                  </a:cubicBezTo>
                  <a:cubicBezTo>
                    <a:pt x="10" y="52"/>
                    <a:pt x="10" y="76"/>
                    <a:pt x="9" y="101"/>
                  </a:cubicBezTo>
                  <a:cubicBezTo>
                    <a:pt x="9" y="109"/>
                    <a:pt x="12" y="113"/>
                    <a:pt x="21" y="113"/>
                  </a:cubicBezTo>
                  <a:cubicBezTo>
                    <a:pt x="38" y="113"/>
                    <a:pt x="54" y="113"/>
                    <a:pt x="71" y="113"/>
                  </a:cubicBezTo>
                  <a:cubicBezTo>
                    <a:pt x="112" y="113"/>
                    <a:pt x="112" y="113"/>
                    <a:pt x="107" y="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1" name="Freeform 58"/>
            <p:cNvSpPr>
              <a:spLocks noEditPoints="1"/>
            </p:cNvSpPr>
            <p:nvPr/>
          </p:nvSpPr>
          <p:spPr bwMode="auto">
            <a:xfrm>
              <a:off x="3187" y="1261"/>
              <a:ext cx="430" cy="288"/>
            </a:xfrm>
            <a:custGeom>
              <a:avLst/>
              <a:gdLst>
                <a:gd name="T0" fmla="*/ 120 w 182"/>
                <a:gd name="T1" fmla="*/ 33 h 122"/>
                <a:gd name="T2" fmla="*/ 162 w 182"/>
                <a:gd name="T3" fmla="*/ 5 h 122"/>
                <a:gd name="T4" fmla="*/ 176 w 182"/>
                <a:gd name="T5" fmla="*/ 7 h 122"/>
                <a:gd name="T6" fmla="*/ 174 w 182"/>
                <a:gd name="T7" fmla="*/ 23 h 122"/>
                <a:gd name="T8" fmla="*/ 129 w 182"/>
                <a:gd name="T9" fmla="*/ 53 h 122"/>
                <a:gd name="T10" fmla="*/ 118 w 182"/>
                <a:gd name="T11" fmla="*/ 72 h 122"/>
                <a:gd name="T12" fmla="*/ 119 w 182"/>
                <a:gd name="T13" fmla="*/ 110 h 122"/>
                <a:gd name="T14" fmla="*/ 106 w 182"/>
                <a:gd name="T15" fmla="*/ 122 h 122"/>
                <a:gd name="T16" fmla="*/ 12 w 182"/>
                <a:gd name="T17" fmla="*/ 122 h 122"/>
                <a:gd name="T18" fmla="*/ 0 w 182"/>
                <a:gd name="T19" fmla="*/ 110 h 122"/>
                <a:gd name="T20" fmla="*/ 0 w 182"/>
                <a:gd name="T21" fmla="*/ 16 h 122"/>
                <a:gd name="T22" fmla="*/ 13 w 182"/>
                <a:gd name="T23" fmla="*/ 3 h 122"/>
                <a:gd name="T24" fmla="*/ 100 w 182"/>
                <a:gd name="T25" fmla="*/ 3 h 122"/>
                <a:gd name="T26" fmla="*/ 119 w 182"/>
                <a:gd name="T27" fmla="*/ 21 h 122"/>
                <a:gd name="T28" fmla="*/ 120 w 182"/>
                <a:gd name="T29" fmla="*/ 33 h 122"/>
                <a:gd name="T30" fmla="*/ 108 w 182"/>
                <a:gd name="T31" fmla="*/ 67 h 122"/>
                <a:gd name="T32" fmla="*/ 84 w 182"/>
                <a:gd name="T33" fmla="*/ 83 h 122"/>
                <a:gd name="T34" fmla="*/ 35 w 182"/>
                <a:gd name="T35" fmla="*/ 80 h 122"/>
                <a:gd name="T36" fmla="*/ 31 w 182"/>
                <a:gd name="T37" fmla="*/ 62 h 122"/>
                <a:gd name="T38" fmla="*/ 49 w 182"/>
                <a:gd name="T39" fmla="*/ 64 h 122"/>
                <a:gd name="T40" fmla="*/ 65 w 182"/>
                <a:gd name="T41" fmla="*/ 71 h 122"/>
                <a:gd name="T42" fmla="*/ 103 w 182"/>
                <a:gd name="T43" fmla="*/ 44 h 122"/>
                <a:gd name="T44" fmla="*/ 108 w 182"/>
                <a:gd name="T45" fmla="*/ 18 h 122"/>
                <a:gd name="T46" fmla="*/ 92 w 182"/>
                <a:gd name="T47" fmla="*/ 14 h 122"/>
                <a:gd name="T48" fmla="*/ 21 w 182"/>
                <a:gd name="T49" fmla="*/ 13 h 122"/>
                <a:gd name="T50" fmla="*/ 9 w 182"/>
                <a:gd name="T51" fmla="*/ 23 h 122"/>
                <a:gd name="T52" fmla="*/ 9 w 182"/>
                <a:gd name="T53" fmla="*/ 103 h 122"/>
                <a:gd name="T54" fmla="*/ 19 w 182"/>
                <a:gd name="T55" fmla="*/ 113 h 122"/>
                <a:gd name="T56" fmla="*/ 100 w 182"/>
                <a:gd name="T57" fmla="*/ 112 h 122"/>
                <a:gd name="T58" fmla="*/ 108 w 182"/>
                <a:gd name="T59" fmla="*/ 104 h 122"/>
                <a:gd name="T60" fmla="*/ 108 w 182"/>
                <a:gd name="T61" fmla="*/ 6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82" h="122">
                  <a:moveTo>
                    <a:pt x="120" y="33"/>
                  </a:moveTo>
                  <a:cubicBezTo>
                    <a:pt x="135" y="23"/>
                    <a:pt x="149" y="15"/>
                    <a:pt x="162" y="5"/>
                  </a:cubicBezTo>
                  <a:cubicBezTo>
                    <a:pt x="168" y="1"/>
                    <a:pt x="172" y="0"/>
                    <a:pt x="176" y="7"/>
                  </a:cubicBezTo>
                  <a:cubicBezTo>
                    <a:pt x="180" y="14"/>
                    <a:pt x="182" y="18"/>
                    <a:pt x="174" y="23"/>
                  </a:cubicBezTo>
                  <a:cubicBezTo>
                    <a:pt x="159" y="33"/>
                    <a:pt x="144" y="43"/>
                    <a:pt x="129" y="53"/>
                  </a:cubicBezTo>
                  <a:cubicBezTo>
                    <a:pt x="121" y="58"/>
                    <a:pt x="118" y="63"/>
                    <a:pt x="118" y="72"/>
                  </a:cubicBezTo>
                  <a:cubicBezTo>
                    <a:pt x="119" y="85"/>
                    <a:pt x="118" y="97"/>
                    <a:pt x="119" y="110"/>
                  </a:cubicBezTo>
                  <a:cubicBezTo>
                    <a:pt x="119" y="119"/>
                    <a:pt x="116" y="122"/>
                    <a:pt x="106" y="122"/>
                  </a:cubicBezTo>
                  <a:cubicBezTo>
                    <a:pt x="75" y="122"/>
                    <a:pt x="43" y="122"/>
                    <a:pt x="12" y="122"/>
                  </a:cubicBezTo>
                  <a:cubicBezTo>
                    <a:pt x="3" y="122"/>
                    <a:pt x="0" y="119"/>
                    <a:pt x="0" y="110"/>
                  </a:cubicBezTo>
                  <a:cubicBezTo>
                    <a:pt x="0" y="79"/>
                    <a:pt x="0" y="47"/>
                    <a:pt x="0" y="16"/>
                  </a:cubicBezTo>
                  <a:cubicBezTo>
                    <a:pt x="0" y="6"/>
                    <a:pt x="3" y="3"/>
                    <a:pt x="13" y="3"/>
                  </a:cubicBezTo>
                  <a:cubicBezTo>
                    <a:pt x="42" y="3"/>
                    <a:pt x="71" y="4"/>
                    <a:pt x="100" y="3"/>
                  </a:cubicBezTo>
                  <a:cubicBezTo>
                    <a:pt x="114" y="2"/>
                    <a:pt x="121" y="6"/>
                    <a:pt x="119" y="21"/>
                  </a:cubicBezTo>
                  <a:cubicBezTo>
                    <a:pt x="118" y="24"/>
                    <a:pt x="119" y="28"/>
                    <a:pt x="120" y="33"/>
                  </a:cubicBezTo>
                  <a:close/>
                  <a:moveTo>
                    <a:pt x="108" y="67"/>
                  </a:moveTo>
                  <a:cubicBezTo>
                    <a:pt x="98" y="74"/>
                    <a:pt x="91" y="79"/>
                    <a:pt x="84" y="83"/>
                  </a:cubicBezTo>
                  <a:cubicBezTo>
                    <a:pt x="58" y="101"/>
                    <a:pt x="58" y="101"/>
                    <a:pt x="35" y="80"/>
                  </a:cubicBezTo>
                  <a:cubicBezTo>
                    <a:pt x="29" y="75"/>
                    <a:pt x="23" y="72"/>
                    <a:pt x="31" y="62"/>
                  </a:cubicBezTo>
                  <a:cubicBezTo>
                    <a:pt x="40" y="53"/>
                    <a:pt x="43" y="60"/>
                    <a:pt x="49" y="64"/>
                  </a:cubicBezTo>
                  <a:cubicBezTo>
                    <a:pt x="54" y="68"/>
                    <a:pt x="57" y="76"/>
                    <a:pt x="65" y="71"/>
                  </a:cubicBezTo>
                  <a:cubicBezTo>
                    <a:pt x="78" y="62"/>
                    <a:pt x="91" y="54"/>
                    <a:pt x="103" y="44"/>
                  </a:cubicBezTo>
                  <a:cubicBezTo>
                    <a:pt x="113" y="37"/>
                    <a:pt x="109" y="27"/>
                    <a:pt x="108" y="18"/>
                  </a:cubicBezTo>
                  <a:cubicBezTo>
                    <a:pt x="107" y="10"/>
                    <a:pt x="98" y="14"/>
                    <a:pt x="92" y="14"/>
                  </a:cubicBezTo>
                  <a:cubicBezTo>
                    <a:pt x="68" y="13"/>
                    <a:pt x="44" y="14"/>
                    <a:pt x="21" y="13"/>
                  </a:cubicBezTo>
                  <a:cubicBezTo>
                    <a:pt x="13" y="13"/>
                    <a:pt x="9" y="15"/>
                    <a:pt x="9" y="23"/>
                  </a:cubicBezTo>
                  <a:cubicBezTo>
                    <a:pt x="10" y="50"/>
                    <a:pt x="10" y="76"/>
                    <a:pt x="9" y="103"/>
                  </a:cubicBezTo>
                  <a:cubicBezTo>
                    <a:pt x="9" y="109"/>
                    <a:pt x="12" y="113"/>
                    <a:pt x="19" y="113"/>
                  </a:cubicBezTo>
                  <a:cubicBezTo>
                    <a:pt x="46" y="112"/>
                    <a:pt x="73" y="112"/>
                    <a:pt x="100" y="112"/>
                  </a:cubicBezTo>
                  <a:cubicBezTo>
                    <a:pt x="106" y="112"/>
                    <a:pt x="108" y="110"/>
                    <a:pt x="108" y="104"/>
                  </a:cubicBezTo>
                  <a:cubicBezTo>
                    <a:pt x="108" y="93"/>
                    <a:pt x="108" y="82"/>
                    <a:pt x="108" y="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2" name="Freeform 59"/>
            <p:cNvSpPr>
              <a:spLocks/>
            </p:cNvSpPr>
            <p:nvPr/>
          </p:nvSpPr>
          <p:spPr bwMode="auto">
            <a:xfrm>
              <a:off x="3606" y="1871"/>
              <a:ext cx="861" cy="55"/>
            </a:xfrm>
            <a:custGeom>
              <a:avLst/>
              <a:gdLst>
                <a:gd name="T0" fmla="*/ 181 w 364"/>
                <a:gd name="T1" fmla="*/ 20 h 23"/>
                <a:gd name="T2" fmla="*/ 13 w 364"/>
                <a:gd name="T3" fmla="*/ 20 h 23"/>
                <a:gd name="T4" fmla="*/ 0 w 364"/>
                <a:gd name="T5" fmla="*/ 12 h 23"/>
                <a:gd name="T6" fmla="*/ 14 w 364"/>
                <a:gd name="T7" fmla="*/ 3 h 23"/>
                <a:gd name="T8" fmla="*/ 351 w 364"/>
                <a:gd name="T9" fmla="*/ 3 h 23"/>
                <a:gd name="T10" fmla="*/ 363 w 364"/>
                <a:gd name="T11" fmla="*/ 11 h 23"/>
                <a:gd name="T12" fmla="*/ 350 w 364"/>
                <a:gd name="T13" fmla="*/ 20 h 23"/>
                <a:gd name="T14" fmla="*/ 181 w 364"/>
                <a:gd name="T15" fmla="*/ 2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4" h="23">
                  <a:moveTo>
                    <a:pt x="181" y="20"/>
                  </a:moveTo>
                  <a:cubicBezTo>
                    <a:pt x="125" y="20"/>
                    <a:pt x="69" y="20"/>
                    <a:pt x="13" y="20"/>
                  </a:cubicBezTo>
                  <a:cubicBezTo>
                    <a:pt x="8" y="20"/>
                    <a:pt x="0" y="23"/>
                    <a:pt x="0" y="12"/>
                  </a:cubicBezTo>
                  <a:cubicBezTo>
                    <a:pt x="0" y="0"/>
                    <a:pt x="8" y="3"/>
                    <a:pt x="14" y="3"/>
                  </a:cubicBezTo>
                  <a:cubicBezTo>
                    <a:pt x="126" y="3"/>
                    <a:pt x="238" y="3"/>
                    <a:pt x="351" y="3"/>
                  </a:cubicBezTo>
                  <a:cubicBezTo>
                    <a:pt x="356" y="3"/>
                    <a:pt x="363" y="1"/>
                    <a:pt x="363" y="11"/>
                  </a:cubicBezTo>
                  <a:cubicBezTo>
                    <a:pt x="364" y="22"/>
                    <a:pt x="356" y="20"/>
                    <a:pt x="350" y="20"/>
                  </a:cubicBezTo>
                  <a:cubicBezTo>
                    <a:pt x="294" y="20"/>
                    <a:pt x="238" y="20"/>
                    <a:pt x="181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3" name="Freeform 60"/>
            <p:cNvSpPr>
              <a:spLocks/>
            </p:cNvSpPr>
            <p:nvPr/>
          </p:nvSpPr>
          <p:spPr bwMode="auto">
            <a:xfrm>
              <a:off x="3603" y="2245"/>
              <a:ext cx="864" cy="57"/>
            </a:xfrm>
            <a:custGeom>
              <a:avLst/>
              <a:gdLst>
                <a:gd name="T0" fmla="*/ 184 w 365"/>
                <a:gd name="T1" fmla="*/ 3 h 24"/>
                <a:gd name="T2" fmla="*/ 350 w 365"/>
                <a:gd name="T3" fmla="*/ 3 h 24"/>
                <a:gd name="T4" fmla="*/ 364 w 365"/>
                <a:gd name="T5" fmla="*/ 11 h 24"/>
                <a:gd name="T6" fmla="*/ 350 w 365"/>
                <a:gd name="T7" fmla="*/ 20 h 24"/>
                <a:gd name="T8" fmla="*/ 16 w 365"/>
                <a:gd name="T9" fmla="*/ 20 h 24"/>
                <a:gd name="T10" fmla="*/ 1 w 365"/>
                <a:gd name="T11" fmla="*/ 14 h 24"/>
                <a:gd name="T12" fmla="*/ 13 w 365"/>
                <a:gd name="T13" fmla="*/ 3 h 24"/>
                <a:gd name="T14" fmla="*/ 184 w 365"/>
                <a:gd name="T15" fmla="*/ 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5" h="24">
                  <a:moveTo>
                    <a:pt x="184" y="3"/>
                  </a:moveTo>
                  <a:cubicBezTo>
                    <a:pt x="240" y="3"/>
                    <a:pt x="295" y="3"/>
                    <a:pt x="350" y="3"/>
                  </a:cubicBezTo>
                  <a:cubicBezTo>
                    <a:pt x="356" y="3"/>
                    <a:pt x="364" y="0"/>
                    <a:pt x="364" y="11"/>
                  </a:cubicBezTo>
                  <a:cubicBezTo>
                    <a:pt x="365" y="23"/>
                    <a:pt x="356" y="20"/>
                    <a:pt x="350" y="20"/>
                  </a:cubicBezTo>
                  <a:cubicBezTo>
                    <a:pt x="239" y="20"/>
                    <a:pt x="127" y="20"/>
                    <a:pt x="16" y="20"/>
                  </a:cubicBezTo>
                  <a:cubicBezTo>
                    <a:pt x="11" y="20"/>
                    <a:pt x="3" y="24"/>
                    <a:pt x="1" y="14"/>
                  </a:cubicBezTo>
                  <a:cubicBezTo>
                    <a:pt x="0" y="5"/>
                    <a:pt x="4" y="3"/>
                    <a:pt x="13" y="3"/>
                  </a:cubicBezTo>
                  <a:cubicBezTo>
                    <a:pt x="70" y="3"/>
                    <a:pt x="127" y="3"/>
                    <a:pt x="18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4" name="Freeform 61"/>
            <p:cNvSpPr>
              <a:spLocks/>
            </p:cNvSpPr>
            <p:nvPr/>
          </p:nvSpPr>
          <p:spPr bwMode="auto">
            <a:xfrm>
              <a:off x="3606" y="3019"/>
              <a:ext cx="861" cy="57"/>
            </a:xfrm>
            <a:custGeom>
              <a:avLst/>
              <a:gdLst>
                <a:gd name="T0" fmla="*/ 183 w 364"/>
                <a:gd name="T1" fmla="*/ 3 h 24"/>
                <a:gd name="T2" fmla="*/ 349 w 364"/>
                <a:gd name="T3" fmla="*/ 3 h 24"/>
                <a:gd name="T4" fmla="*/ 363 w 364"/>
                <a:gd name="T5" fmla="*/ 13 h 24"/>
                <a:gd name="T6" fmla="*/ 349 w 364"/>
                <a:gd name="T7" fmla="*/ 20 h 24"/>
                <a:gd name="T8" fmla="*/ 14 w 364"/>
                <a:gd name="T9" fmla="*/ 21 h 24"/>
                <a:gd name="T10" fmla="*/ 0 w 364"/>
                <a:gd name="T11" fmla="*/ 11 h 24"/>
                <a:gd name="T12" fmla="*/ 14 w 364"/>
                <a:gd name="T13" fmla="*/ 4 h 24"/>
                <a:gd name="T14" fmla="*/ 183 w 364"/>
                <a:gd name="T15" fmla="*/ 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4" h="24">
                  <a:moveTo>
                    <a:pt x="183" y="3"/>
                  </a:moveTo>
                  <a:cubicBezTo>
                    <a:pt x="239" y="3"/>
                    <a:pt x="294" y="3"/>
                    <a:pt x="349" y="3"/>
                  </a:cubicBezTo>
                  <a:cubicBezTo>
                    <a:pt x="356" y="3"/>
                    <a:pt x="364" y="1"/>
                    <a:pt x="363" y="13"/>
                  </a:cubicBezTo>
                  <a:cubicBezTo>
                    <a:pt x="363" y="24"/>
                    <a:pt x="355" y="20"/>
                    <a:pt x="349" y="20"/>
                  </a:cubicBezTo>
                  <a:cubicBezTo>
                    <a:pt x="238" y="21"/>
                    <a:pt x="126" y="21"/>
                    <a:pt x="14" y="21"/>
                  </a:cubicBezTo>
                  <a:cubicBezTo>
                    <a:pt x="8" y="21"/>
                    <a:pt x="0" y="23"/>
                    <a:pt x="0" y="11"/>
                  </a:cubicBezTo>
                  <a:cubicBezTo>
                    <a:pt x="1" y="0"/>
                    <a:pt x="9" y="4"/>
                    <a:pt x="14" y="4"/>
                  </a:cubicBezTo>
                  <a:cubicBezTo>
                    <a:pt x="70" y="3"/>
                    <a:pt x="127" y="3"/>
                    <a:pt x="18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5" name="Freeform 62"/>
            <p:cNvSpPr>
              <a:spLocks/>
            </p:cNvSpPr>
            <p:nvPr/>
          </p:nvSpPr>
          <p:spPr bwMode="auto">
            <a:xfrm>
              <a:off x="3606" y="1462"/>
              <a:ext cx="859" cy="54"/>
            </a:xfrm>
            <a:custGeom>
              <a:avLst/>
              <a:gdLst>
                <a:gd name="T0" fmla="*/ 183 w 363"/>
                <a:gd name="T1" fmla="*/ 3 h 23"/>
                <a:gd name="T2" fmla="*/ 349 w 363"/>
                <a:gd name="T3" fmla="*/ 3 h 23"/>
                <a:gd name="T4" fmla="*/ 363 w 363"/>
                <a:gd name="T5" fmla="*/ 11 h 23"/>
                <a:gd name="T6" fmla="*/ 349 w 363"/>
                <a:gd name="T7" fmla="*/ 19 h 23"/>
                <a:gd name="T8" fmla="*/ 13 w 363"/>
                <a:gd name="T9" fmla="*/ 19 h 23"/>
                <a:gd name="T10" fmla="*/ 0 w 363"/>
                <a:gd name="T11" fmla="*/ 12 h 23"/>
                <a:gd name="T12" fmla="*/ 13 w 363"/>
                <a:gd name="T13" fmla="*/ 3 h 23"/>
                <a:gd name="T14" fmla="*/ 183 w 363"/>
                <a:gd name="T15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3" h="23">
                  <a:moveTo>
                    <a:pt x="183" y="3"/>
                  </a:moveTo>
                  <a:cubicBezTo>
                    <a:pt x="238" y="3"/>
                    <a:pt x="294" y="3"/>
                    <a:pt x="349" y="3"/>
                  </a:cubicBezTo>
                  <a:cubicBezTo>
                    <a:pt x="355" y="3"/>
                    <a:pt x="363" y="0"/>
                    <a:pt x="363" y="11"/>
                  </a:cubicBezTo>
                  <a:cubicBezTo>
                    <a:pt x="363" y="23"/>
                    <a:pt x="355" y="19"/>
                    <a:pt x="349" y="19"/>
                  </a:cubicBezTo>
                  <a:cubicBezTo>
                    <a:pt x="237" y="20"/>
                    <a:pt x="125" y="20"/>
                    <a:pt x="13" y="19"/>
                  </a:cubicBezTo>
                  <a:cubicBezTo>
                    <a:pt x="8" y="19"/>
                    <a:pt x="1" y="22"/>
                    <a:pt x="0" y="12"/>
                  </a:cubicBezTo>
                  <a:cubicBezTo>
                    <a:pt x="0" y="1"/>
                    <a:pt x="8" y="3"/>
                    <a:pt x="13" y="3"/>
                  </a:cubicBezTo>
                  <a:cubicBezTo>
                    <a:pt x="70" y="3"/>
                    <a:pt x="126" y="3"/>
                    <a:pt x="18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6" name="Freeform 63"/>
            <p:cNvSpPr>
              <a:spLocks/>
            </p:cNvSpPr>
            <p:nvPr/>
          </p:nvSpPr>
          <p:spPr bwMode="auto">
            <a:xfrm>
              <a:off x="3606" y="2655"/>
              <a:ext cx="859" cy="52"/>
            </a:xfrm>
            <a:custGeom>
              <a:avLst/>
              <a:gdLst>
                <a:gd name="T0" fmla="*/ 180 w 363"/>
                <a:gd name="T1" fmla="*/ 20 h 22"/>
                <a:gd name="T2" fmla="*/ 18 w 363"/>
                <a:gd name="T3" fmla="*/ 20 h 22"/>
                <a:gd name="T4" fmla="*/ 12 w 363"/>
                <a:gd name="T5" fmla="*/ 20 h 22"/>
                <a:gd name="T6" fmla="*/ 0 w 363"/>
                <a:gd name="T7" fmla="*/ 11 h 22"/>
                <a:gd name="T8" fmla="*/ 12 w 363"/>
                <a:gd name="T9" fmla="*/ 4 h 22"/>
                <a:gd name="T10" fmla="*/ 144 w 363"/>
                <a:gd name="T11" fmla="*/ 4 h 22"/>
                <a:gd name="T12" fmla="*/ 349 w 363"/>
                <a:gd name="T13" fmla="*/ 4 h 22"/>
                <a:gd name="T14" fmla="*/ 363 w 363"/>
                <a:gd name="T15" fmla="*/ 11 h 22"/>
                <a:gd name="T16" fmla="*/ 349 w 363"/>
                <a:gd name="T17" fmla="*/ 20 h 22"/>
                <a:gd name="T18" fmla="*/ 180 w 363"/>
                <a:gd name="T19" fmla="*/ 2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3" h="22">
                  <a:moveTo>
                    <a:pt x="180" y="20"/>
                  </a:moveTo>
                  <a:cubicBezTo>
                    <a:pt x="126" y="20"/>
                    <a:pt x="72" y="20"/>
                    <a:pt x="18" y="20"/>
                  </a:cubicBezTo>
                  <a:cubicBezTo>
                    <a:pt x="16" y="20"/>
                    <a:pt x="14" y="20"/>
                    <a:pt x="12" y="20"/>
                  </a:cubicBezTo>
                  <a:cubicBezTo>
                    <a:pt x="6" y="20"/>
                    <a:pt x="0" y="21"/>
                    <a:pt x="0" y="11"/>
                  </a:cubicBezTo>
                  <a:cubicBezTo>
                    <a:pt x="1" y="2"/>
                    <a:pt x="7" y="4"/>
                    <a:pt x="12" y="4"/>
                  </a:cubicBezTo>
                  <a:cubicBezTo>
                    <a:pt x="56" y="4"/>
                    <a:pt x="100" y="4"/>
                    <a:pt x="144" y="4"/>
                  </a:cubicBezTo>
                  <a:cubicBezTo>
                    <a:pt x="212" y="4"/>
                    <a:pt x="281" y="3"/>
                    <a:pt x="349" y="4"/>
                  </a:cubicBezTo>
                  <a:cubicBezTo>
                    <a:pt x="355" y="4"/>
                    <a:pt x="363" y="0"/>
                    <a:pt x="363" y="11"/>
                  </a:cubicBezTo>
                  <a:cubicBezTo>
                    <a:pt x="363" y="22"/>
                    <a:pt x="355" y="20"/>
                    <a:pt x="349" y="20"/>
                  </a:cubicBezTo>
                  <a:cubicBezTo>
                    <a:pt x="293" y="20"/>
                    <a:pt x="236" y="20"/>
                    <a:pt x="180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7" name="Freeform 64"/>
            <p:cNvSpPr>
              <a:spLocks noEditPoints="1"/>
            </p:cNvSpPr>
            <p:nvPr/>
          </p:nvSpPr>
          <p:spPr bwMode="auto">
            <a:xfrm>
              <a:off x="3187" y="2416"/>
              <a:ext cx="281" cy="284"/>
            </a:xfrm>
            <a:custGeom>
              <a:avLst/>
              <a:gdLst>
                <a:gd name="T0" fmla="*/ 119 w 119"/>
                <a:gd name="T1" fmla="*/ 61 h 120"/>
                <a:gd name="T2" fmla="*/ 119 w 119"/>
                <a:gd name="T3" fmla="*/ 106 h 120"/>
                <a:gd name="T4" fmla="*/ 106 w 119"/>
                <a:gd name="T5" fmla="*/ 120 h 120"/>
                <a:gd name="T6" fmla="*/ 11 w 119"/>
                <a:gd name="T7" fmla="*/ 120 h 120"/>
                <a:gd name="T8" fmla="*/ 0 w 119"/>
                <a:gd name="T9" fmla="*/ 108 h 120"/>
                <a:gd name="T10" fmla="*/ 0 w 119"/>
                <a:gd name="T11" fmla="*/ 11 h 120"/>
                <a:gd name="T12" fmla="*/ 10 w 119"/>
                <a:gd name="T13" fmla="*/ 0 h 120"/>
                <a:gd name="T14" fmla="*/ 108 w 119"/>
                <a:gd name="T15" fmla="*/ 0 h 120"/>
                <a:gd name="T16" fmla="*/ 119 w 119"/>
                <a:gd name="T17" fmla="*/ 12 h 120"/>
                <a:gd name="T18" fmla="*/ 119 w 119"/>
                <a:gd name="T19" fmla="*/ 61 h 120"/>
                <a:gd name="T20" fmla="*/ 119 w 119"/>
                <a:gd name="T21" fmla="*/ 61 h 120"/>
                <a:gd name="T22" fmla="*/ 59 w 119"/>
                <a:gd name="T23" fmla="*/ 109 h 120"/>
                <a:gd name="T24" fmla="*/ 97 w 119"/>
                <a:gd name="T25" fmla="*/ 109 h 120"/>
                <a:gd name="T26" fmla="*/ 109 w 119"/>
                <a:gd name="T27" fmla="*/ 98 h 120"/>
                <a:gd name="T28" fmla="*/ 109 w 119"/>
                <a:gd name="T29" fmla="*/ 22 h 120"/>
                <a:gd name="T30" fmla="*/ 97 w 119"/>
                <a:gd name="T31" fmla="*/ 11 h 120"/>
                <a:gd name="T32" fmla="*/ 22 w 119"/>
                <a:gd name="T33" fmla="*/ 10 h 120"/>
                <a:gd name="T34" fmla="*/ 9 w 119"/>
                <a:gd name="T35" fmla="*/ 23 h 120"/>
                <a:gd name="T36" fmla="*/ 9 w 119"/>
                <a:gd name="T37" fmla="*/ 97 h 120"/>
                <a:gd name="T38" fmla="*/ 23 w 119"/>
                <a:gd name="T39" fmla="*/ 109 h 120"/>
                <a:gd name="T40" fmla="*/ 59 w 119"/>
                <a:gd name="T41" fmla="*/ 10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0">
                  <a:moveTo>
                    <a:pt x="119" y="61"/>
                  </a:moveTo>
                  <a:cubicBezTo>
                    <a:pt x="119" y="76"/>
                    <a:pt x="118" y="91"/>
                    <a:pt x="119" y="106"/>
                  </a:cubicBezTo>
                  <a:cubicBezTo>
                    <a:pt x="119" y="116"/>
                    <a:pt x="116" y="120"/>
                    <a:pt x="106" y="120"/>
                  </a:cubicBezTo>
                  <a:cubicBezTo>
                    <a:pt x="74" y="119"/>
                    <a:pt x="43" y="119"/>
                    <a:pt x="11" y="120"/>
                  </a:cubicBezTo>
                  <a:cubicBezTo>
                    <a:pt x="3" y="120"/>
                    <a:pt x="0" y="117"/>
                    <a:pt x="0" y="108"/>
                  </a:cubicBezTo>
                  <a:cubicBezTo>
                    <a:pt x="0" y="76"/>
                    <a:pt x="0" y="43"/>
                    <a:pt x="0" y="11"/>
                  </a:cubicBezTo>
                  <a:cubicBezTo>
                    <a:pt x="0" y="4"/>
                    <a:pt x="2" y="0"/>
                    <a:pt x="10" y="0"/>
                  </a:cubicBezTo>
                  <a:cubicBezTo>
                    <a:pt x="43" y="0"/>
                    <a:pt x="75" y="1"/>
                    <a:pt x="108" y="0"/>
                  </a:cubicBezTo>
                  <a:cubicBezTo>
                    <a:pt x="117" y="0"/>
                    <a:pt x="119" y="4"/>
                    <a:pt x="119" y="12"/>
                  </a:cubicBezTo>
                  <a:cubicBezTo>
                    <a:pt x="118" y="29"/>
                    <a:pt x="119" y="45"/>
                    <a:pt x="119" y="61"/>
                  </a:cubicBezTo>
                  <a:cubicBezTo>
                    <a:pt x="119" y="61"/>
                    <a:pt x="119" y="61"/>
                    <a:pt x="119" y="61"/>
                  </a:cubicBezTo>
                  <a:close/>
                  <a:moveTo>
                    <a:pt x="59" y="109"/>
                  </a:moveTo>
                  <a:cubicBezTo>
                    <a:pt x="71" y="109"/>
                    <a:pt x="84" y="108"/>
                    <a:pt x="97" y="109"/>
                  </a:cubicBezTo>
                  <a:cubicBezTo>
                    <a:pt x="106" y="109"/>
                    <a:pt x="109" y="106"/>
                    <a:pt x="109" y="98"/>
                  </a:cubicBezTo>
                  <a:cubicBezTo>
                    <a:pt x="108" y="72"/>
                    <a:pt x="108" y="47"/>
                    <a:pt x="109" y="22"/>
                  </a:cubicBezTo>
                  <a:cubicBezTo>
                    <a:pt x="109" y="13"/>
                    <a:pt x="105" y="10"/>
                    <a:pt x="97" y="11"/>
                  </a:cubicBezTo>
                  <a:cubicBezTo>
                    <a:pt x="72" y="11"/>
                    <a:pt x="47" y="11"/>
                    <a:pt x="22" y="10"/>
                  </a:cubicBezTo>
                  <a:cubicBezTo>
                    <a:pt x="13" y="10"/>
                    <a:pt x="9" y="13"/>
                    <a:pt x="9" y="23"/>
                  </a:cubicBezTo>
                  <a:cubicBezTo>
                    <a:pt x="10" y="48"/>
                    <a:pt x="10" y="72"/>
                    <a:pt x="9" y="97"/>
                  </a:cubicBezTo>
                  <a:cubicBezTo>
                    <a:pt x="9" y="107"/>
                    <a:pt x="13" y="109"/>
                    <a:pt x="23" y="109"/>
                  </a:cubicBezTo>
                  <a:cubicBezTo>
                    <a:pt x="35" y="108"/>
                    <a:pt x="47" y="109"/>
                    <a:pt x="59" y="1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8" name="Freeform 65"/>
            <p:cNvSpPr>
              <a:spLocks noEditPoints="1"/>
            </p:cNvSpPr>
            <p:nvPr/>
          </p:nvSpPr>
          <p:spPr bwMode="auto">
            <a:xfrm>
              <a:off x="3187" y="2032"/>
              <a:ext cx="281" cy="284"/>
            </a:xfrm>
            <a:custGeom>
              <a:avLst/>
              <a:gdLst>
                <a:gd name="T0" fmla="*/ 60 w 119"/>
                <a:gd name="T1" fmla="*/ 0 h 120"/>
                <a:gd name="T2" fmla="*/ 105 w 119"/>
                <a:gd name="T3" fmla="*/ 0 h 120"/>
                <a:gd name="T4" fmla="*/ 119 w 119"/>
                <a:gd name="T5" fmla="*/ 13 h 120"/>
                <a:gd name="T6" fmla="*/ 119 w 119"/>
                <a:gd name="T7" fmla="*/ 107 h 120"/>
                <a:gd name="T8" fmla="*/ 105 w 119"/>
                <a:gd name="T9" fmla="*/ 120 h 120"/>
                <a:gd name="T10" fmla="*/ 13 w 119"/>
                <a:gd name="T11" fmla="*/ 120 h 120"/>
                <a:gd name="T12" fmla="*/ 0 w 119"/>
                <a:gd name="T13" fmla="*/ 107 h 120"/>
                <a:gd name="T14" fmla="*/ 0 w 119"/>
                <a:gd name="T15" fmla="*/ 12 h 120"/>
                <a:gd name="T16" fmla="*/ 12 w 119"/>
                <a:gd name="T17" fmla="*/ 0 h 120"/>
                <a:gd name="T18" fmla="*/ 60 w 119"/>
                <a:gd name="T19" fmla="*/ 0 h 120"/>
                <a:gd name="T20" fmla="*/ 108 w 119"/>
                <a:gd name="T21" fmla="*/ 61 h 120"/>
                <a:gd name="T22" fmla="*/ 108 w 119"/>
                <a:gd name="T23" fmla="*/ 21 h 120"/>
                <a:gd name="T24" fmla="*/ 99 w 119"/>
                <a:gd name="T25" fmla="*/ 11 h 120"/>
                <a:gd name="T26" fmla="*/ 20 w 119"/>
                <a:gd name="T27" fmla="*/ 11 h 120"/>
                <a:gd name="T28" fmla="*/ 9 w 119"/>
                <a:gd name="T29" fmla="*/ 22 h 120"/>
                <a:gd name="T30" fmla="*/ 9 w 119"/>
                <a:gd name="T31" fmla="*/ 99 h 120"/>
                <a:gd name="T32" fmla="*/ 19 w 119"/>
                <a:gd name="T33" fmla="*/ 109 h 120"/>
                <a:gd name="T34" fmla="*/ 98 w 119"/>
                <a:gd name="T35" fmla="*/ 110 h 120"/>
                <a:gd name="T36" fmla="*/ 108 w 119"/>
                <a:gd name="T37" fmla="*/ 99 h 120"/>
                <a:gd name="T38" fmla="*/ 108 w 119"/>
                <a:gd name="T39" fmla="*/ 61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9" h="120">
                  <a:moveTo>
                    <a:pt x="60" y="0"/>
                  </a:moveTo>
                  <a:cubicBezTo>
                    <a:pt x="75" y="0"/>
                    <a:pt x="90" y="1"/>
                    <a:pt x="105" y="0"/>
                  </a:cubicBezTo>
                  <a:cubicBezTo>
                    <a:pt x="114" y="0"/>
                    <a:pt x="119" y="2"/>
                    <a:pt x="119" y="13"/>
                  </a:cubicBezTo>
                  <a:cubicBezTo>
                    <a:pt x="118" y="44"/>
                    <a:pt x="118" y="75"/>
                    <a:pt x="119" y="107"/>
                  </a:cubicBezTo>
                  <a:cubicBezTo>
                    <a:pt x="119" y="116"/>
                    <a:pt x="115" y="120"/>
                    <a:pt x="105" y="120"/>
                  </a:cubicBezTo>
                  <a:cubicBezTo>
                    <a:pt x="75" y="119"/>
                    <a:pt x="44" y="119"/>
                    <a:pt x="13" y="120"/>
                  </a:cubicBezTo>
                  <a:cubicBezTo>
                    <a:pt x="3" y="120"/>
                    <a:pt x="0" y="116"/>
                    <a:pt x="0" y="107"/>
                  </a:cubicBezTo>
                  <a:cubicBezTo>
                    <a:pt x="0" y="75"/>
                    <a:pt x="0" y="44"/>
                    <a:pt x="0" y="12"/>
                  </a:cubicBezTo>
                  <a:cubicBezTo>
                    <a:pt x="0" y="4"/>
                    <a:pt x="3" y="0"/>
                    <a:pt x="12" y="0"/>
                  </a:cubicBezTo>
                  <a:cubicBezTo>
                    <a:pt x="28" y="1"/>
                    <a:pt x="44" y="0"/>
                    <a:pt x="60" y="0"/>
                  </a:cubicBezTo>
                  <a:close/>
                  <a:moveTo>
                    <a:pt x="108" y="61"/>
                  </a:moveTo>
                  <a:cubicBezTo>
                    <a:pt x="108" y="48"/>
                    <a:pt x="108" y="34"/>
                    <a:pt x="108" y="21"/>
                  </a:cubicBezTo>
                  <a:cubicBezTo>
                    <a:pt x="109" y="14"/>
                    <a:pt x="107" y="11"/>
                    <a:pt x="99" y="11"/>
                  </a:cubicBezTo>
                  <a:cubicBezTo>
                    <a:pt x="73" y="11"/>
                    <a:pt x="46" y="11"/>
                    <a:pt x="20" y="11"/>
                  </a:cubicBezTo>
                  <a:cubicBezTo>
                    <a:pt x="12" y="11"/>
                    <a:pt x="9" y="14"/>
                    <a:pt x="9" y="22"/>
                  </a:cubicBezTo>
                  <a:cubicBezTo>
                    <a:pt x="10" y="48"/>
                    <a:pt x="10" y="73"/>
                    <a:pt x="9" y="99"/>
                  </a:cubicBezTo>
                  <a:cubicBezTo>
                    <a:pt x="9" y="106"/>
                    <a:pt x="12" y="109"/>
                    <a:pt x="19" y="109"/>
                  </a:cubicBezTo>
                  <a:cubicBezTo>
                    <a:pt x="45" y="109"/>
                    <a:pt x="72" y="109"/>
                    <a:pt x="98" y="110"/>
                  </a:cubicBezTo>
                  <a:cubicBezTo>
                    <a:pt x="107" y="110"/>
                    <a:pt x="109" y="106"/>
                    <a:pt x="108" y="99"/>
                  </a:cubicBezTo>
                  <a:cubicBezTo>
                    <a:pt x="108" y="86"/>
                    <a:pt x="108" y="74"/>
                    <a:pt x="108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9" name="Freeform 66"/>
            <p:cNvSpPr>
              <a:spLocks noEditPoints="1"/>
            </p:cNvSpPr>
            <p:nvPr/>
          </p:nvSpPr>
          <p:spPr bwMode="auto">
            <a:xfrm>
              <a:off x="3187" y="2799"/>
              <a:ext cx="281" cy="284"/>
            </a:xfrm>
            <a:custGeom>
              <a:avLst/>
              <a:gdLst>
                <a:gd name="T0" fmla="*/ 0 w 119"/>
                <a:gd name="T1" fmla="*/ 58 h 120"/>
                <a:gd name="T2" fmla="*/ 0 w 119"/>
                <a:gd name="T3" fmla="*/ 12 h 120"/>
                <a:gd name="T4" fmla="*/ 11 w 119"/>
                <a:gd name="T5" fmla="*/ 0 h 120"/>
                <a:gd name="T6" fmla="*/ 108 w 119"/>
                <a:gd name="T7" fmla="*/ 0 h 120"/>
                <a:gd name="T8" fmla="*/ 119 w 119"/>
                <a:gd name="T9" fmla="*/ 11 h 120"/>
                <a:gd name="T10" fmla="*/ 119 w 119"/>
                <a:gd name="T11" fmla="*/ 108 h 120"/>
                <a:gd name="T12" fmla="*/ 107 w 119"/>
                <a:gd name="T13" fmla="*/ 119 h 120"/>
                <a:gd name="T14" fmla="*/ 11 w 119"/>
                <a:gd name="T15" fmla="*/ 119 h 120"/>
                <a:gd name="T16" fmla="*/ 0 w 119"/>
                <a:gd name="T17" fmla="*/ 108 h 120"/>
                <a:gd name="T18" fmla="*/ 0 w 119"/>
                <a:gd name="T19" fmla="*/ 58 h 120"/>
                <a:gd name="T20" fmla="*/ 0 w 119"/>
                <a:gd name="T21" fmla="*/ 58 h 120"/>
                <a:gd name="T22" fmla="*/ 60 w 119"/>
                <a:gd name="T23" fmla="*/ 109 h 120"/>
                <a:gd name="T24" fmla="*/ 97 w 119"/>
                <a:gd name="T25" fmla="*/ 109 h 120"/>
                <a:gd name="T26" fmla="*/ 109 w 119"/>
                <a:gd name="T27" fmla="*/ 98 h 120"/>
                <a:gd name="T28" fmla="*/ 109 w 119"/>
                <a:gd name="T29" fmla="*/ 21 h 120"/>
                <a:gd name="T30" fmla="*/ 96 w 119"/>
                <a:gd name="T31" fmla="*/ 10 h 120"/>
                <a:gd name="T32" fmla="*/ 22 w 119"/>
                <a:gd name="T33" fmla="*/ 10 h 120"/>
                <a:gd name="T34" fmla="*/ 9 w 119"/>
                <a:gd name="T35" fmla="*/ 22 h 120"/>
                <a:gd name="T36" fmla="*/ 9 w 119"/>
                <a:gd name="T37" fmla="*/ 97 h 120"/>
                <a:gd name="T38" fmla="*/ 21 w 119"/>
                <a:gd name="T39" fmla="*/ 109 h 120"/>
                <a:gd name="T40" fmla="*/ 60 w 119"/>
                <a:gd name="T41" fmla="*/ 10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0">
                  <a:moveTo>
                    <a:pt x="0" y="58"/>
                  </a:moveTo>
                  <a:cubicBezTo>
                    <a:pt x="0" y="43"/>
                    <a:pt x="0" y="27"/>
                    <a:pt x="0" y="12"/>
                  </a:cubicBezTo>
                  <a:cubicBezTo>
                    <a:pt x="0" y="4"/>
                    <a:pt x="1" y="0"/>
                    <a:pt x="11" y="0"/>
                  </a:cubicBezTo>
                  <a:cubicBezTo>
                    <a:pt x="43" y="0"/>
                    <a:pt x="75" y="0"/>
                    <a:pt x="108" y="0"/>
                  </a:cubicBezTo>
                  <a:cubicBezTo>
                    <a:pt x="116" y="0"/>
                    <a:pt x="119" y="3"/>
                    <a:pt x="119" y="11"/>
                  </a:cubicBezTo>
                  <a:cubicBezTo>
                    <a:pt x="118" y="43"/>
                    <a:pt x="119" y="75"/>
                    <a:pt x="119" y="108"/>
                  </a:cubicBezTo>
                  <a:cubicBezTo>
                    <a:pt x="119" y="116"/>
                    <a:pt x="115" y="120"/>
                    <a:pt x="107" y="119"/>
                  </a:cubicBezTo>
                  <a:cubicBezTo>
                    <a:pt x="75" y="119"/>
                    <a:pt x="43" y="119"/>
                    <a:pt x="11" y="119"/>
                  </a:cubicBezTo>
                  <a:cubicBezTo>
                    <a:pt x="3" y="119"/>
                    <a:pt x="0" y="116"/>
                    <a:pt x="0" y="108"/>
                  </a:cubicBezTo>
                  <a:cubicBezTo>
                    <a:pt x="0" y="91"/>
                    <a:pt x="0" y="75"/>
                    <a:pt x="0" y="58"/>
                  </a:cubicBezTo>
                  <a:cubicBezTo>
                    <a:pt x="0" y="58"/>
                    <a:pt x="0" y="58"/>
                    <a:pt x="0" y="58"/>
                  </a:cubicBezTo>
                  <a:close/>
                  <a:moveTo>
                    <a:pt x="60" y="109"/>
                  </a:moveTo>
                  <a:cubicBezTo>
                    <a:pt x="72" y="109"/>
                    <a:pt x="85" y="108"/>
                    <a:pt x="97" y="109"/>
                  </a:cubicBezTo>
                  <a:cubicBezTo>
                    <a:pt x="106" y="109"/>
                    <a:pt x="109" y="106"/>
                    <a:pt x="109" y="98"/>
                  </a:cubicBezTo>
                  <a:cubicBezTo>
                    <a:pt x="108" y="72"/>
                    <a:pt x="108" y="47"/>
                    <a:pt x="109" y="21"/>
                  </a:cubicBezTo>
                  <a:cubicBezTo>
                    <a:pt x="109" y="12"/>
                    <a:pt x="105" y="9"/>
                    <a:pt x="96" y="10"/>
                  </a:cubicBezTo>
                  <a:cubicBezTo>
                    <a:pt x="71" y="10"/>
                    <a:pt x="46" y="10"/>
                    <a:pt x="22" y="10"/>
                  </a:cubicBezTo>
                  <a:cubicBezTo>
                    <a:pt x="13" y="10"/>
                    <a:pt x="9" y="13"/>
                    <a:pt x="9" y="22"/>
                  </a:cubicBezTo>
                  <a:cubicBezTo>
                    <a:pt x="10" y="47"/>
                    <a:pt x="10" y="72"/>
                    <a:pt x="9" y="97"/>
                  </a:cubicBezTo>
                  <a:cubicBezTo>
                    <a:pt x="9" y="105"/>
                    <a:pt x="12" y="109"/>
                    <a:pt x="21" y="109"/>
                  </a:cubicBezTo>
                  <a:cubicBezTo>
                    <a:pt x="34" y="108"/>
                    <a:pt x="47" y="109"/>
                    <a:pt x="60" y="1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565" name="Group 201"/>
          <p:cNvGrpSpPr/>
          <p:nvPr/>
        </p:nvGrpSpPr>
        <p:grpSpPr>
          <a:xfrm flipH="1">
            <a:off x="5056204" y="4355924"/>
            <a:ext cx="254089" cy="254089"/>
            <a:chOff x="1282752" y="4938098"/>
            <a:chExt cx="1451258" cy="1449504"/>
          </a:xfrm>
          <a:solidFill>
            <a:schemeClr val="bg1"/>
          </a:solidFill>
          <a:effectLst/>
        </p:grpSpPr>
        <p:grpSp>
          <p:nvGrpSpPr>
            <p:cNvPr id="566" name="Group 203"/>
            <p:cNvGrpSpPr/>
            <p:nvPr/>
          </p:nvGrpSpPr>
          <p:grpSpPr>
            <a:xfrm>
              <a:off x="1783764" y="5241759"/>
              <a:ext cx="444794" cy="514698"/>
              <a:chOff x="14065458" y="16152057"/>
              <a:chExt cx="1908828" cy="2208820"/>
            </a:xfrm>
            <a:grpFill/>
          </p:grpSpPr>
          <p:sp>
            <p:nvSpPr>
              <p:cNvPr id="576" name="Rounded Rectangle 213"/>
              <p:cNvSpPr/>
              <p:nvPr/>
            </p:nvSpPr>
            <p:spPr>
              <a:xfrm rot="20661364">
                <a:off x="14200146" y="16208948"/>
                <a:ext cx="277157" cy="2151929"/>
              </a:xfrm>
              <a:prstGeom prst="roundRect">
                <a:avLst>
                  <a:gd name="adj" fmla="val 46875"/>
                </a:avLst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519970">
                  <a:defRPr/>
                </a:pPr>
                <a:endParaRPr lang="en-US" sz="1842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577" name="Rounded Rectangle 214"/>
              <p:cNvSpPr/>
              <p:nvPr/>
            </p:nvSpPr>
            <p:spPr>
              <a:xfrm rot="938636" flipH="1">
                <a:off x="15569359" y="16208948"/>
                <a:ext cx="277157" cy="2151929"/>
              </a:xfrm>
              <a:prstGeom prst="roundRect">
                <a:avLst>
                  <a:gd name="adj" fmla="val 46875"/>
                </a:avLst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519970">
                  <a:defRPr/>
                </a:pPr>
                <a:endParaRPr lang="en-US" sz="1842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578" name="Rounded Rectangle 215"/>
              <p:cNvSpPr/>
              <p:nvPr/>
            </p:nvSpPr>
            <p:spPr>
              <a:xfrm flipH="1">
                <a:off x="14871104" y="16152057"/>
                <a:ext cx="277157" cy="1138309"/>
              </a:xfrm>
              <a:prstGeom prst="roundRect">
                <a:avLst>
                  <a:gd name="adj" fmla="val 46875"/>
                </a:avLst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519970">
                  <a:defRPr/>
                </a:pPr>
                <a:endParaRPr lang="en-US" sz="1842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579" name="Freeform 216"/>
              <p:cNvSpPr/>
              <p:nvPr/>
            </p:nvSpPr>
            <p:spPr>
              <a:xfrm>
                <a:off x="14065458" y="16512027"/>
                <a:ext cx="1908828" cy="559897"/>
              </a:xfrm>
              <a:custGeom>
                <a:avLst/>
                <a:gdLst>
                  <a:gd name="connsiteX0" fmla="*/ 2650874 w 3020652"/>
                  <a:gd name="connsiteY0" fmla="*/ 501853 h 2043633"/>
                  <a:gd name="connsiteX1" fmla="*/ 2675767 w 3020652"/>
                  <a:gd name="connsiteY1" fmla="*/ 528173 h 2043633"/>
                  <a:gd name="connsiteX2" fmla="*/ 3020652 w 3020652"/>
                  <a:gd name="connsiteY2" fmla="*/ 1451393 h 2043633"/>
                  <a:gd name="connsiteX3" fmla="*/ 2901963 w 3020652"/>
                  <a:gd name="connsiteY3" fmla="*/ 2016341 h 2043633"/>
                  <a:gd name="connsiteX4" fmla="*/ 2897503 w 3020652"/>
                  <a:gd name="connsiteY4" fmla="*/ 2025239 h 2043633"/>
                  <a:gd name="connsiteX5" fmla="*/ 2802193 w 3020652"/>
                  <a:gd name="connsiteY5" fmla="*/ 1436521 h 2043633"/>
                  <a:gd name="connsiteX6" fmla="*/ 2796300 w 3020652"/>
                  <a:gd name="connsiteY6" fmla="*/ 1324385 h 2043633"/>
                  <a:gd name="connsiteX7" fmla="*/ 2744859 w 3020652"/>
                  <a:gd name="connsiteY7" fmla="*/ 1081999 h 2043633"/>
                  <a:gd name="connsiteX8" fmla="*/ 2744751 w 3020652"/>
                  <a:gd name="connsiteY8" fmla="*/ 1081715 h 2043633"/>
                  <a:gd name="connsiteX9" fmla="*/ 384115 w 3020652"/>
                  <a:gd name="connsiteY9" fmla="*/ 486693 h 2043633"/>
                  <a:gd name="connsiteX10" fmla="*/ 296760 w 3020652"/>
                  <a:gd name="connsiteY10" fmla="*/ 1026949 h 2043633"/>
                  <a:gd name="connsiteX11" fmla="*/ 275793 w 3020652"/>
                  <a:gd name="connsiteY11" fmla="*/ 1081999 h 2043633"/>
                  <a:gd name="connsiteX12" fmla="*/ 217678 w 3020652"/>
                  <a:gd name="connsiteY12" fmla="*/ 1451393 h 2043633"/>
                  <a:gd name="connsiteX13" fmla="*/ 220242 w 3020652"/>
                  <a:gd name="connsiteY13" fmla="*/ 1500181 h 2043633"/>
                  <a:gd name="connsiteX14" fmla="*/ 132369 w 3020652"/>
                  <a:gd name="connsiteY14" fmla="*/ 2043633 h 2043633"/>
                  <a:gd name="connsiteX15" fmla="*/ 118689 w 3020652"/>
                  <a:gd name="connsiteY15" fmla="*/ 2016341 h 2043633"/>
                  <a:gd name="connsiteX16" fmla="*/ 0 w 3020652"/>
                  <a:gd name="connsiteY16" fmla="*/ 1451393 h 2043633"/>
                  <a:gd name="connsiteX17" fmla="*/ 344885 w 3020652"/>
                  <a:gd name="connsiteY17" fmla="*/ 528173 h 2043633"/>
                  <a:gd name="connsiteX18" fmla="*/ 1510326 w 3020652"/>
                  <a:gd name="connsiteY18" fmla="*/ 0 h 2043633"/>
                  <a:gd name="connsiteX19" fmla="*/ 2471034 w 3020652"/>
                  <a:gd name="connsiteY19" fmla="*/ 331427 h 2043633"/>
                  <a:gd name="connsiteX20" fmla="*/ 2474929 w 3020652"/>
                  <a:gd name="connsiteY20" fmla="*/ 334829 h 2043633"/>
                  <a:gd name="connsiteX21" fmla="*/ 2409343 w 3020652"/>
                  <a:gd name="connsiteY21" fmla="*/ 559897 h 2043633"/>
                  <a:gd name="connsiteX22" fmla="*/ 2332570 w 3020652"/>
                  <a:gd name="connsiteY22" fmla="*/ 492845 h 2043633"/>
                  <a:gd name="connsiteX23" fmla="*/ 1510326 w 3020652"/>
                  <a:gd name="connsiteY23" fmla="*/ 209184 h 2043633"/>
                  <a:gd name="connsiteX24" fmla="*/ 688082 w 3020652"/>
                  <a:gd name="connsiteY24" fmla="*/ 492845 h 2043633"/>
                  <a:gd name="connsiteX25" fmla="*/ 630169 w 3020652"/>
                  <a:gd name="connsiteY25" fmla="*/ 543425 h 2043633"/>
                  <a:gd name="connsiteX26" fmla="*/ 566101 w 3020652"/>
                  <a:gd name="connsiteY26" fmla="*/ 319583 h 2043633"/>
                  <a:gd name="connsiteX27" fmla="*/ 665888 w 3020652"/>
                  <a:gd name="connsiteY27" fmla="*/ 247875 h 2043633"/>
                  <a:gd name="connsiteX28" fmla="*/ 1510326 w 3020652"/>
                  <a:gd name="connsiteY28" fmla="*/ 0 h 2043633"/>
                  <a:gd name="connsiteX0" fmla="*/ 2744751 w 3020652"/>
                  <a:gd name="connsiteY0" fmla="*/ 1081715 h 2043633"/>
                  <a:gd name="connsiteX1" fmla="*/ 2675767 w 3020652"/>
                  <a:gd name="connsiteY1" fmla="*/ 528173 h 2043633"/>
                  <a:gd name="connsiteX2" fmla="*/ 3020652 w 3020652"/>
                  <a:gd name="connsiteY2" fmla="*/ 1451393 h 2043633"/>
                  <a:gd name="connsiteX3" fmla="*/ 2901963 w 3020652"/>
                  <a:gd name="connsiteY3" fmla="*/ 2016341 h 2043633"/>
                  <a:gd name="connsiteX4" fmla="*/ 2897503 w 3020652"/>
                  <a:gd name="connsiteY4" fmla="*/ 2025239 h 2043633"/>
                  <a:gd name="connsiteX5" fmla="*/ 2802193 w 3020652"/>
                  <a:gd name="connsiteY5" fmla="*/ 1436521 h 2043633"/>
                  <a:gd name="connsiteX6" fmla="*/ 2796300 w 3020652"/>
                  <a:gd name="connsiteY6" fmla="*/ 1324385 h 2043633"/>
                  <a:gd name="connsiteX7" fmla="*/ 2744859 w 3020652"/>
                  <a:gd name="connsiteY7" fmla="*/ 1081999 h 2043633"/>
                  <a:gd name="connsiteX8" fmla="*/ 2744751 w 3020652"/>
                  <a:gd name="connsiteY8" fmla="*/ 1081715 h 2043633"/>
                  <a:gd name="connsiteX9" fmla="*/ 384115 w 3020652"/>
                  <a:gd name="connsiteY9" fmla="*/ 486693 h 2043633"/>
                  <a:gd name="connsiteX10" fmla="*/ 296760 w 3020652"/>
                  <a:gd name="connsiteY10" fmla="*/ 1026949 h 2043633"/>
                  <a:gd name="connsiteX11" fmla="*/ 275793 w 3020652"/>
                  <a:gd name="connsiteY11" fmla="*/ 1081999 h 2043633"/>
                  <a:gd name="connsiteX12" fmla="*/ 217678 w 3020652"/>
                  <a:gd name="connsiteY12" fmla="*/ 1451393 h 2043633"/>
                  <a:gd name="connsiteX13" fmla="*/ 220242 w 3020652"/>
                  <a:gd name="connsiteY13" fmla="*/ 1500181 h 2043633"/>
                  <a:gd name="connsiteX14" fmla="*/ 132369 w 3020652"/>
                  <a:gd name="connsiteY14" fmla="*/ 2043633 h 2043633"/>
                  <a:gd name="connsiteX15" fmla="*/ 118689 w 3020652"/>
                  <a:gd name="connsiteY15" fmla="*/ 2016341 h 2043633"/>
                  <a:gd name="connsiteX16" fmla="*/ 0 w 3020652"/>
                  <a:gd name="connsiteY16" fmla="*/ 1451393 h 2043633"/>
                  <a:gd name="connsiteX17" fmla="*/ 344885 w 3020652"/>
                  <a:gd name="connsiteY17" fmla="*/ 528173 h 2043633"/>
                  <a:gd name="connsiteX18" fmla="*/ 384115 w 3020652"/>
                  <a:gd name="connsiteY18" fmla="*/ 486693 h 2043633"/>
                  <a:gd name="connsiteX19" fmla="*/ 1510326 w 3020652"/>
                  <a:gd name="connsiteY19" fmla="*/ 0 h 2043633"/>
                  <a:gd name="connsiteX20" fmla="*/ 2471034 w 3020652"/>
                  <a:gd name="connsiteY20" fmla="*/ 331427 h 2043633"/>
                  <a:gd name="connsiteX21" fmla="*/ 2474929 w 3020652"/>
                  <a:gd name="connsiteY21" fmla="*/ 334829 h 2043633"/>
                  <a:gd name="connsiteX22" fmla="*/ 2409343 w 3020652"/>
                  <a:gd name="connsiteY22" fmla="*/ 559897 h 2043633"/>
                  <a:gd name="connsiteX23" fmla="*/ 2332570 w 3020652"/>
                  <a:gd name="connsiteY23" fmla="*/ 492845 h 2043633"/>
                  <a:gd name="connsiteX24" fmla="*/ 1510326 w 3020652"/>
                  <a:gd name="connsiteY24" fmla="*/ 209184 h 2043633"/>
                  <a:gd name="connsiteX25" fmla="*/ 688082 w 3020652"/>
                  <a:gd name="connsiteY25" fmla="*/ 492845 h 2043633"/>
                  <a:gd name="connsiteX26" fmla="*/ 630169 w 3020652"/>
                  <a:gd name="connsiteY26" fmla="*/ 543425 h 2043633"/>
                  <a:gd name="connsiteX27" fmla="*/ 566101 w 3020652"/>
                  <a:gd name="connsiteY27" fmla="*/ 319583 h 2043633"/>
                  <a:gd name="connsiteX28" fmla="*/ 665888 w 3020652"/>
                  <a:gd name="connsiteY28" fmla="*/ 247875 h 2043633"/>
                  <a:gd name="connsiteX29" fmla="*/ 1510326 w 3020652"/>
                  <a:gd name="connsiteY29" fmla="*/ 0 h 2043633"/>
                  <a:gd name="connsiteX0" fmla="*/ 2744751 w 3020652"/>
                  <a:gd name="connsiteY0" fmla="*/ 1081715 h 2043633"/>
                  <a:gd name="connsiteX1" fmla="*/ 3020652 w 3020652"/>
                  <a:gd name="connsiteY1" fmla="*/ 1451393 h 2043633"/>
                  <a:gd name="connsiteX2" fmla="*/ 2901963 w 3020652"/>
                  <a:gd name="connsiteY2" fmla="*/ 2016341 h 2043633"/>
                  <a:gd name="connsiteX3" fmla="*/ 2897503 w 3020652"/>
                  <a:gd name="connsiteY3" fmla="*/ 2025239 h 2043633"/>
                  <a:gd name="connsiteX4" fmla="*/ 2802193 w 3020652"/>
                  <a:gd name="connsiteY4" fmla="*/ 1436521 h 2043633"/>
                  <a:gd name="connsiteX5" fmla="*/ 2796300 w 3020652"/>
                  <a:gd name="connsiteY5" fmla="*/ 1324385 h 2043633"/>
                  <a:gd name="connsiteX6" fmla="*/ 2744859 w 3020652"/>
                  <a:gd name="connsiteY6" fmla="*/ 1081999 h 2043633"/>
                  <a:gd name="connsiteX7" fmla="*/ 2744751 w 3020652"/>
                  <a:gd name="connsiteY7" fmla="*/ 1081715 h 2043633"/>
                  <a:gd name="connsiteX8" fmla="*/ 384115 w 3020652"/>
                  <a:gd name="connsiteY8" fmla="*/ 486693 h 2043633"/>
                  <a:gd name="connsiteX9" fmla="*/ 296760 w 3020652"/>
                  <a:gd name="connsiteY9" fmla="*/ 1026949 h 2043633"/>
                  <a:gd name="connsiteX10" fmla="*/ 275793 w 3020652"/>
                  <a:gd name="connsiteY10" fmla="*/ 1081999 h 2043633"/>
                  <a:gd name="connsiteX11" fmla="*/ 217678 w 3020652"/>
                  <a:gd name="connsiteY11" fmla="*/ 1451393 h 2043633"/>
                  <a:gd name="connsiteX12" fmla="*/ 220242 w 3020652"/>
                  <a:gd name="connsiteY12" fmla="*/ 1500181 h 2043633"/>
                  <a:gd name="connsiteX13" fmla="*/ 132369 w 3020652"/>
                  <a:gd name="connsiteY13" fmla="*/ 2043633 h 2043633"/>
                  <a:gd name="connsiteX14" fmla="*/ 118689 w 3020652"/>
                  <a:gd name="connsiteY14" fmla="*/ 2016341 h 2043633"/>
                  <a:gd name="connsiteX15" fmla="*/ 0 w 3020652"/>
                  <a:gd name="connsiteY15" fmla="*/ 1451393 h 2043633"/>
                  <a:gd name="connsiteX16" fmla="*/ 344885 w 3020652"/>
                  <a:gd name="connsiteY16" fmla="*/ 528173 h 2043633"/>
                  <a:gd name="connsiteX17" fmla="*/ 384115 w 3020652"/>
                  <a:gd name="connsiteY17" fmla="*/ 486693 h 2043633"/>
                  <a:gd name="connsiteX18" fmla="*/ 1510326 w 3020652"/>
                  <a:gd name="connsiteY18" fmla="*/ 0 h 2043633"/>
                  <a:gd name="connsiteX19" fmla="*/ 2471034 w 3020652"/>
                  <a:gd name="connsiteY19" fmla="*/ 331427 h 2043633"/>
                  <a:gd name="connsiteX20" fmla="*/ 2474929 w 3020652"/>
                  <a:gd name="connsiteY20" fmla="*/ 334829 h 2043633"/>
                  <a:gd name="connsiteX21" fmla="*/ 2409343 w 3020652"/>
                  <a:gd name="connsiteY21" fmla="*/ 559897 h 2043633"/>
                  <a:gd name="connsiteX22" fmla="*/ 2332570 w 3020652"/>
                  <a:gd name="connsiteY22" fmla="*/ 492845 h 2043633"/>
                  <a:gd name="connsiteX23" fmla="*/ 1510326 w 3020652"/>
                  <a:gd name="connsiteY23" fmla="*/ 209184 h 2043633"/>
                  <a:gd name="connsiteX24" fmla="*/ 688082 w 3020652"/>
                  <a:gd name="connsiteY24" fmla="*/ 492845 h 2043633"/>
                  <a:gd name="connsiteX25" fmla="*/ 630169 w 3020652"/>
                  <a:gd name="connsiteY25" fmla="*/ 543425 h 2043633"/>
                  <a:gd name="connsiteX26" fmla="*/ 566101 w 3020652"/>
                  <a:gd name="connsiteY26" fmla="*/ 319583 h 2043633"/>
                  <a:gd name="connsiteX27" fmla="*/ 665888 w 3020652"/>
                  <a:gd name="connsiteY27" fmla="*/ 247875 h 2043633"/>
                  <a:gd name="connsiteX28" fmla="*/ 1510326 w 3020652"/>
                  <a:gd name="connsiteY28" fmla="*/ 0 h 2043633"/>
                  <a:gd name="connsiteX0" fmla="*/ 2744859 w 3020652"/>
                  <a:gd name="connsiteY0" fmla="*/ 1081999 h 2043633"/>
                  <a:gd name="connsiteX1" fmla="*/ 3020652 w 3020652"/>
                  <a:gd name="connsiteY1" fmla="*/ 1451393 h 2043633"/>
                  <a:gd name="connsiteX2" fmla="*/ 2901963 w 3020652"/>
                  <a:gd name="connsiteY2" fmla="*/ 2016341 h 2043633"/>
                  <a:gd name="connsiteX3" fmla="*/ 2897503 w 3020652"/>
                  <a:gd name="connsiteY3" fmla="*/ 2025239 h 2043633"/>
                  <a:gd name="connsiteX4" fmla="*/ 2802193 w 3020652"/>
                  <a:gd name="connsiteY4" fmla="*/ 1436521 h 2043633"/>
                  <a:gd name="connsiteX5" fmla="*/ 2796300 w 3020652"/>
                  <a:gd name="connsiteY5" fmla="*/ 1324385 h 2043633"/>
                  <a:gd name="connsiteX6" fmla="*/ 2744859 w 3020652"/>
                  <a:gd name="connsiteY6" fmla="*/ 1081999 h 2043633"/>
                  <a:gd name="connsiteX7" fmla="*/ 384115 w 3020652"/>
                  <a:gd name="connsiteY7" fmla="*/ 486693 h 2043633"/>
                  <a:gd name="connsiteX8" fmla="*/ 296760 w 3020652"/>
                  <a:gd name="connsiteY8" fmla="*/ 1026949 h 2043633"/>
                  <a:gd name="connsiteX9" fmla="*/ 275793 w 3020652"/>
                  <a:gd name="connsiteY9" fmla="*/ 1081999 h 2043633"/>
                  <a:gd name="connsiteX10" fmla="*/ 217678 w 3020652"/>
                  <a:gd name="connsiteY10" fmla="*/ 1451393 h 2043633"/>
                  <a:gd name="connsiteX11" fmla="*/ 220242 w 3020652"/>
                  <a:gd name="connsiteY11" fmla="*/ 1500181 h 2043633"/>
                  <a:gd name="connsiteX12" fmla="*/ 132369 w 3020652"/>
                  <a:gd name="connsiteY12" fmla="*/ 2043633 h 2043633"/>
                  <a:gd name="connsiteX13" fmla="*/ 118689 w 3020652"/>
                  <a:gd name="connsiteY13" fmla="*/ 2016341 h 2043633"/>
                  <a:gd name="connsiteX14" fmla="*/ 0 w 3020652"/>
                  <a:gd name="connsiteY14" fmla="*/ 1451393 h 2043633"/>
                  <a:gd name="connsiteX15" fmla="*/ 344885 w 3020652"/>
                  <a:gd name="connsiteY15" fmla="*/ 528173 h 2043633"/>
                  <a:gd name="connsiteX16" fmla="*/ 384115 w 3020652"/>
                  <a:gd name="connsiteY16" fmla="*/ 486693 h 2043633"/>
                  <a:gd name="connsiteX17" fmla="*/ 1510326 w 3020652"/>
                  <a:gd name="connsiteY17" fmla="*/ 0 h 2043633"/>
                  <a:gd name="connsiteX18" fmla="*/ 2471034 w 3020652"/>
                  <a:gd name="connsiteY18" fmla="*/ 331427 h 2043633"/>
                  <a:gd name="connsiteX19" fmla="*/ 2474929 w 3020652"/>
                  <a:gd name="connsiteY19" fmla="*/ 334829 h 2043633"/>
                  <a:gd name="connsiteX20" fmla="*/ 2409343 w 3020652"/>
                  <a:gd name="connsiteY20" fmla="*/ 559897 h 2043633"/>
                  <a:gd name="connsiteX21" fmla="*/ 2332570 w 3020652"/>
                  <a:gd name="connsiteY21" fmla="*/ 492845 h 2043633"/>
                  <a:gd name="connsiteX22" fmla="*/ 1510326 w 3020652"/>
                  <a:gd name="connsiteY22" fmla="*/ 209184 h 2043633"/>
                  <a:gd name="connsiteX23" fmla="*/ 688082 w 3020652"/>
                  <a:gd name="connsiteY23" fmla="*/ 492845 h 2043633"/>
                  <a:gd name="connsiteX24" fmla="*/ 630169 w 3020652"/>
                  <a:gd name="connsiteY24" fmla="*/ 543425 h 2043633"/>
                  <a:gd name="connsiteX25" fmla="*/ 566101 w 3020652"/>
                  <a:gd name="connsiteY25" fmla="*/ 319583 h 2043633"/>
                  <a:gd name="connsiteX26" fmla="*/ 665888 w 3020652"/>
                  <a:gd name="connsiteY26" fmla="*/ 247875 h 2043633"/>
                  <a:gd name="connsiteX27" fmla="*/ 1510326 w 3020652"/>
                  <a:gd name="connsiteY27" fmla="*/ 0 h 2043633"/>
                  <a:gd name="connsiteX0" fmla="*/ 2796300 w 3023749"/>
                  <a:gd name="connsiteY0" fmla="*/ 1324385 h 2043633"/>
                  <a:gd name="connsiteX1" fmla="*/ 3020652 w 3023749"/>
                  <a:gd name="connsiteY1" fmla="*/ 1451393 h 2043633"/>
                  <a:gd name="connsiteX2" fmla="*/ 2901963 w 3023749"/>
                  <a:gd name="connsiteY2" fmla="*/ 2016341 h 2043633"/>
                  <a:gd name="connsiteX3" fmla="*/ 2897503 w 3023749"/>
                  <a:gd name="connsiteY3" fmla="*/ 2025239 h 2043633"/>
                  <a:gd name="connsiteX4" fmla="*/ 2802193 w 3023749"/>
                  <a:gd name="connsiteY4" fmla="*/ 1436521 h 2043633"/>
                  <a:gd name="connsiteX5" fmla="*/ 2796300 w 3023749"/>
                  <a:gd name="connsiteY5" fmla="*/ 1324385 h 2043633"/>
                  <a:gd name="connsiteX6" fmla="*/ 384115 w 3023749"/>
                  <a:gd name="connsiteY6" fmla="*/ 486693 h 2043633"/>
                  <a:gd name="connsiteX7" fmla="*/ 296760 w 3023749"/>
                  <a:gd name="connsiteY7" fmla="*/ 1026949 h 2043633"/>
                  <a:gd name="connsiteX8" fmla="*/ 275793 w 3023749"/>
                  <a:gd name="connsiteY8" fmla="*/ 1081999 h 2043633"/>
                  <a:gd name="connsiteX9" fmla="*/ 217678 w 3023749"/>
                  <a:gd name="connsiteY9" fmla="*/ 1451393 h 2043633"/>
                  <a:gd name="connsiteX10" fmla="*/ 220242 w 3023749"/>
                  <a:gd name="connsiteY10" fmla="*/ 1500181 h 2043633"/>
                  <a:gd name="connsiteX11" fmla="*/ 132369 w 3023749"/>
                  <a:gd name="connsiteY11" fmla="*/ 2043633 h 2043633"/>
                  <a:gd name="connsiteX12" fmla="*/ 118689 w 3023749"/>
                  <a:gd name="connsiteY12" fmla="*/ 2016341 h 2043633"/>
                  <a:gd name="connsiteX13" fmla="*/ 0 w 3023749"/>
                  <a:gd name="connsiteY13" fmla="*/ 1451393 h 2043633"/>
                  <a:gd name="connsiteX14" fmla="*/ 344885 w 3023749"/>
                  <a:gd name="connsiteY14" fmla="*/ 528173 h 2043633"/>
                  <a:gd name="connsiteX15" fmla="*/ 384115 w 3023749"/>
                  <a:gd name="connsiteY15" fmla="*/ 486693 h 2043633"/>
                  <a:gd name="connsiteX16" fmla="*/ 1510326 w 3023749"/>
                  <a:gd name="connsiteY16" fmla="*/ 0 h 2043633"/>
                  <a:gd name="connsiteX17" fmla="*/ 2471034 w 3023749"/>
                  <a:gd name="connsiteY17" fmla="*/ 331427 h 2043633"/>
                  <a:gd name="connsiteX18" fmla="*/ 2474929 w 3023749"/>
                  <a:gd name="connsiteY18" fmla="*/ 334829 h 2043633"/>
                  <a:gd name="connsiteX19" fmla="*/ 2409343 w 3023749"/>
                  <a:gd name="connsiteY19" fmla="*/ 559897 h 2043633"/>
                  <a:gd name="connsiteX20" fmla="*/ 2332570 w 3023749"/>
                  <a:gd name="connsiteY20" fmla="*/ 492845 h 2043633"/>
                  <a:gd name="connsiteX21" fmla="*/ 1510326 w 3023749"/>
                  <a:gd name="connsiteY21" fmla="*/ 209184 h 2043633"/>
                  <a:gd name="connsiteX22" fmla="*/ 688082 w 3023749"/>
                  <a:gd name="connsiteY22" fmla="*/ 492845 h 2043633"/>
                  <a:gd name="connsiteX23" fmla="*/ 630169 w 3023749"/>
                  <a:gd name="connsiteY23" fmla="*/ 543425 h 2043633"/>
                  <a:gd name="connsiteX24" fmla="*/ 566101 w 3023749"/>
                  <a:gd name="connsiteY24" fmla="*/ 319583 h 2043633"/>
                  <a:gd name="connsiteX25" fmla="*/ 665888 w 3023749"/>
                  <a:gd name="connsiteY25" fmla="*/ 247875 h 2043633"/>
                  <a:gd name="connsiteX26" fmla="*/ 1510326 w 3023749"/>
                  <a:gd name="connsiteY26" fmla="*/ 0 h 2043633"/>
                  <a:gd name="connsiteX0" fmla="*/ 2802193 w 3023749"/>
                  <a:gd name="connsiteY0" fmla="*/ 1436521 h 2043633"/>
                  <a:gd name="connsiteX1" fmla="*/ 3020652 w 3023749"/>
                  <a:gd name="connsiteY1" fmla="*/ 1451393 h 2043633"/>
                  <a:gd name="connsiteX2" fmla="*/ 2901963 w 3023749"/>
                  <a:gd name="connsiteY2" fmla="*/ 2016341 h 2043633"/>
                  <a:gd name="connsiteX3" fmla="*/ 2897503 w 3023749"/>
                  <a:gd name="connsiteY3" fmla="*/ 2025239 h 2043633"/>
                  <a:gd name="connsiteX4" fmla="*/ 2802193 w 3023749"/>
                  <a:gd name="connsiteY4" fmla="*/ 1436521 h 2043633"/>
                  <a:gd name="connsiteX5" fmla="*/ 384115 w 3023749"/>
                  <a:gd name="connsiteY5" fmla="*/ 486693 h 2043633"/>
                  <a:gd name="connsiteX6" fmla="*/ 296760 w 3023749"/>
                  <a:gd name="connsiteY6" fmla="*/ 1026949 h 2043633"/>
                  <a:gd name="connsiteX7" fmla="*/ 275793 w 3023749"/>
                  <a:gd name="connsiteY7" fmla="*/ 1081999 h 2043633"/>
                  <a:gd name="connsiteX8" fmla="*/ 217678 w 3023749"/>
                  <a:gd name="connsiteY8" fmla="*/ 1451393 h 2043633"/>
                  <a:gd name="connsiteX9" fmla="*/ 220242 w 3023749"/>
                  <a:gd name="connsiteY9" fmla="*/ 1500181 h 2043633"/>
                  <a:gd name="connsiteX10" fmla="*/ 132369 w 3023749"/>
                  <a:gd name="connsiteY10" fmla="*/ 2043633 h 2043633"/>
                  <a:gd name="connsiteX11" fmla="*/ 118689 w 3023749"/>
                  <a:gd name="connsiteY11" fmla="*/ 2016341 h 2043633"/>
                  <a:gd name="connsiteX12" fmla="*/ 0 w 3023749"/>
                  <a:gd name="connsiteY12" fmla="*/ 1451393 h 2043633"/>
                  <a:gd name="connsiteX13" fmla="*/ 344885 w 3023749"/>
                  <a:gd name="connsiteY13" fmla="*/ 528173 h 2043633"/>
                  <a:gd name="connsiteX14" fmla="*/ 384115 w 3023749"/>
                  <a:gd name="connsiteY14" fmla="*/ 486693 h 2043633"/>
                  <a:gd name="connsiteX15" fmla="*/ 1510326 w 3023749"/>
                  <a:gd name="connsiteY15" fmla="*/ 0 h 2043633"/>
                  <a:gd name="connsiteX16" fmla="*/ 2471034 w 3023749"/>
                  <a:gd name="connsiteY16" fmla="*/ 331427 h 2043633"/>
                  <a:gd name="connsiteX17" fmla="*/ 2474929 w 3023749"/>
                  <a:gd name="connsiteY17" fmla="*/ 334829 h 2043633"/>
                  <a:gd name="connsiteX18" fmla="*/ 2409343 w 3023749"/>
                  <a:gd name="connsiteY18" fmla="*/ 559897 h 2043633"/>
                  <a:gd name="connsiteX19" fmla="*/ 2332570 w 3023749"/>
                  <a:gd name="connsiteY19" fmla="*/ 492845 h 2043633"/>
                  <a:gd name="connsiteX20" fmla="*/ 1510326 w 3023749"/>
                  <a:gd name="connsiteY20" fmla="*/ 209184 h 2043633"/>
                  <a:gd name="connsiteX21" fmla="*/ 688082 w 3023749"/>
                  <a:gd name="connsiteY21" fmla="*/ 492845 h 2043633"/>
                  <a:gd name="connsiteX22" fmla="*/ 630169 w 3023749"/>
                  <a:gd name="connsiteY22" fmla="*/ 543425 h 2043633"/>
                  <a:gd name="connsiteX23" fmla="*/ 566101 w 3023749"/>
                  <a:gd name="connsiteY23" fmla="*/ 319583 h 2043633"/>
                  <a:gd name="connsiteX24" fmla="*/ 665888 w 3023749"/>
                  <a:gd name="connsiteY24" fmla="*/ 247875 h 2043633"/>
                  <a:gd name="connsiteX25" fmla="*/ 1510326 w 3023749"/>
                  <a:gd name="connsiteY25" fmla="*/ 0 h 2043633"/>
                  <a:gd name="connsiteX0" fmla="*/ 2897503 w 3023749"/>
                  <a:gd name="connsiteY0" fmla="*/ 2025239 h 2043633"/>
                  <a:gd name="connsiteX1" fmla="*/ 3020652 w 3023749"/>
                  <a:gd name="connsiteY1" fmla="*/ 1451393 h 2043633"/>
                  <a:gd name="connsiteX2" fmla="*/ 2901963 w 3023749"/>
                  <a:gd name="connsiteY2" fmla="*/ 2016341 h 2043633"/>
                  <a:gd name="connsiteX3" fmla="*/ 2897503 w 3023749"/>
                  <a:gd name="connsiteY3" fmla="*/ 2025239 h 2043633"/>
                  <a:gd name="connsiteX4" fmla="*/ 384115 w 3023749"/>
                  <a:gd name="connsiteY4" fmla="*/ 486693 h 2043633"/>
                  <a:gd name="connsiteX5" fmla="*/ 296760 w 3023749"/>
                  <a:gd name="connsiteY5" fmla="*/ 1026949 h 2043633"/>
                  <a:gd name="connsiteX6" fmla="*/ 275793 w 3023749"/>
                  <a:gd name="connsiteY6" fmla="*/ 1081999 h 2043633"/>
                  <a:gd name="connsiteX7" fmla="*/ 217678 w 3023749"/>
                  <a:gd name="connsiteY7" fmla="*/ 1451393 h 2043633"/>
                  <a:gd name="connsiteX8" fmla="*/ 220242 w 3023749"/>
                  <a:gd name="connsiteY8" fmla="*/ 1500181 h 2043633"/>
                  <a:gd name="connsiteX9" fmla="*/ 132369 w 3023749"/>
                  <a:gd name="connsiteY9" fmla="*/ 2043633 h 2043633"/>
                  <a:gd name="connsiteX10" fmla="*/ 118689 w 3023749"/>
                  <a:gd name="connsiteY10" fmla="*/ 2016341 h 2043633"/>
                  <a:gd name="connsiteX11" fmla="*/ 0 w 3023749"/>
                  <a:gd name="connsiteY11" fmla="*/ 1451393 h 2043633"/>
                  <a:gd name="connsiteX12" fmla="*/ 344885 w 3023749"/>
                  <a:gd name="connsiteY12" fmla="*/ 528173 h 2043633"/>
                  <a:gd name="connsiteX13" fmla="*/ 384115 w 3023749"/>
                  <a:gd name="connsiteY13" fmla="*/ 486693 h 2043633"/>
                  <a:gd name="connsiteX14" fmla="*/ 1510326 w 3023749"/>
                  <a:gd name="connsiteY14" fmla="*/ 0 h 2043633"/>
                  <a:gd name="connsiteX15" fmla="*/ 2471034 w 3023749"/>
                  <a:gd name="connsiteY15" fmla="*/ 331427 h 2043633"/>
                  <a:gd name="connsiteX16" fmla="*/ 2474929 w 3023749"/>
                  <a:gd name="connsiteY16" fmla="*/ 334829 h 2043633"/>
                  <a:gd name="connsiteX17" fmla="*/ 2409343 w 3023749"/>
                  <a:gd name="connsiteY17" fmla="*/ 559897 h 2043633"/>
                  <a:gd name="connsiteX18" fmla="*/ 2332570 w 3023749"/>
                  <a:gd name="connsiteY18" fmla="*/ 492845 h 2043633"/>
                  <a:gd name="connsiteX19" fmla="*/ 1510326 w 3023749"/>
                  <a:gd name="connsiteY19" fmla="*/ 209184 h 2043633"/>
                  <a:gd name="connsiteX20" fmla="*/ 688082 w 3023749"/>
                  <a:gd name="connsiteY20" fmla="*/ 492845 h 2043633"/>
                  <a:gd name="connsiteX21" fmla="*/ 630169 w 3023749"/>
                  <a:gd name="connsiteY21" fmla="*/ 543425 h 2043633"/>
                  <a:gd name="connsiteX22" fmla="*/ 566101 w 3023749"/>
                  <a:gd name="connsiteY22" fmla="*/ 319583 h 2043633"/>
                  <a:gd name="connsiteX23" fmla="*/ 665888 w 3023749"/>
                  <a:gd name="connsiteY23" fmla="*/ 247875 h 2043633"/>
                  <a:gd name="connsiteX24" fmla="*/ 1510326 w 3023749"/>
                  <a:gd name="connsiteY24" fmla="*/ 0 h 2043633"/>
                  <a:gd name="connsiteX0" fmla="*/ 2897503 w 2901963"/>
                  <a:gd name="connsiteY0" fmla="*/ 2025239 h 2043633"/>
                  <a:gd name="connsiteX1" fmla="*/ 2901963 w 2901963"/>
                  <a:gd name="connsiteY1" fmla="*/ 2016341 h 2043633"/>
                  <a:gd name="connsiteX2" fmla="*/ 2897503 w 2901963"/>
                  <a:gd name="connsiteY2" fmla="*/ 2025239 h 2043633"/>
                  <a:gd name="connsiteX3" fmla="*/ 384115 w 2901963"/>
                  <a:gd name="connsiteY3" fmla="*/ 486693 h 2043633"/>
                  <a:gd name="connsiteX4" fmla="*/ 296760 w 2901963"/>
                  <a:gd name="connsiteY4" fmla="*/ 1026949 h 2043633"/>
                  <a:gd name="connsiteX5" fmla="*/ 275793 w 2901963"/>
                  <a:gd name="connsiteY5" fmla="*/ 1081999 h 2043633"/>
                  <a:gd name="connsiteX6" fmla="*/ 217678 w 2901963"/>
                  <a:gd name="connsiteY6" fmla="*/ 1451393 h 2043633"/>
                  <a:gd name="connsiteX7" fmla="*/ 220242 w 2901963"/>
                  <a:gd name="connsiteY7" fmla="*/ 1500181 h 2043633"/>
                  <a:gd name="connsiteX8" fmla="*/ 132369 w 2901963"/>
                  <a:gd name="connsiteY8" fmla="*/ 2043633 h 2043633"/>
                  <a:gd name="connsiteX9" fmla="*/ 118689 w 2901963"/>
                  <a:gd name="connsiteY9" fmla="*/ 2016341 h 2043633"/>
                  <a:gd name="connsiteX10" fmla="*/ 0 w 2901963"/>
                  <a:gd name="connsiteY10" fmla="*/ 1451393 h 2043633"/>
                  <a:gd name="connsiteX11" fmla="*/ 344885 w 2901963"/>
                  <a:gd name="connsiteY11" fmla="*/ 528173 h 2043633"/>
                  <a:gd name="connsiteX12" fmla="*/ 384115 w 2901963"/>
                  <a:gd name="connsiteY12" fmla="*/ 486693 h 2043633"/>
                  <a:gd name="connsiteX13" fmla="*/ 1510326 w 2901963"/>
                  <a:gd name="connsiteY13" fmla="*/ 0 h 2043633"/>
                  <a:gd name="connsiteX14" fmla="*/ 2471034 w 2901963"/>
                  <a:gd name="connsiteY14" fmla="*/ 331427 h 2043633"/>
                  <a:gd name="connsiteX15" fmla="*/ 2474929 w 2901963"/>
                  <a:gd name="connsiteY15" fmla="*/ 334829 h 2043633"/>
                  <a:gd name="connsiteX16" fmla="*/ 2409343 w 2901963"/>
                  <a:gd name="connsiteY16" fmla="*/ 559897 h 2043633"/>
                  <a:gd name="connsiteX17" fmla="*/ 2332570 w 2901963"/>
                  <a:gd name="connsiteY17" fmla="*/ 492845 h 2043633"/>
                  <a:gd name="connsiteX18" fmla="*/ 1510326 w 2901963"/>
                  <a:gd name="connsiteY18" fmla="*/ 209184 h 2043633"/>
                  <a:gd name="connsiteX19" fmla="*/ 688082 w 2901963"/>
                  <a:gd name="connsiteY19" fmla="*/ 492845 h 2043633"/>
                  <a:gd name="connsiteX20" fmla="*/ 630169 w 2901963"/>
                  <a:gd name="connsiteY20" fmla="*/ 543425 h 2043633"/>
                  <a:gd name="connsiteX21" fmla="*/ 566101 w 2901963"/>
                  <a:gd name="connsiteY21" fmla="*/ 319583 h 2043633"/>
                  <a:gd name="connsiteX22" fmla="*/ 665888 w 2901963"/>
                  <a:gd name="connsiteY22" fmla="*/ 247875 h 2043633"/>
                  <a:gd name="connsiteX23" fmla="*/ 1510326 w 2901963"/>
                  <a:gd name="connsiteY23" fmla="*/ 0 h 2043633"/>
                  <a:gd name="connsiteX0" fmla="*/ 384115 w 2474929"/>
                  <a:gd name="connsiteY0" fmla="*/ 486693 h 2043633"/>
                  <a:gd name="connsiteX1" fmla="*/ 296760 w 2474929"/>
                  <a:gd name="connsiteY1" fmla="*/ 1026949 h 2043633"/>
                  <a:gd name="connsiteX2" fmla="*/ 275793 w 2474929"/>
                  <a:gd name="connsiteY2" fmla="*/ 1081999 h 2043633"/>
                  <a:gd name="connsiteX3" fmla="*/ 217678 w 2474929"/>
                  <a:gd name="connsiteY3" fmla="*/ 1451393 h 2043633"/>
                  <a:gd name="connsiteX4" fmla="*/ 220242 w 2474929"/>
                  <a:gd name="connsiteY4" fmla="*/ 1500181 h 2043633"/>
                  <a:gd name="connsiteX5" fmla="*/ 132369 w 2474929"/>
                  <a:gd name="connsiteY5" fmla="*/ 2043633 h 2043633"/>
                  <a:gd name="connsiteX6" fmla="*/ 118689 w 2474929"/>
                  <a:gd name="connsiteY6" fmla="*/ 2016341 h 2043633"/>
                  <a:gd name="connsiteX7" fmla="*/ 0 w 2474929"/>
                  <a:gd name="connsiteY7" fmla="*/ 1451393 h 2043633"/>
                  <a:gd name="connsiteX8" fmla="*/ 344885 w 2474929"/>
                  <a:gd name="connsiteY8" fmla="*/ 528173 h 2043633"/>
                  <a:gd name="connsiteX9" fmla="*/ 384115 w 2474929"/>
                  <a:gd name="connsiteY9" fmla="*/ 486693 h 2043633"/>
                  <a:gd name="connsiteX10" fmla="*/ 1510326 w 2474929"/>
                  <a:gd name="connsiteY10" fmla="*/ 0 h 2043633"/>
                  <a:gd name="connsiteX11" fmla="*/ 2471034 w 2474929"/>
                  <a:gd name="connsiteY11" fmla="*/ 331427 h 2043633"/>
                  <a:gd name="connsiteX12" fmla="*/ 2474929 w 2474929"/>
                  <a:gd name="connsiteY12" fmla="*/ 334829 h 2043633"/>
                  <a:gd name="connsiteX13" fmla="*/ 2409343 w 2474929"/>
                  <a:gd name="connsiteY13" fmla="*/ 559897 h 2043633"/>
                  <a:gd name="connsiteX14" fmla="*/ 2332570 w 2474929"/>
                  <a:gd name="connsiteY14" fmla="*/ 492845 h 2043633"/>
                  <a:gd name="connsiteX15" fmla="*/ 1510326 w 2474929"/>
                  <a:gd name="connsiteY15" fmla="*/ 209184 h 2043633"/>
                  <a:gd name="connsiteX16" fmla="*/ 688082 w 2474929"/>
                  <a:gd name="connsiteY16" fmla="*/ 492845 h 2043633"/>
                  <a:gd name="connsiteX17" fmla="*/ 630169 w 2474929"/>
                  <a:gd name="connsiteY17" fmla="*/ 543425 h 2043633"/>
                  <a:gd name="connsiteX18" fmla="*/ 566101 w 2474929"/>
                  <a:gd name="connsiteY18" fmla="*/ 319583 h 2043633"/>
                  <a:gd name="connsiteX19" fmla="*/ 665888 w 2474929"/>
                  <a:gd name="connsiteY19" fmla="*/ 247875 h 2043633"/>
                  <a:gd name="connsiteX20" fmla="*/ 1510326 w 2474929"/>
                  <a:gd name="connsiteY20" fmla="*/ 0 h 2043633"/>
                  <a:gd name="connsiteX0" fmla="*/ 384115 w 2474929"/>
                  <a:gd name="connsiteY0" fmla="*/ 486693 h 2043633"/>
                  <a:gd name="connsiteX1" fmla="*/ 296760 w 2474929"/>
                  <a:gd name="connsiteY1" fmla="*/ 1026949 h 2043633"/>
                  <a:gd name="connsiteX2" fmla="*/ 275793 w 2474929"/>
                  <a:gd name="connsiteY2" fmla="*/ 1081999 h 2043633"/>
                  <a:gd name="connsiteX3" fmla="*/ 217678 w 2474929"/>
                  <a:gd name="connsiteY3" fmla="*/ 1451393 h 2043633"/>
                  <a:gd name="connsiteX4" fmla="*/ 220242 w 2474929"/>
                  <a:gd name="connsiteY4" fmla="*/ 1500181 h 2043633"/>
                  <a:gd name="connsiteX5" fmla="*/ 132369 w 2474929"/>
                  <a:gd name="connsiteY5" fmla="*/ 2043633 h 2043633"/>
                  <a:gd name="connsiteX6" fmla="*/ 0 w 2474929"/>
                  <a:gd name="connsiteY6" fmla="*/ 1451393 h 2043633"/>
                  <a:gd name="connsiteX7" fmla="*/ 344885 w 2474929"/>
                  <a:gd name="connsiteY7" fmla="*/ 528173 h 2043633"/>
                  <a:gd name="connsiteX8" fmla="*/ 384115 w 2474929"/>
                  <a:gd name="connsiteY8" fmla="*/ 486693 h 2043633"/>
                  <a:gd name="connsiteX9" fmla="*/ 1510326 w 2474929"/>
                  <a:gd name="connsiteY9" fmla="*/ 0 h 2043633"/>
                  <a:gd name="connsiteX10" fmla="*/ 2471034 w 2474929"/>
                  <a:gd name="connsiteY10" fmla="*/ 331427 h 2043633"/>
                  <a:gd name="connsiteX11" fmla="*/ 2474929 w 2474929"/>
                  <a:gd name="connsiteY11" fmla="*/ 334829 h 2043633"/>
                  <a:gd name="connsiteX12" fmla="*/ 2409343 w 2474929"/>
                  <a:gd name="connsiteY12" fmla="*/ 559897 h 2043633"/>
                  <a:gd name="connsiteX13" fmla="*/ 2332570 w 2474929"/>
                  <a:gd name="connsiteY13" fmla="*/ 492845 h 2043633"/>
                  <a:gd name="connsiteX14" fmla="*/ 1510326 w 2474929"/>
                  <a:gd name="connsiteY14" fmla="*/ 209184 h 2043633"/>
                  <a:gd name="connsiteX15" fmla="*/ 688082 w 2474929"/>
                  <a:gd name="connsiteY15" fmla="*/ 492845 h 2043633"/>
                  <a:gd name="connsiteX16" fmla="*/ 630169 w 2474929"/>
                  <a:gd name="connsiteY16" fmla="*/ 543425 h 2043633"/>
                  <a:gd name="connsiteX17" fmla="*/ 566101 w 2474929"/>
                  <a:gd name="connsiteY17" fmla="*/ 319583 h 2043633"/>
                  <a:gd name="connsiteX18" fmla="*/ 665888 w 2474929"/>
                  <a:gd name="connsiteY18" fmla="*/ 247875 h 2043633"/>
                  <a:gd name="connsiteX19" fmla="*/ 1510326 w 2474929"/>
                  <a:gd name="connsiteY19" fmla="*/ 0 h 2043633"/>
                  <a:gd name="connsiteX0" fmla="*/ 384115 w 2474929"/>
                  <a:gd name="connsiteY0" fmla="*/ 486693 h 1500181"/>
                  <a:gd name="connsiteX1" fmla="*/ 296760 w 2474929"/>
                  <a:gd name="connsiteY1" fmla="*/ 1026949 h 1500181"/>
                  <a:gd name="connsiteX2" fmla="*/ 275793 w 2474929"/>
                  <a:gd name="connsiteY2" fmla="*/ 1081999 h 1500181"/>
                  <a:gd name="connsiteX3" fmla="*/ 217678 w 2474929"/>
                  <a:gd name="connsiteY3" fmla="*/ 1451393 h 1500181"/>
                  <a:gd name="connsiteX4" fmla="*/ 220242 w 2474929"/>
                  <a:gd name="connsiteY4" fmla="*/ 1500181 h 1500181"/>
                  <a:gd name="connsiteX5" fmla="*/ 0 w 2474929"/>
                  <a:gd name="connsiteY5" fmla="*/ 1451393 h 1500181"/>
                  <a:gd name="connsiteX6" fmla="*/ 344885 w 2474929"/>
                  <a:gd name="connsiteY6" fmla="*/ 528173 h 1500181"/>
                  <a:gd name="connsiteX7" fmla="*/ 384115 w 2474929"/>
                  <a:gd name="connsiteY7" fmla="*/ 486693 h 1500181"/>
                  <a:gd name="connsiteX8" fmla="*/ 1510326 w 2474929"/>
                  <a:gd name="connsiteY8" fmla="*/ 0 h 1500181"/>
                  <a:gd name="connsiteX9" fmla="*/ 2471034 w 2474929"/>
                  <a:gd name="connsiteY9" fmla="*/ 331427 h 1500181"/>
                  <a:gd name="connsiteX10" fmla="*/ 2474929 w 2474929"/>
                  <a:gd name="connsiteY10" fmla="*/ 334829 h 1500181"/>
                  <a:gd name="connsiteX11" fmla="*/ 2409343 w 2474929"/>
                  <a:gd name="connsiteY11" fmla="*/ 559897 h 1500181"/>
                  <a:gd name="connsiteX12" fmla="*/ 2332570 w 2474929"/>
                  <a:gd name="connsiteY12" fmla="*/ 492845 h 1500181"/>
                  <a:gd name="connsiteX13" fmla="*/ 1510326 w 2474929"/>
                  <a:gd name="connsiteY13" fmla="*/ 209184 h 1500181"/>
                  <a:gd name="connsiteX14" fmla="*/ 688082 w 2474929"/>
                  <a:gd name="connsiteY14" fmla="*/ 492845 h 1500181"/>
                  <a:gd name="connsiteX15" fmla="*/ 630169 w 2474929"/>
                  <a:gd name="connsiteY15" fmla="*/ 543425 h 1500181"/>
                  <a:gd name="connsiteX16" fmla="*/ 566101 w 2474929"/>
                  <a:gd name="connsiteY16" fmla="*/ 319583 h 1500181"/>
                  <a:gd name="connsiteX17" fmla="*/ 665888 w 2474929"/>
                  <a:gd name="connsiteY17" fmla="*/ 247875 h 1500181"/>
                  <a:gd name="connsiteX18" fmla="*/ 1510326 w 2474929"/>
                  <a:gd name="connsiteY18" fmla="*/ 0 h 1500181"/>
                  <a:gd name="connsiteX0" fmla="*/ 384115 w 2474929"/>
                  <a:gd name="connsiteY0" fmla="*/ 486693 h 1451393"/>
                  <a:gd name="connsiteX1" fmla="*/ 296760 w 2474929"/>
                  <a:gd name="connsiteY1" fmla="*/ 1026949 h 1451393"/>
                  <a:gd name="connsiteX2" fmla="*/ 275793 w 2474929"/>
                  <a:gd name="connsiteY2" fmla="*/ 1081999 h 1451393"/>
                  <a:gd name="connsiteX3" fmla="*/ 217678 w 2474929"/>
                  <a:gd name="connsiteY3" fmla="*/ 1451393 h 1451393"/>
                  <a:gd name="connsiteX4" fmla="*/ 0 w 2474929"/>
                  <a:gd name="connsiteY4" fmla="*/ 1451393 h 1451393"/>
                  <a:gd name="connsiteX5" fmla="*/ 344885 w 2474929"/>
                  <a:gd name="connsiteY5" fmla="*/ 528173 h 1451393"/>
                  <a:gd name="connsiteX6" fmla="*/ 384115 w 2474929"/>
                  <a:gd name="connsiteY6" fmla="*/ 486693 h 1451393"/>
                  <a:gd name="connsiteX7" fmla="*/ 1510326 w 2474929"/>
                  <a:gd name="connsiteY7" fmla="*/ 0 h 1451393"/>
                  <a:gd name="connsiteX8" fmla="*/ 2471034 w 2474929"/>
                  <a:gd name="connsiteY8" fmla="*/ 331427 h 1451393"/>
                  <a:gd name="connsiteX9" fmla="*/ 2474929 w 2474929"/>
                  <a:gd name="connsiteY9" fmla="*/ 334829 h 1451393"/>
                  <a:gd name="connsiteX10" fmla="*/ 2409343 w 2474929"/>
                  <a:gd name="connsiteY10" fmla="*/ 559897 h 1451393"/>
                  <a:gd name="connsiteX11" fmla="*/ 2332570 w 2474929"/>
                  <a:gd name="connsiteY11" fmla="*/ 492845 h 1451393"/>
                  <a:gd name="connsiteX12" fmla="*/ 1510326 w 2474929"/>
                  <a:gd name="connsiteY12" fmla="*/ 209184 h 1451393"/>
                  <a:gd name="connsiteX13" fmla="*/ 688082 w 2474929"/>
                  <a:gd name="connsiteY13" fmla="*/ 492845 h 1451393"/>
                  <a:gd name="connsiteX14" fmla="*/ 630169 w 2474929"/>
                  <a:gd name="connsiteY14" fmla="*/ 543425 h 1451393"/>
                  <a:gd name="connsiteX15" fmla="*/ 566101 w 2474929"/>
                  <a:gd name="connsiteY15" fmla="*/ 319583 h 1451393"/>
                  <a:gd name="connsiteX16" fmla="*/ 665888 w 2474929"/>
                  <a:gd name="connsiteY16" fmla="*/ 247875 h 1451393"/>
                  <a:gd name="connsiteX17" fmla="*/ 1510326 w 2474929"/>
                  <a:gd name="connsiteY17" fmla="*/ 0 h 1451393"/>
                  <a:gd name="connsiteX0" fmla="*/ 384519 w 2475333"/>
                  <a:gd name="connsiteY0" fmla="*/ 486693 h 1465415"/>
                  <a:gd name="connsiteX1" fmla="*/ 297164 w 2475333"/>
                  <a:gd name="connsiteY1" fmla="*/ 1026949 h 1465415"/>
                  <a:gd name="connsiteX2" fmla="*/ 276197 w 2475333"/>
                  <a:gd name="connsiteY2" fmla="*/ 1081999 h 1465415"/>
                  <a:gd name="connsiteX3" fmla="*/ 404 w 2475333"/>
                  <a:gd name="connsiteY3" fmla="*/ 1451393 h 1465415"/>
                  <a:gd name="connsiteX4" fmla="*/ 345289 w 2475333"/>
                  <a:gd name="connsiteY4" fmla="*/ 528173 h 1465415"/>
                  <a:gd name="connsiteX5" fmla="*/ 384519 w 2475333"/>
                  <a:gd name="connsiteY5" fmla="*/ 486693 h 1465415"/>
                  <a:gd name="connsiteX6" fmla="*/ 1510730 w 2475333"/>
                  <a:gd name="connsiteY6" fmla="*/ 0 h 1465415"/>
                  <a:gd name="connsiteX7" fmla="*/ 2471438 w 2475333"/>
                  <a:gd name="connsiteY7" fmla="*/ 331427 h 1465415"/>
                  <a:gd name="connsiteX8" fmla="*/ 2475333 w 2475333"/>
                  <a:gd name="connsiteY8" fmla="*/ 334829 h 1465415"/>
                  <a:gd name="connsiteX9" fmla="*/ 2409747 w 2475333"/>
                  <a:gd name="connsiteY9" fmla="*/ 559897 h 1465415"/>
                  <a:gd name="connsiteX10" fmla="*/ 2332974 w 2475333"/>
                  <a:gd name="connsiteY10" fmla="*/ 492845 h 1465415"/>
                  <a:gd name="connsiteX11" fmla="*/ 1510730 w 2475333"/>
                  <a:gd name="connsiteY11" fmla="*/ 209184 h 1465415"/>
                  <a:gd name="connsiteX12" fmla="*/ 688486 w 2475333"/>
                  <a:gd name="connsiteY12" fmla="*/ 492845 h 1465415"/>
                  <a:gd name="connsiteX13" fmla="*/ 630573 w 2475333"/>
                  <a:gd name="connsiteY13" fmla="*/ 543425 h 1465415"/>
                  <a:gd name="connsiteX14" fmla="*/ 566505 w 2475333"/>
                  <a:gd name="connsiteY14" fmla="*/ 319583 h 1465415"/>
                  <a:gd name="connsiteX15" fmla="*/ 666292 w 2475333"/>
                  <a:gd name="connsiteY15" fmla="*/ 247875 h 1465415"/>
                  <a:gd name="connsiteX16" fmla="*/ 1510730 w 2475333"/>
                  <a:gd name="connsiteY16" fmla="*/ 0 h 1465415"/>
                  <a:gd name="connsiteX0" fmla="*/ 108322 w 2199136"/>
                  <a:gd name="connsiteY0" fmla="*/ 486693 h 1081999"/>
                  <a:gd name="connsiteX1" fmla="*/ 20967 w 2199136"/>
                  <a:gd name="connsiteY1" fmla="*/ 1026949 h 1081999"/>
                  <a:gd name="connsiteX2" fmla="*/ 0 w 2199136"/>
                  <a:gd name="connsiteY2" fmla="*/ 1081999 h 1081999"/>
                  <a:gd name="connsiteX3" fmla="*/ 69092 w 2199136"/>
                  <a:gd name="connsiteY3" fmla="*/ 528173 h 1081999"/>
                  <a:gd name="connsiteX4" fmla="*/ 108322 w 2199136"/>
                  <a:gd name="connsiteY4" fmla="*/ 486693 h 1081999"/>
                  <a:gd name="connsiteX5" fmla="*/ 1234533 w 2199136"/>
                  <a:gd name="connsiteY5" fmla="*/ 0 h 1081999"/>
                  <a:gd name="connsiteX6" fmla="*/ 2195241 w 2199136"/>
                  <a:gd name="connsiteY6" fmla="*/ 331427 h 1081999"/>
                  <a:gd name="connsiteX7" fmla="*/ 2199136 w 2199136"/>
                  <a:gd name="connsiteY7" fmla="*/ 334829 h 1081999"/>
                  <a:gd name="connsiteX8" fmla="*/ 2133550 w 2199136"/>
                  <a:gd name="connsiteY8" fmla="*/ 559897 h 1081999"/>
                  <a:gd name="connsiteX9" fmla="*/ 2056777 w 2199136"/>
                  <a:gd name="connsiteY9" fmla="*/ 492845 h 1081999"/>
                  <a:gd name="connsiteX10" fmla="*/ 1234533 w 2199136"/>
                  <a:gd name="connsiteY10" fmla="*/ 209184 h 1081999"/>
                  <a:gd name="connsiteX11" fmla="*/ 412289 w 2199136"/>
                  <a:gd name="connsiteY11" fmla="*/ 492845 h 1081999"/>
                  <a:gd name="connsiteX12" fmla="*/ 354376 w 2199136"/>
                  <a:gd name="connsiteY12" fmla="*/ 543425 h 1081999"/>
                  <a:gd name="connsiteX13" fmla="*/ 290308 w 2199136"/>
                  <a:gd name="connsiteY13" fmla="*/ 319583 h 1081999"/>
                  <a:gd name="connsiteX14" fmla="*/ 390095 w 2199136"/>
                  <a:gd name="connsiteY14" fmla="*/ 247875 h 1081999"/>
                  <a:gd name="connsiteX15" fmla="*/ 1234533 w 2199136"/>
                  <a:gd name="connsiteY15" fmla="*/ 0 h 1081999"/>
                  <a:gd name="connsiteX0" fmla="*/ 108322 w 2199136"/>
                  <a:gd name="connsiteY0" fmla="*/ 486693 h 1081999"/>
                  <a:gd name="connsiteX1" fmla="*/ 0 w 2199136"/>
                  <a:gd name="connsiteY1" fmla="*/ 1081999 h 1081999"/>
                  <a:gd name="connsiteX2" fmla="*/ 69092 w 2199136"/>
                  <a:gd name="connsiteY2" fmla="*/ 528173 h 1081999"/>
                  <a:gd name="connsiteX3" fmla="*/ 108322 w 2199136"/>
                  <a:gd name="connsiteY3" fmla="*/ 486693 h 1081999"/>
                  <a:gd name="connsiteX4" fmla="*/ 1234533 w 2199136"/>
                  <a:gd name="connsiteY4" fmla="*/ 0 h 1081999"/>
                  <a:gd name="connsiteX5" fmla="*/ 2195241 w 2199136"/>
                  <a:gd name="connsiteY5" fmla="*/ 331427 h 1081999"/>
                  <a:gd name="connsiteX6" fmla="*/ 2199136 w 2199136"/>
                  <a:gd name="connsiteY6" fmla="*/ 334829 h 1081999"/>
                  <a:gd name="connsiteX7" fmla="*/ 2133550 w 2199136"/>
                  <a:gd name="connsiteY7" fmla="*/ 559897 h 1081999"/>
                  <a:gd name="connsiteX8" fmla="*/ 2056777 w 2199136"/>
                  <a:gd name="connsiteY8" fmla="*/ 492845 h 1081999"/>
                  <a:gd name="connsiteX9" fmla="*/ 1234533 w 2199136"/>
                  <a:gd name="connsiteY9" fmla="*/ 209184 h 1081999"/>
                  <a:gd name="connsiteX10" fmla="*/ 412289 w 2199136"/>
                  <a:gd name="connsiteY10" fmla="*/ 492845 h 1081999"/>
                  <a:gd name="connsiteX11" fmla="*/ 354376 w 2199136"/>
                  <a:gd name="connsiteY11" fmla="*/ 543425 h 1081999"/>
                  <a:gd name="connsiteX12" fmla="*/ 290308 w 2199136"/>
                  <a:gd name="connsiteY12" fmla="*/ 319583 h 1081999"/>
                  <a:gd name="connsiteX13" fmla="*/ 390095 w 2199136"/>
                  <a:gd name="connsiteY13" fmla="*/ 247875 h 1081999"/>
                  <a:gd name="connsiteX14" fmla="*/ 1234533 w 2199136"/>
                  <a:gd name="connsiteY14" fmla="*/ 0 h 1081999"/>
                  <a:gd name="connsiteX0" fmla="*/ 39230 w 2130044"/>
                  <a:gd name="connsiteY0" fmla="*/ 486693 h 559897"/>
                  <a:gd name="connsiteX1" fmla="*/ 0 w 2130044"/>
                  <a:gd name="connsiteY1" fmla="*/ 528173 h 559897"/>
                  <a:gd name="connsiteX2" fmla="*/ 39230 w 2130044"/>
                  <a:gd name="connsiteY2" fmla="*/ 486693 h 559897"/>
                  <a:gd name="connsiteX3" fmla="*/ 1165441 w 2130044"/>
                  <a:gd name="connsiteY3" fmla="*/ 0 h 559897"/>
                  <a:gd name="connsiteX4" fmla="*/ 2126149 w 2130044"/>
                  <a:gd name="connsiteY4" fmla="*/ 331427 h 559897"/>
                  <a:gd name="connsiteX5" fmla="*/ 2130044 w 2130044"/>
                  <a:gd name="connsiteY5" fmla="*/ 334829 h 559897"/>
                  <a:gd name="connsiteX6" fmla="*/ 2064458 w 2130044"/>
                  <a:gd name="connsiteY6" fmla="*/ 559897 h 559897"/>
                  <a:gd name="connsiteX7" fmla="*/ 1987685 w 2130044"/>
                  <a:gd name="connsiteY7" fmla="*/ 492845 h 559897"/>
                  <a:gd name="connsiteX8" fmla="*/ 1165441 w 2130044"/>
                  <a:gd name="connsiteY8" fmla="*/ 209184 h 559897"/>
                  <a:gd name="connsiteX9" fmla="*/ 343197 w 2130044"/>
                  <a:gd name="connsiteY9" fmla="*/ 492845 h 559897"/>
                  <a:gd name="connsiteX10" fmla="*/ 285284 w 2130044"/>
                  <a:gd name="connsiteY10" fmla="*/ 543425 h 559897"/>
                  <a:gd name="connsiteX11" fmla="*/ 221216 w 2130044"/>
                  <a:gd name="connsiteY11" fmla="*/ 319583 h 559897"/>
                  <a:gd name="connsiteX12" fmla="*/ 321003 w 2130044"/>
                  <a:gd name="connsiteY12" fmla="*/ 247875 h 559897"/>
                  <a:gd name="connsiteX13" fmla="*/ 1165441 w 2130044"/>
                  <a:gd name="connsiteY13" fmla="*/ 0 h 559897"/>
                  <a:gd name="connsiteX0" fmla="*/ 944225 w 1908828"/>
                  <a:gd name="connsiteY0" fmla="*/ 0 h 559897"/>
                  <a:gd name="connsiteX1" fmla="*/ 1904933 w 1908828"/>
                  <a:gd name="connsiteY1" fmla="*/ 331427 h 559897"/>
                  <a:gd name="connsiteX2" fmla="*/ 1908828 w 1908828"/>
                  <a:gd name="connsiteY2" fmla="*/ 334829 h 559897"/>
                  <a:gd name="connsiteX3" fmla="*/ 1843242 w 1908828"/>
                  <a:gd name="connsiteY3" fmla="*/ 559897 h 559897"/>
                  <a:gd name="connsiteX4" fmla="*/ 1766469 w 1908828"/>
                  <a:gd name="connsiteY4" fmla="*/ 492845 h 559897"/>
                  <a:gd name="connsiteX5" fmla="*/ 944225 w 1908828"/>
                  <a:gd name="connsiteY5" fmla="*/ 209184 h 559897"/>
                  <a:gd name="connsiteX6" fmla="*/ 121981 w 1908828"/>
                  <a:gd name="connsiteY6" fmla="*/ 492845 h 559897"/>
                  <a:gd name="connsiteX7" fmla="*/ 64068 w 1908828"/>
                  <a:gd name="connsiteY7" fmla="*/ 543425 h 559897"/>
                  <a:gd name="connsiteX8" fmla="*/ 0 w 1908828"/>
                  <a:gd name="connsiteY8" fmla="*/ 319583 h 559897"/>
                  <a:gd name="connsiteX9" fmla="*/ 99787 w 1908828"/>
                  <a:gd name="connsiteY9" fmla="*/ 247875 h 559897"/>
                  <a:gd name="connsiteX10" fmla="*/ 944225 w 1908828"/>
                  <a:gd name="connsiteY10" fmla="*/ 0 h 559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908828" h="559897">
                    <a:moveTo>
                      <a:pt x="944225" y="0"/>
                    </a:moveTo>
                    <a:cubicBezTo>
                      <a:pt x="1309157" y="0"/>
                      <a:pt x="1643859" y="124378"/>
                      <a:pt x="1904933" y="331427"/>
                    </a:cubicBezTo>
                    <a:lnTo>
                      <a:pt x="1908828" y="334829"/>
                    </a:lnTo>
                    <a:lnTo>
                      <a:pt x="1843242" y="559897"/>
                    </a:lnTo>
                    <a:lnTo>
                      <a:pt x="1766469" y="492845"/>
                    </a:lnTo>
                    <a:cubicBezTo>
                      <a:pt x="1543023" y="315635"/>
                      <a:pt x="1256561" y="209184"/>
                      <a:pt x="944225" y="209184"/>
                    </a:cubicBezTo>
                    <a:cubicBezTo>
                      <a:pt x="631889" y="209184"/>
                      <a:pt x="345427" y="315635"/>
                      <a:pt x="121981" y="492845"/>
                    </a:cubicBezTo>
                    <a:lnTo>
                      <a:pt x="64068" y="543425"/>
                    </a:lnTo>
                    <a:lnTo>
                      <a:pt x="0" y="319583"/>
                    </a:lnTo>
                    <a:lnTo>
                      <a:pt x="99787" y="247875"/>
                    </a:lnTo>
                    <a:cubicBezTo>
                      <a:pt x="340837" y="91380"/>
                      <a:pt x="631426" y="0"/>
                      <a:pt x="944225" y="0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519970">
                  <a:defRPr/>
                </a:pPr>
                <a:endParaRPr lang="en-US" sz="1842" kern="0">
                  <a:solidFill>
                    <a:prstClr val="white"/>
                  </a:solidFill>
                  <a:latin typeface="Calibri"/>
                </a:endParaRPr>
              </a:p>
            </p:txBody>
          </p:sp>
        </p:grpSp>
        <p:grpSp>
          <p:nvGrpSpPr>
            <p:cNvPr id="567" name="Group 204"/>
            <p:cNvGrpSpPr/>
            <p:nvPr/>
          </p:nvGrpSpPr>
          <p:grpSpPr>
            <a:xfrm>
              <a:off x="1282752" y="4938098"/>
              <a:ext cx="1451258" cy="1449504"/>
              <a:chOff x="11961036" y="14854279"/>
              <a:chExt cx="6135815" cy="6128401"/>
            </a:xfrm>
            <a:grpFill/>
          </p:grpSpPr>
          <p:sp>
            <p:nvSpPr>
              <p:cNvPr id="568" name="Freeform 205"/>
              <p:cNvSpPr/>
              <p:nvPr/>
            </p:nvSpPr>
            <p:spPr>
              <a:xfrm>
                <a:off x="12770891" y="14854279"/>
                <a:ext cx="4477588" cy="6128401"/>
              </a:xfrm>
              <a:custGeom>
                <a:avLst/>
                <a:gdLst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3253261 w 4477595"/>
                  <a:gd name="connsiteY17" fmla="*/ 3754007 h 6128401"/>
                  <a:gd name="connsiteX18" fmla="*/ 3242716 w 4477595"/>
                  <a:gd name="connsiteY18" fmla="*/ 3753945 h 6128401"/>
                  <a:gd name="connsiteX19" fmla="*/ 3255265 w 4477595"/>
                  <a:gd name="connsiteY19" fmla="*/ 3746321 h 6128401"/>
                  <a:gd name="connsiteX20" fmla="*/ 4056807 w 4477595"/>
                  <a:gd name="connsiteY20" fmla="*/ 2238797 h 6128401"/>
                  <a:gd name="connsiteX21" fmla="*/ 2238798 w 4477595"/>
                  <a:gd name="connsiteY21" fmla="*/ 420786 h 6128401"/>
                  <a:gd name="connsiteX22" fmla="*/ 2238797 w 4477595"/>
                  <a:gd name="connsiteY22" fmla="*/ 0 h 6128401"/>
                  <a:gd name="connsiteX23" fmla="*/ 4477595 w 4477595"/>
                  <a:gd name="connsiteY23" fmla="*/ 2238797 h 6128401"/>
                  <a:gd name="connsiteX24" fmla="*/ 3305941 w 4477595"/>
                  <a:gd name="connsiteY24" fmla="*/ 4207383 h 6128401"/>
                  <a:gd name="connsiteX25" fmla="*/ 3243251 w 4477595"/>
                  <a:gd name="connsiteY25" fmla="*/ 4439941 h 6128401"/>
                  <a:gd name="connsiteX26" fmla="*/ 3243251 w 4477595"/>
                  <a:gd name="connsiteY26" fmla="*/ 5318909 h 6128401"/>
                  <a:gd name="connsiteX27" fmla="*/ 2705531 w 4477595"/>
                  <a:gd name="connsiteY27" fmla="*/ 5880081 h 6128401"/>
                  <a:gd name="connsiteX28" fmla="*/ 2650833 w 4477595"/>
                  <a:gd name="connsiteY28" fmla="*/ 5880971 h 6128401"/>
                  <a:gd name="connsiteX29" fmla="*/ 2641784 w 4477595"/>
                  <a:gd name="connsiteY29" fmla="*/ 5910123 h 6128401"/>
                  <a:gd name="connsiteX30" fmla="*/ 2312476 w 4477595"/>
                  <a:gd name="connsiteY30" fmla="*/ 6128401 h 6128401"/>
                  <a:gd name="connsiteX31" fmla="*/ 2165118 w 4477595"/>
                  <a:gd name="connsiteY31" fmla="*/ 6128401 h 6128401"/>
                  <a:gd name="connsiteX32" fmla="*/ 1835810 w 4477595"/>
                  <a:gd name="connsiteY32" fmla="*/ 5910123 h 6128401"/>
                  <a:gd name="connsiteX33" fmla="*/ 1826975 w 4477595"/>
                  <a:gd name="connsiteY33" fmla="*/ 5881661 h 6128401"/>
                  <a:gd name="connsiteX34" fmla="*/ 1699568 w 4477595"/>
                  <a:gd name="connsiteY34" fmla="*/ 5881345 h 6128401"/>
                  <a:gd name="connsiteX35" fmla="*/ 1252464 w 4477595"/>
                  <a:gd name="connsiteY35" fmla="*/ 5306553 h 6128401"/>
                  <a:gd name="connsiteX36" fmla="*/ 1260702 w 4477595"/>
                  <a:gd name="connsiteY36" fmla="*/ 4439941 h 6128401"/>
                  <a:gd name="connsiteX37" fmla="*/ 1247395 w 4477595"/>
                  <a:gd name="connsiteY37" fmla="*/ 4251681 h 6128401"/>
                  <a:gd name="connsiteX38" fmla="*/ 1171654 w 4477595"/>
                  <a:gd name="connsiteY38" fmla="*/ 4207383 h 6128401"/>
                  <a:gd name="connsiteX39" fmla="*/ 0 w 4477595"/>
                  <a:gd name="connsiteY39" fmla="*/ 2238797 h 6128401"/>
                  <a:gd name="connsiteX40" fmla="*/ 2238797 w 4477595"/>
                  <a:gd name="connsiteY40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3253261 w 4477595"/>
                  <a:gd name="connsiteY17" fmla="*/ 3754007 h 6128401"/>
                  <a:gd name="connsiteX18" fmla="*/ 3242716 w 4477595"/>
                  <a:gd name="connsiteY18" fmla="*/ 3753945 h 6128401"/>
                  <a:gd name="connsiteX19" fmla="*/ 4056807 w 4477595"/>
                  <a:gd name="connsiteY19" fmla="*/ 2238797 h 6128401"/>
                  <a:gd name="connsiteX20" fmla="*/ 2238798 w 4477595"/>
                  <a:gd name="connsiteY20" fmla="*/ 420786 h 6128401"/>
                  <a:gd name="connsiteX21" fmla="*/ 2238797 w 4477595"/>
                  <a:gd name="connsiteY21" fmla="*/ 0 h 6128401"/>
                  <a:gd name="connsiteX22" fmla="*/ 4477595 w 4477595"/>
                  <a:gd name="connsiteY22" fmla="*/ 2238797 h 6128401"/>
                  <a:gd name="connsiteX23" fmla="*/ 3305941 w 4477595"/>
                  <a:gd name="connsiteY23" fmla="*/ 4207383 h 6128401"/>
                  <a:gd name="connsiteX24" fmla="*/ 3243251 w 4477595"/>
                  <a:gd name="connsiteY24" fmla="*/ 4439941 h 6128401"/>
                  <a:gd name="connsiteX25" fmla="*/ 3243251 w 4477595"/>
                  <a:gd name="connsiteY25" fmla="*/ 5318909 h 6128401"/>
                  <a:gd name="connsiteX26" fmla="*/ 2705531 w 4477595"/>
                  <a:gd name="connsiteY26" fmla="*/ 5880081 h 6128401"/>
                  <a:gd name="connsiteX27" fmla="*/ 2650833 w 4477595"/>
                  <a:gd name="connsiteY27" fmla="*/ 5880971 h 6128401"/>
                  <a:gd name="connsiteX28" fmla="*/ 2641784 w 4477595"/>
                  <a:gd name="connsiteY28" fmla="*/ 5910123 h 6128401"/>
                  <a:gd name="connsiteX29" fmla="*/ 2312476 w 4477595"/>
                  <a:gd name="connsiteY29" fmla="*/ 6128401 h 6128401"/>
                  <a:gd name="connsiteX30" fmla="*/ 2165118 w 4477595"/>
                  <a:gd name="connsiteY30" fmla="*/ 6128401 h 6128401"/>
                  <a:gd name="connsiteX31" fmla="*/ 1835810 w 4477595"/>
                  <a:gd name="connsiteY31" fmla="*/ 5910123 h 6128401"/>
                  <a:gd name="connsiteX32" fmla="*/ 1826975 w 4477595"/>
                  <a:gd name="connsiteY32" fmla="*/ 5881661 h 6128401"/>
                  <a:gd name="connsiteX33" fmla="*/ 1699568 w 4477595"/>
                  <a:gd name="connsiteY33" fmla="*/ 5881345 h 6128401"/>
                  <a:gd name="connsiteX34" fmla="*/ 1252464 w 4477595"/>
                  <a:gd name="connsiteY34" fmla="*/ 5306553 h 6128401"/>
                  <a:gd name="connsiteX35" fmla="*/ 1260702 w 4477595"/>
                  <a:gd name="connsiteY35" fmla="*/ 4439941 h 6128401"/>
                  <a:gd name="connsiteX36" fmla="*/ 1247395 w 4477595"/>
                  <a:gd name="connsiteY36" fmla="*/ 4251681 h 6128401"/>
                  <a:gd name="connsiteX37" fmla="*/ 1171654 w 4477595"/>
                  <a:gd name="connsiteY37" fmla="*/ 4207383 h 6128401"/>
                  <a:gd name="connsiteX38" fmla="*/ 0 w 4477595"/>
                  <a:gd name="connsiteY38" fmla="*/ 2238797 h 6128401"/>
                  <a:gd name="connsiteX39" fmla="*/ 2238797 w 4477595"/>
                  <a:gd name="connsiteY39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3253261 w 4477595"/>
                  <a:gd name="connsiteY17" fmla="*/ 3754007 h 6128401"/>
                  <a:gd name="connsiteX18" fmla="*/ 4056807 w 4477595"/>
                  <a:gd name="connsiteY18" fmla="*/ 2238797 h 6128401"/>
                  <a:gd name="connsiteX19" fmla="*/ 2238798 w 4477595"/>
                  <a:gd name="connsiteY19" fmla="*/ 420786 h 6128401"/>
                  <a:gd name="connsiteX20" fmla="*/ 2238797 w 4477595"/>
                  <a:gd name="connsiteY20" fmla="*/ 0 h 6128401"/>
                  <a:gd name="connsiteX21" fmla="*/ 4477595 w 4477595"/>
                  <a:gd name="connsiteY21" fmla="*/ 2238797 h 6128401"/>
                  <a:gd name="connsiteX22" fmla="*/ 3305941 w 4477595"/>
                  <a:gd name="connsiteY22" fmla="*/ 4207383 h 6128401"/>
                  <a:gd name="connsiteX23" fmla="*/ 3243251 w 4477595"/>
                  <a:gd name="connsiteY23" fmla="*/ 4439941 h 6128401"/>
                  <a:gd name="connsiteX24" fmla="*/ 3243251 w 4477595"/>
                  <a:gd name="connsiteY24" fmla="*/ 5318909 h 6128401"/>
                  <a:gd name="connsiteX25" fmla="*/ 2705531 w 4477595"/>
                  <a:gd name="connsiteY25" fmla="*/ 5880081 h 6128401"/>
                  <a:gd name="connsiteX26" fmla="*/ 2650833 w 4477595"/>
                  <a:gd name="connsiteY26" fmla="*/ 5880971 h 6128401"/>
                  <a:gd name="connsiteX27" fmla="*/ 2641784 w 4477595"/>
                  <a:gd name="connsiteY27" fmla="*/ 5910123 h 6128401"/>
                  <a:gd name="connsiteX28" fmla="*/ 2312476 w 4477595"/>
                  <a:gd name="connsiteY28" fmla="*/ 6128401 h 6128401"/>
                  <a:gd name="connsiteX29" fmla="*/ 2165118 w 4477595"/>
                  <a:gd name="connsiteY29" fmla="*/ 6128401 h 6128401"/>
                  <a:gd name="connsiteX30" fmla="*/ 1835810 w 4477595"/>
                  <a:gd name="connsiteY30" fmla="*/ 5910123 h 6128401"/>
                  <a:gd name="connsiteX31" fmla="*/ 1826975 w 4477595"/>
                  <a:gd name="connsiteY31" fmla="*/ 5881661 h 6128401"/>
                  <a:gd name="connsiteX32" fmla="*/ 1699568 w 4477595"/>
                  <a:gd name="connsiteY32" fmla="*/ 5881345 h 6128401"/>
                  <a:gd name="connsiteX33" fmla="*/ 1252464 w 4477595"/>
                  <a:gd name="connsiteY33" fmla="*/ 5306553 h 6128401"/>
                  <a:gd name="connsiteX34" fmla="*/ 1260702 w 4477595"/>
                  <a:gd name="connsiteY34" fmla="*/ 4439941 h 6128401"/>
                  <a:gd name="connsiteX35" fmla="*/ 1247395 w 4477595"/>
                  <a:gd name="connsiteY35" fmla="*/ 4251681 h 6128401"/>
                  <a:gd name="connsiteX36" fmla="*/ 1171654 w 4477595"/>
                  <a:gd name="connsiteY36" fmla="*/ 4207383 h 6128401"/>
                  <a:gd name="connsiteX37" fmla="*/ 0 w 4477595"/>
                  <a:gd name="connsiteY37" fmla="*/ 2238797 h 6128401"/>
                  <a:gd name="connsiteX38" fmla="*/ 2238797 w 4477595"/>
                  <a:gd name="connsiteY38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4056807 w 4477595"/>
                  <a:gd name="connsiteY17" fmla="*/ 2238797 h 6128401"/>
                  <a:gd name="connsiteX18" fmla="*/ 2238798 w 4477595"/>
                  <a:gd name="connsiteY18" fmla="*/ 420786 h 6128401"/>
                  <a:gd name="connsiteX19" fmla="*/ 2238797 w 4477595"/>
                  <a:gd name="connsiteY19" fmla="*/ 0 h 6128401"/>
                  <a:gd name="connsiteX20" fmla="*/ 4477595 w 4477595"/>
                  <a:gd name="connsiteY20" fmla="*/ 2238797 h 6128401"/>
                  <a:gd name="connsiteX21" fmla="*/ 3305941 w 4477595"/>
                  <a:gd name="connsiteY21" fmla="*/ 4207383 h 6128401"/>
                  <a:gd name="connsiteX22" fmla="*/ 3243251 w 4477595"/>
                  <a:gd name="connsiteY22" fmla="*/ 4439941 h 6128401"/>
                  <a:gd name="connsiteX23" fmla="*/ 3243251 w 4477595"/>
                  <a:gd name="connsiteY23" fmla="*/ 5318909 h 6128401"/>
                  <a:gd name="connsiteX24" fmla="*/ 2705531 w 4477595"/>
                  <a:gd name="connsiteY24" fmla="*/ 5880081 h 6128401"/>
                  <a:gd name="connsiteX25" fmla="*/ 2650833 w 4477595"/>
                  <a:gd name="connsiteY25" fmla="*/ 5880971 h 6128401"/>
                  <a:gd name="connsiteX26" fmla="*/ 2641784 w 4477595"/>
                  <a:gd name="connsiteY26" fmla="*/ 5910123 h 6128401"/>
                  <a:gd name="connsiteX27" fmla="*/ 2312476 w 4477595"/>
                  <a:gd name="connsiteY27" fmla="*/ 6128401 h 6128401"/>
                  <a:gd name="connsiteX28" fmla="*/ 2165118 w 4477595"/>
                  <a:gd name="connsiteY28" fmla="*/ 6128401 h 6128401"/>
                  <a:gd name="connsiteX29" fmla="*/ 1835810 w 4477595"/>
                  <a:gd name="connsiteY29" fmla="*/ 5910123 h 6128401"/>
                  <a:gd name="connsiteX30" fmla="*/ 1826975 w 4477595"/>
                  <a:gd name="connsiteY30" fmla="*/ 5881661 h 6128401"/>
                  <a:gd name="connsiteX31" fmla="*/ 1699568 w 4477595"/>
                  <a:gd name="connsiteY31" fmla="*/ 5881345 h 6128401"/>
                  <a:gd name="connsiteX32" fmla="*/ 1252464 w 4477595"/>
                  <a:gd name="connsiteY32" fmla="*/ 5306553 h 6128401"/>
                  <a:gd name="connsiteX33" fmla="*/ 1260702 w 4477595"/>
                  <a:gd name="connsiteY33" fmla="*/ 4439941 h 6128401"/>
                  <a:gd name="connsiteX34" fmla="*/ 1247395 w 4477595"/>
                  <a:gd name="connsiteY34" fmla="*/ 4251681 h 6128401"/>
                  <a:gd name="connsiteX35" fmla="*/ 1171654 w 4477595"/>
                  <a:gd name="connsiteY35" fmla="*/ 4207383 h 6128401"/>
                  <a:gd name="connsiteX36" fmla="*/ 0 w 4477595"/>
                  <a:gd name="connsiteY36" fmla="*/ 2238797 h 6128401"/>
                  <a:gd name="connsiteX37" fmla="*/ 2238797 w 4477595"/>
                  <a:gd name="connsiteY37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4056807 w 4477595"/>
                  <a:gd name="connsiteY17" fmla="*/ 2238797 h 6128401"/>
                  <a:gd name="connsiteX18" fmla="*/ 2238798 w 4477595"/>
                  <a:gd name="connsiteY18" fmla="*/ 420786 h 6128401"/>
                  <a:gd name="connsiteX19" fmla="*/ 2238797 w 4477595"/>
                  <a:gd name="connsiteY19" fmla="*/ 0 h 6128401"/>
                  <a:gd name="connsiteX20" fmla="*/ 4477595 w 4477595"/>
                  <a:gd name="connsiteY20" fmla="*/ 2238797 h 6128401"/>
                  <a:gd name="connsiteX21" fmla="*/ 3305941 w 4477595"/>
                  <a:gd name="connsiteY21" fmla="*/ 4207383 h 6128401"/>
                  <a:gd name="connsiteX22" fmla="*/ 3243251 w 4477595"/>
                  <a:gd name="connsiteY22" fmla="*/ 4439941 h 6128401"/>
                  <a:gd name="connsiteX23" fmla="*/ 3243251 w 4477595"/>
                  <a:gd name="connsiteY23" fmla="*/ 5318909 h 6128401"/>
                  <a:gd name="connsiteX24" fmla="*/ 2705531 w 4477595"/>
                  <a:gd name="connsiteY24" fmla="*/ 5880081 h 6128401"/>
                  <a:gd name="connsiteX25" fmla="*/ 2650833 w 4477595"/>
                  <a:gd name="connsiteY25" fmla="*/ 5880971 h 6128401"/>
                  <a:gd name="connsiteX26" fmla="*/ 2641784 w 4477595"/>
                  <a:gd name="connsiteY26" fmla="*/ 5910123 h 6128401"/>
                  <a:gd name="connsiteX27" fmla="*/ 2312476 w 4477595"/>
                  <a:gd name="connsiteY27" fmla="*/ 6128401 h 6128401"/>
                  <a:gd name="connsiteX28" fmla="*/ 2165118 w 4477595"/>
                  <a:gd name="connsiteY28" fmla="*/ 6128401 h 6128401"/>
                  <a:gd name="connsiteX29" fmla="*/ 1835810 w 4477595"/>
                  <a:gd name="connsiteY29" fmla="*/ 5910123 h 6128401"/>
                  <a:gd name="connsiteX30" fmla="*/ 1826975 w 4477595"/>
                  <a:gd name="connsiteY30" fmla="*/ 5881661 h 6128401"/>
                  <a:gd name="connsiteX31" fmla="*/ 1699568 w 4477595"/>
                  <a:gd name="connsiteY31" fmla="*/ 5881345 h 6128401"/>
                  <a:gd name="connsiteX32" fmla="*/ 1252464 w 4477595"/>
                  <a:gd name="connsiteY32" fmla="*/ 5306553 h 6128401"/>
                  <a:gd name="connsiteX33" fmla="*/ 1260702 w 4477595"/>
                  <a:gd name="connsiteY33" fmla="*/ 4439941 h 6128401"/>
                  <a:gd name="connsiteX34" fmla="*/ 1247395 w 4477595"/>
                  <a:gd name="connsiteY34" fmla="*/ 4251681 h 6128401"/>
                  <a:gd name="connsiteX35" fmla="*/ 1171654 w 4477595"/>
                  <a:gd name="connsiteY35" fmla="*/ 4207383 h 6128401"/>
                  <a:gd name="connsiteX36" fmla="*/ 0 w 4477595"/>
                  <a:gd name="connsiteY36" fmla="*/ 2238797 h 6128401"/>
                  <a:gd name="connsiteX37" fmla="*/ 2238797 w 4477595"/>
                  <a:gd name="connsiteY37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4056807 w 4477595"/>
                  <a:gd name="connsiteY17" fmla="*/ 2238797 h 6128401"/>
                  <a:gd name="connsiteX18" fmla="*/ 2238798 w 4477595"/>
                  <a:gd name="connsiteY18" fmla="*/ 420786 h 6128401"/>
                  <a:gd name="connsiteX19" fmla="*/ 2238797 w 4477595"/>
                  <a:gd name="connsiteY19" fmla="*/ 0 h 6128401"/>
                  <a:gd name="connsiteX20" fmla="*/ 4477595 w 4477595"/>
                  <a:gd name="connsiteY20" fmla="*/ 2238797 h 6128401"/>
                  <a:gd name="connsiteX21" fmla="*/ 3305941 w 4477595"/>
                  <a:gd name="connsiteY21" fmla="*/ 4207383 h 6128401"/>
                  <a:gd name="connsiteX22" fmla="*/ 3243251 w 4477595"/>
                  <a:gd name="connsiteY22" fmla="*/ 4439941 h 6128401"/>
                  <a:gd name="connsiteX23" fmla="*/ 3243251 w 4477595"/>
                  <a:gd name="connsiteY23" fmla="*/ 5318909 h 6128401"/>
                  <a:gd name="connsiteX24" fmla="*/ 2705531 w 4477595"/>
                  <a:gd name="connsiteY24" fmla="*/ 5880081 h 6128401"/>
                  <a:gd name="connsiteX25" fmla="*/ 2650833 w 4477595"/>
                  <a:gd name="connsiteY25" fmla="*/ 5880971 h 6128401"/>
                  <a:gd name="connsiteX26" fmla="*/ 2641784 w 4477595"/>
                  <a:gd name="connsiteY26" fmla="*/ 5910123 h 6128401"/>
                  <a:gd name="connsiteX27" fmla="*/ 2312476 w 4477595"/>
                  <a:gd name="connsiteY27" fmla="*/ 6128401 h 6128401"/>
                  <a:gd name="connsiteX28" fmla="*/ 2165118 w 4477595"/>
                  <a:gd name="connsiteY28" fmla="*/ 6128401 h 6128401"/>
                  <a:gd name="connsiteX29" fmla="*/ 1835810 w 4477595"/>
                  <a:gd name="connsiteY29" fmla="*/ 5910123 h 6128401"/>
                  <a:gd name="connsiteX30" fmla="*/ 1826975 w 4477595"/>
                  <a:gd name="connsiteY30" fmla="*/ 5881661 h 6128401"/>
                  <a:gd name="connsiteX31" fmla="*/ 1699568 w 4477595"/>
                  <a:gd name="connsiteY31" fmla="*/ 5881345 h 6128401"/>
                  <a:gd name="connsiteX32" fmla="*/ 1252464 w 4477595"/>
                  <a:gd name="connsiteY32" fmla="*/ 5306553 h 6128401"/>
                  <a:gd name="connsiteX33" fmla="*/ 1260702 w 4477595"/>
                  <a:gd name="connsiteY33" fmla="*/ 4439941 h 6128401"/>
                  <a:gd name="connsiteX34" fmla="*/ 1247395 w 4477595"/>
                  <a:gd name="connsiteY34" fmla="*/ 4251681 h 6128401"/>
                  <a:gd name="connsiteX35" fmla="*/ 1171654 w 4477595"/>
                  <a:gd name="connsiteY35" fmla="*/ 4207383 h 6128401"/>
                  <a:gd name="connsiteX36" fmla="*/ 0 w 4477595"/>
                  <a:gd name="connsiteY36" fmla="*/ 2238797 h 6128401"/>
                  <a:gd name="connsiteX37" fmla="*/ 2238797 w 4477595"/>
                  <a:gd name="connsiteY37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4056807 w 4477595"/>
                  <a:gd name="connsiteY17" fmla="*/ 2238797 h 6128401"/>
                  <a:gd name="connsiteX18" fmla="*/ 2238798 w 4477595"/>
                  <a:gd name="connsiteY18" fmla="*/ 420786 h 6128401"/>
                  <a:gd name="connsiteX19" fmla="*/ 2238797 w 4477595"/>
                  <a:gd name="connsiteY19" fmla="*/ 0 h 6128401"/>
                  <a:gd name="connsiteX20" fmla="*/ 4477595 w 4477595"/>
                  <a:gd name="connsiteY20" fmla="*/ 2238797 h 6128401"/>
                  <a:gd name="connsiteX21" fmla="*/ 3305941 w 4477595"/>
                  <a:gd name="connsiteY21" fmla="*/ 4207383 h 6128401"/>
                  <a:gd name="connsiteX22" fmla="*/ 3243251 w 4477595"/>
                  <a:gd name="connsiteY22" fmla="*/ 4439941 h 6128401"/>
                  <a:gd name="connsiteX23" fmla="*/ 3243251 w 4477595"/>
                  <a:gd name="connsiteY23" fmla="*/ 5318909 h 6128401"/>
                  <a:gd name="connsiteX24" fmla="*/ 2705531 w 4477595"/>
                  <a:gd name="connsiteY24" fmla="*/ 5880081 h 6128401"/>
                  <a:gd name="connsiteX25" fmla="*/ 2650833 w 4477595"/>
                  <a:gd name="connsiteY25" fmla="*/ 5880971 h 6128401"/>
                  <a:gd name="connsiteX26" fmla="*/ 2641784 w 4477595"/>
                  <a:gd name="connsiteY26" fmla="*/ 5910123 h 6128401"/>
                  <a:gd name="connsiteX27" fmla="*/ 2312476 w 4477595"/>
                  <a:gd name="connsiteY27" fmla="*/ 6128401 h 6128401"/>
                  <a:gd name="connsiteX28" fmla="*/ 2165118 w 4477595"/>
                  <a:gd name="connsiteY28" fmla="*/ 6128401 h 6128401"/>
                  <a:gd name="connsiteX29" fmla="*/ 1835810 w 4477595"/>
                  <a:gd name="connsiteY29" fmla="*/ 5910123 h 6128401"/>
                  <a:gd name="connsiteX30" fmla="*/ 1826975 w 4477595"/>
                  <a:gd name="connsiteY30" fmla="*/ 5881661 h 6128401"/>
                  <a:gd name="connsiteX31" fmla="*/ 1699568 w 4477595"/>
                  <a:gd name="connsiteY31" fmla="*/ 5881345 h 6128401"/>
                  <a:gd name="connsiteX32" fmla="*/ 1252464 w 4477595"/>
                  <a:gd name="connsiteY32" fmla="*/ 5306553 h 6128401"/>
                  <a:gd name="connsiteX33" fmla="*/ 1260702 w 4477595"/>
                  <a:gd name="connsiteY33" fmla="*/ 4439941 h 6128401"/>
                  <a:gd name="connsiteX34" fmla="*/ 1247395 w 4477595"/>
                  <a:gd name="connsiteY34" fmla="*/ 4251681 h 6128401"/>
                  <a:gd name="connsiteX35" fmla="*/ 1171654 w 4477595"/>
                  <a:gd name="connsiteY35" fmla="*/ 4207383 h 6128401"/>
                  <a:gd name="connsiteX36" fmla="*/ 0 w 4477595"/>
                  <a:gd name="connsiteY36" fmla="*/ 2238797 h 6128401"/>
                  <a:gd name="connsiteX37" fmla="*/ 2238797 w 4477595"/>
                  <a:gd name="connsiteY37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539568 w 4477595"/>
                  <a:gd name="connsiteY11" fmla="*/ 4531711 h 6128401"/>
                  <a:gd name="connsiteX12" fmla="*/ 2860637 w 4477595"/>
                  <a:gd name="connsiteY12" fmla="*/ 4311091 h 6128401"/>
                  <a:gd name="connsiteX13" fmla="*/ 3109338 w 4477595"/>
                  <a:gd name="connsiteY13" fmla="*/ 3834987 h 6128401"/>
                  <a:gd name="connsiteX14" fmla="*/ 3110879 w 4477595"/>
                  <a:gd name="connsiteY14" fmla="*/ 3834037 h 6128401"/>
                  <a:gd name="connsiteX15" fmla="*/ 3181541 w 4477595"/>
                  <a:gd name="connsiteY15" fmla="*/ 3791109 h 6128401"/>
                  <a:gd name="connsiteX16" fmla="*/ 4056807 w 4477595"/>
                  <a:gd name="connsiteY16" fmla="*/ 2238797 h 6128401"/>
                  <a:gd name="connsiteX17" fmla="*/ 2238798 w 4477595"/>
                  <a:gd name="connsiteY17" fmla="*/ 420786 h 6128401"/>
                  <a:gd name="connsiteX18" fmla="*/ 2238797 w 4477595"/>
                  <a:gd name="connsiteY18" fmla="*/ 0 h 6128401"/>
                  <a:gd name="connsiteX19" fmla="*/ 4477595 w 4477595"/>
                  <a:gd name="connsiteY19" fmla="*/ 2238797 h 6128401"/>
                  <a:gd name="connsiteX20" fmla="*/ 3305941 w 4477595"/>
                  <a:gd name="connsiteY20" fmla="*/ 4207383 h 6128401"/>
                  <a:gd name="connsiteX21" fmla="*/ 3243251 w 4477595"/>
                  <a:gd name="connsiteY21" fmla="*/ 4439941 h 6128401"/>
                  <a:gd name="connsiteX22" fmla="*/ 3243251 w 4477595"/>
                  <a:gd name="connsiteY22" fmla="*/ 5318909 h 6128401"/>
                  <a:gd name="connsiteX23" fmla="*/ 2705531 w 4477595"/>
                  <a:gd name="connsiteY23" fmla="*/ 5880081 h 6128401"/>
                  <a:gd name="connsiteX24" fmla="*/ 2650833 w 4477595"/>
                  <a:gd name="connsiteY24" fmla="*/ 5880971 h 6128401"/>
                  <a:gd name="connsiteX25" fmla="*/ 2641784 w 4477595"/>
                  <a:gd name="connsiteY25" fmla="*/ 5910123 h 6128401"/>
                  <a:gd name="connsiteX26" fmla="*/ 2312476 w 4477595"/>
                  <a:gd name="connsiteY26" fmla="*/ 6128401 h 6128401"/>
                  <a:gd name="connsiteX27" fmla="*/ 2165118 w 4477595"/>
                  <a:gd name="connsiteY27" fmla="*/ 6128401 h 6128401"/>
                  <a:gd name="connsiteX28" fmla="*/ 1835810 w 4477595"/>
                  <a:gd name="connsiteY28" fmla="*/ 5910123 h 6128401"/>
                  <a:gd name="connsiteX29" fmla="*/ 1826975 w 4477595"/>
                  <a:gd name="connsiteY29" fmla="*/ 5881661 h 6128401"/>
                  <a:gd name="connsiteX30" fmla="*/ 1699568 w 4477595"/>
                  <a:gd name="connsiteY30" fmla="*/ 5881345 h 6128401"/>
                  <a:gd name="connsiteX31" fmla="*/ 1252464 w 4477595"/>
                  <a:gd name="connsiteY31" fmla="*/ 5306553 h 6128401"/>
                  <a:gd name="connsiteX32" fmla="*/ 1260702 w 4477595"/>
                  <a:gd name="connsiteY32" fmla="*/ 4439941 h 6128401"/>
                  <a:gd name="connsiteX33" fmla="*/ 1247395 w 4477595"/>
                  <a:gd name="connsiteY33" fmla="*/ 4251681 h 6128401"/>
                  <a:gd name="connsiteX34" fmla="*/ 1171654 w 4477595"/>
                  <a:gd name="connsiteY34" fmla="*/ 4207383 h 6128401"/>
                  <a:gd name="connsiteX35" fmla="*/ 0 w 4477595"/>
                  <a:gd name="connsiteY35" fmla="*/ 2238797 h 6128401"/>
                  <a:gd name="connsiteX36" fmla="*/ 2238797 w 4477595"/>
                  <a:gd name="connsiteY36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539568 w 4477595"/>
                  <a:gd name="connsiteY10" fmla="*/ 4531711 h 6128401"/>
                  <a:gd name="connsiteX11" fmla="*/ 2860637 w 4477595"/>
                  <a:gd name="connsiteY11" fmla="*/ 4311091 h 6128401"/>
                  <a:gd name="connsiteX12" fmla="*/ 3109338 w 4477595"/>
                  <a:gd name="connsiteY12" fmla="*/ 3834987 h 6128401"/>
                  <a:gd name="connsiteX13" fmla="*/ 3110879 w 4477595"/>
                  <a:gd name="connsiteY13" fmla="*/ 3834037 h 6128401"/>
                  <a:gd name="connsiteX14" fmla="*/ 3181541 w 4477595"/>
                  <a:gd name="connsiteY14" fmla="*/ 3791109 h 6128401"/>
                  <a:gd name="connsiteX15" fmla="*/ 4056807 w 4477595"/>
                  <a:gd name="connsiteY15" fmla="*/ 2238797 h 6128401"/>
                  <a:gd name="connsiteX16" fmla="*/ 2238798 w 4477595"/>
                  <a:gd name="connsiteY16" fmla="*/ 420786 h 6128401"/>
                  <a:gd name="connsiteX17" fmla="*/ 2238797 w 4477595"/>
                  <a:gd name="connsiteY17" fmla="*/ 0 h 6128401"/>
                  <a:gd name="connsiteX18" fmla="*/ 4477595 w 4477595"/>
                  <a:gd name="connsiteY18" fmla="*/ 2238797 h 6128401"/>
                  <a:gd name="connsiteX19" fmla="*/ 3305941 w 4477595"/>
                  <a:gd name="connsiteY19" fmla="*/ 4207383 h 6128401"/>
                  <a:gd name="connsiteX20" fmla="*/ 3243251 w 4477595"/>
                  <a:gd name="connsiteY20" fmla="*/ 4439941 h 6128401"/>
                  <a:gd name="connsiteX21" fmla="*/ 3243251 w 4477595"/>
                  <a:gd name="connsiteY21" fmla="*/ 5318909 h 6128401"/>
                  <a:gd name="connsiteX22" fmla="*/ 2705531 w 4477595"/>
                  <a:gd name="connsiteY22" fmla="*/ 5880081 h 6128401"/>
                  <a:gd name="connsiteX23" fmla="*/ 2650833 w 4477595"/>
                  <a:gd name="connsiteY23" fmla="*/ 5880971 h 6128401"/>
                  <a:gd name="connsiteX24" fmla="*/ 2641784 w 4477595"/>
                  <a:gd name="connsiteY24" fmla="*/ 5910123 h 6128401"/>
                  <a:gd name="connsiteX25" fmla="*/ 2312476 w 4477595"/>
                  <a:gd name="connsiteY25" fmla="*/ 6128401 h 6128401"/>
                  <a:gd name="connsiteX26" fmla="*/ 2165118 w 4477595"/>
                  <a:gd name="connsiteY26" fmla="*/ 6128401 h 6128401"/>
                  <a:gd name="connsiteX27" fmla="*/ 1835810 w 4477595"/>
                  <a:gd name="connsiteY27" fmla="*/ 5910123 h 6128401"/>
                  <a:gd name="connsiteX28" fmla="*/ 1826975 w 4477595"/>
                  <a:gd name="connsiteY28" fmla="*/ 5881661 h 6128401"/>
                  <a:gd name="connsiteX29" fmla="*/ 1699568 w 4477595"/>
                  <a:gd name="connsiteY29" fmla="*/ 5881345 h 6128401"/>
                  <a:gd name="connsiteX30" fmla="*/ 1252464 w 4477595"/>
                  <a:gd name="connsiteY30" fmla="*/ 5306553 h 6128401"/>
                  <a:gd name="connsiteX31" fmla="*/ 1260702 w 4477595"/>
                  <a:gd name="connsiteY31" fmla="*/ 4439941 h 6128401"/>
                  <a:gd name="connsiteX32" fmla="*/ 1247395 w 4477595"/>
                  <a:gd name="connsiteY32" fmla="*/ 4251681 h 6128401"/>
                  <a:gd name="connsiteX33" fmla="*/ 1171654 w 4477595"/>
                  <a:gd name="connsiteY33" fmla="*/ 4207383 h 6128401"/>
                  <a:gd name="connsiteX34" fmla="*/ 0 w 4477595"/>
                  <a:gd name="connsiteY34" fmla="*/ 2238797 h 6128401"/>
                  <a:gd name="connsiteX35" fmla="*/ 2238797 w 4477595"/>
                  <a:gd name="connsiteY35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539568 w 4477595"/>
                  <a:gd name="connsiteY9" fmla="*/ 4531711 h 6128401"/>
                  <a:gd name="connsiteX10" fmla="*/ 2860637 w 4477595"/>
                  <a:gd name="connsiteY10" fmla="*/ 4311091 h 6128401"/>
                  <a:gd name="connsiteX11" fmla="*/ 3109338 w 4477595"/>
                  <a:gd name="connsiteY11" fmla="*/ 3834987 h 6128401"/>
                  <a:gd name="connsiteX12" fmla="*/ 3110879 w 4477595"/>
                  <a:gd name="connsiteY12" fmla="*/ 3834037 h 6128401"/>
                  <a:gd name="connsiteX13" fmla="*/ 3181541 w 4477595"/>
                  <a:gd name="connsiteY13" fmla="*/ 3791109 h 6128401"/>
                  <a:gd name="connsiteX14" fmla="*/ 4056807 w 4477595"/>
                  <a:gd name="connsiteY14" fmla="*/ 2238797 h 6128401"/>
                  <a:gd name="connsiteX15" fmla="*/ 2238798 w 4477595"/>
                  <a:gd name="connsiteY15" fmla="*/ 420786 h 6128401"/>
                  <a:gd name="connsiteX16" fmla="*/ 2238797 w 4477595"/>
                  <a:gd name="connsiteY16" fmla="*/ 0 h 6128401"/>
                  <a:gd name="connsiteX17" fmla="*/ 4477595 w 4477595"/>
                  <a:gd name="connsiteY17" fmla="*/ 2238797 h 6128401"/>
                  <a:gd name="connsiteX18" fmla="*/ 3305941 w 4477595"/>
                  <a:gd name="connsiteY18" fmla="*/ 4207383 h 6128401"/>
                  <a:gd name="connsiteX19" fmla="*/ 3243251 w 4477595"/>
                  <a:gd name="connsiteY19" fmla="*/ 4439941 h 6128401"/>
                  <a:gd name="connsiteX20" fmla="*/ 3243251 w 4477595"/>
                  <a:gd name="connsiteY20" fmla="*/ 5318909 h 6128401"/>
                  <a:gd name="connsiteX21" fmla="*/ 2705531 w 4477595"/>
                  <a:gd name="connsiteY21" fmla="*/ 5880081 h 6128401"/>
                  <a:gd name="connsiteX22" fmla="*/ 2650833 w 4477595"/>
                  <a:gd name="connsiteY22" fmla="*/ 5880971 h 6128401"/>
                  <a:gd name="connsiteX23" fmla="*/ 2641784 w 4477595"/>
                  <a:gd name="connsiteY23" fmla="*/ 5910123 h 6128401"/>
                  <a:gd name="connsiteX24" fmla="*/ 2312476 w 4477595"/>
                  <a:gd name="connsiteY24" fmla="*/ 6128401 h 6128401"/>
                  <a:gd name="connsiteX25" fmla="*/ 2165118 w 4477595"/>
                  <a:gd name="connsiteY25" fmla="*/ 6128401 h 6128401"/>
                  <a:gd name="connsiteX26" fmla="*/ 1835810 w 4477595"/>
                  <a:gd name="connsiteY26" fmla="*/ 5910123 h 6128401"/>
                  <a:gd name="connsiteX27" fmla="*/ 1826975 w 4477595"/>
                  <a:gd name="connsiteY27" fmla="*/ 5881661 h 6128401"/>
                  <a:gd name="connsiteX28" fmla="*/ 1699568 w 4477595"/>
                  <a:gd name="connsiteY28" fmla="*/ 5881345 h 6128401"/>
                  <a:gd name="connsiteX29" fmla="*/ 1252464 w 4477595"/>
                  <a:gd name="connsiteY29" fmla="*/ 5306553 h 6128401"/>
                  <a:gd name="connsiteX30" fmla="*/ 1260702 w 4477595"/>
                  <a:gd name="connsiteY30" fmla="*/ 4439941 h 6128401"/>
                  <a:gd name="connsiteX31" fmla="*/ 1247395 w 4477595"/>
                  <a:gd name="connsiteY31" fmla="*/ 4251681 h 6128401"/>
                  <a:gd name="connsiteX32" fmla="*/ 1171654 w 4477595"/>
                  <a:gd name="connsiteY32" fmla="*/ 4207383 h 6128401"/>
                  <a:gd name="connsiteX33" fmla="*/ 0 w 4477595"/>
                  <a:gd name="connsiteY33" fmla="*/ 2238797 h 6128401"/>
                  <a:gd name="connsiteX34" fmla="*/ 2238797 w 4477595"/>
                  <a:gd name="connsiteY34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539568 w 4477595"/>
                  <a:gd name="connsiteY8" fmla="*/ 4531711 h 6128401"/>
                  <a:gd name="connsiteX9" fmla="*/ 2860637 w 4477595"/>
                  <a:gd name="connsiteY9" fmla="*/ 4311091 h 6128401"/>
                  <a:gd name="connsiteX10" fmla="*/ 3109338 w 4477595"/>
                  <a:gd name="connsiteY10" fmla="*/ 3834987 h 6128401"/>
                  <a:gd name="connsiteX11" fmla="*/ 3110879 w 4477595"/>
                  <a:gd name="connsiteY11" fmla="*/ 3834037 h 6128401"/>
                  <a:gd name="connsiteX12" fmla="*/ 3181541 w 4477595"/>
                  <a:gd name="connsiteY12" fmla="*/ 3791109 h 6128401"/>
                  <a:gd name="connsiteX13" fmla="*/ 4056807 w 4477595"/>
                  <a:gd name="connsiteY13" fmla="*/ 2238797 h 6128401"/>
                  <a:gd name="connsiteX14" fmla="*/ 2238798 w 4477595"/>
                  <a:gd name="connsiteY14" fmla="*/ 420786 h 6128401"/>
                  <a:gd name="connsiteX15" fmla="*/ 2238797 w 4477595"/>
                  <a:gd name="connsiteY15" fmla="*/ 0 h 6128401"/>
                  <a:gd name="connsiteX16" fmla="*/ 4477595 w 4477595"/>
                  <a:gd name="connsiteY16" fmla="*/ 2238797 h 6128401"/>
                  <a:gd name="connsiteX17" fmla="*/ 3305941 w 4477595"/>
                  <a:gd name="connsiteY17" fmla="*/ 4207383 h 6128401"/>
                  <a:gd name="connsiteX18" fmla="*/ 3243251 w 4477595"/>
                  <a:gd name="connsiteY18" fmla="*/ 4439941 h 6128401"/>
                  <a:gd name="connsiteX19" fmla="*/ 3243251 w 4477595"/>
                  <a:gd name="connsiteY19" fmla="*/ 5318909 h 6128401"/>
                  <a:gd name="connsiteX20" fmla="*/ 2705531 w 4477595"/>
                  <a:gd name="connsiteY20" fmla="*/ 5880081 h 6128401"/>
                  <a:gd name="connsiteX21" fmla="*/ 2650833 w 4477595"/>
                  <a:gd name="connsiteY21" fmla="*/ 5880971 h 6128401"/>
                  <a:gd name="connsiteX22" fmla="*/ 2641784 w 4477595"/>
                  <a:gd name="connsiteY22" fmla="*/ 5910123 h 6128401"/>
                  <a:gd name="connsiteX23" fmla="*/ 2312476 w 4477595"/>
                  <a:gd name="connsiteY23" fmla="*/ 6128401 h 6128401"/>
                  <a:gd name="connsiteX24" fmla="*/ 2165118 w 4477595"/>
                  <a:gd name="connsiteY24" fmla="*/ 6128401 h 6128401"/>
                  <a:gd name="connsiteX25" fmla="*/ 1835810 w 4477595"/>
                  <a:gd name="connsiteY25" fmla="*/ 5910123 h 6128401"/>
                  <a:gd name="connsiteX26" fmla="*/ 1826975 w 4477595"/>
                  <a:gd name="connsiteY26" fmla="*/ 5881661 h 6128401"/>
                  <a:gd name="connsiteX27" fmla="*/ 1699568 w 4477595"/>
                  <a:gd name="connsiteY27" fmla="*/ 5881345 h 6128401"/>
                  <a:gd name="connsiteX28" fmla="*/ 1252464 w 4477595"/>
                  <a:gd name="connsiteY28" fmla="*/ 5306553 h 6128401"/>
                  <a:gd name="connsiteX29" fmla="*/ 1260702 w 4477595"/>
                  <a:gd name="connsiteY29" fmla="*/ 4439941 h 6128401"/>
                  <a:gd name="connsiteX30" fmla="*/ 1247395 w 4477595"/>
                  <a:gd name="connsiteY30" fmla="*/ 4251681 h 6128401"/>
                  <a:gd name="connsiteX31" fmla="*/ 1171654 w 4477595"/>
                  <a:gd name="connsiteY31" fmla="*/ 4207383 h 6128401"/>
                  <a:gd name="connsiteX32" fmla="*/ 0 w 4477595"/>
                  <a:gd name="connsiteY32" fmla="*/ 2238797 h 6128401"/>
                  <a:gd name="connsiteX33" fmla="*/ 2238797 w 4477595"/>
                  <a:gd name="connsiteY33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539568 w 4477595"/>
                  <a:gd name="connsiteY7" fmla="*/ 4531711 h 6128401"/>
                  <a:gd name="connsiteX8" fmla="*/ 2860637 w 4477595"/>
                  <a:gd name="connsiteY8" fmla="*/ 4311091 h 6128401"/>
                  <a:gd name="connsiteX9" fmla="*/ 3109338 w 4477595"/>
                  <a:gd name="connsiteY9" fmla="*/ 3834987 h 6128401"/>
                  <a:gd name="connsiteX10" fmla="*/ 3110879 w 4477595"/>
                  <a:gd name="connsiteY10" fmla="*/ 3834037 h 6128401"/>
                  <a:gd name="connsiteX11" fmla="*/ 3181541 w 4477595"/>
                  <a:gd name="connsiteY11" fmla="*/ 3791109 h 6128401"/>
                  <a:gd name="connsiteX12" fmla="*/ 4056807 w 4477595"/>
                  <a:gd name="connsiteY12" fmla="*/ 2238797 h 6128401"/>
                  <a:gd name="connsiteX13" fmla="*/ 2238798 w 4477595"/>
                  <a:gd name="connsiteY13" fmla="*/ 420786 h 6128401"/>
                  <a:gd name="connsiteX14" fmla="*/ 2238797 w 4477595"/>
                  <a:gd name="connsiteY14" fmla="*/ 0 h 6128401"/>
                  <a:gd name="connsiteX15" fmla="*/ 4477595 w 4477595"/>
                  <a:gd name="connsiteY15" fmla="*/ 2238797 h 6128401"/>
                  <a:gd name="connsiteX16" fmla="*/ 3305941 w 4477595"/>
                  <a:gd name="connsiteY16" fmla="*/ 4207383 h 6128401"/>
                  <a:gd name="connsiteX17" fmla="*/ 3243251 w 4477595"/>
                  <a:gd name="connsiteY17" fmla="*/ 4439941 h 6128401"/>
                  <a:gd name="connsiteX18" fmla="*/ 3243251 w 4477595"/>
                  <a:gd name="connsiteY18" fmla="*/ 5318909 h 6128401"/>
                  <a:gd name="connsiteX19" fmla="*/ 2705531 w 4477595"/>
                  <a:gd name="connsiteY19" fmla="*/ 5880081 h 6128401"/>
                  <a:gd name="connsiteX20" fmla="*/ 2650833 w 4477595"/>
                  <a:gd name="connsiteY20" fmla="*/ 5880971 h 6128401"/>
                  <a:gd name="connsiteX21" fmla="*/ 2641784 w 4477595"/>
                  <a:gd name="connsiteY21" fmla="*/ 5910123 h 6128401"/>
                  <a:gd name="connsiteX22" fmla="*/ 2312476 w 4477595"/>
                  <a:gd name="connsiteY22" fmla="*/ 6128401 h 6128401"/>
                  <a:gd name="connsiteX23" fmla="*/ 2165118 w 4477595"/>
                  <a:gd name="connsiteY23" fmla="*/ 6128401 h 6128401"/>
                  <a:gd name="connsiteX24" fmla="*/ 1835810 w 4477595"/>
                  <a:gd name="connsiteY24" fmla="*/ 5910123 h 6128401"/>
                  <a:gd name="connsiteX25" fmla="*/ 1826975 w 4477595"/>
                  <a:gd name="connsiteY25" fmla="*/ 5881661 h 6128401"/>
                  <a:gd name="connsiteX26" fmla="*/ 1699568 w 4477595"/>
                  <a:gd name="connsiteY26" fmla="*/ 5881345 h 6128401"/>
                  <a:gd name="connsiteX27" fmla="*/ 1252464 w 4477595"/>
                  <a:gd name="connsiteY27" fmla="*/ 5306553 h 6128401"/>
                  <a:gd name="connsiteX28" fmla="*/ 1260702 w 4477595"/>
                  <a:gd name="connsiteY28" fmla="*/ 4439941 h 6128401"/>
                  <a:gd name="connsiteX29" fmla="*/ 1247395 w 4477595"/>
                  <a:gd name="connsiteY29" fmla="*/ 4251681 h 6128401"/>
                  <a:gd name="connsiteX30" fmla="*/ 1171654 w 4477595"/>
                  <a:gd name="connsiteY30" fmla="*/ 4207383 h 6128401"/>
                  <a:gd name="connsiteX31" fmla="*/ 0 w 4477595"/>
                  <a:gd name="connsiteY31" fmla="*/ 2238797 h 6128401"/>
                  <a:gd name="connsiteX32" fmla="*/ 2238797 w 4477595"/>
                  <a:gd name="connsiteY32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539568 w 4477595"/>
                  <a:gd name="connsiteY6" fmla="*/ 4531711 h 6128401"/>
                  <a:gd name="connsiteX7" fmla="*/ 2860637 w 4477595"/>
                  <a:gd name="connsiteY7" fmla="*/ 4311091 h 6128401"/>
                  <a:gd name="connsiteX8" fmla="*/ 3109338 w 4477595"/>
                  <a:gd name="connsiteY8" fmla="*/ 3834987 h 6128401"/>
                  <a:gd name="connsiteX9" fmla="*/ 3110879 w 4477595"/>
                  <a:gd name="connsiteY9" fmla="*/ 3834037 h 6128401"/>
                  <a:gd name="connsiteX10" fmla="*/ 3181541 w 4477595"/>
                  <a:gd name="connsiteY10" fmla="*/ 3791109 h 6128401"/>
                  <a:gd name="connsiteX11" fmla="*/ 4056807 w 4477595"/>
                  <a:gd name="connsiteY11" fmla="*/ 2238797 h 6128401"/>
                  <a:gd name="connsiteX12" fmla="*/ 2238798 w 4477595"/>
                  <a:gd name="connsiteY12" fmla="*/ 420786 h 6128401"/>
                  <a:gd name="connsiteX13" fmla="*/ 2238797 w 4477595"/>
                  <a:gd name="connsiteY13" fmla="*/ 0 h 6128401"/>
                  <a:gd name="connsiteX14" fmla="*/ 4477595 w 4477595"/>
                  <a:gd name="connsiteY14" fmla="*/ 2238797 h 6128401"/>
                  <a:gd name="connsiteX15" fmla="*/ 3305941 w 4477595"/>
                  <a:gd name="connsiteY15" fmla="*/ 4207383 h 6128401"/>
                  <a:gd name="connsiteX16" fmla="*/ 3243251 w 4477595"/>
                  <a:gd name="connsiteY16" fmla="*/ 4439941 h 6128401"/>
                  <a:gd name="connsiteX17" fmla="*/ 3243251 w 4477595"/>
                  <a:gd name="connsiteY17" fmla="*/ 5318909 h 6128401"/>
                  <a:gd name="connsiteX18" fmla="*/ 2705531 w 4477595"/>
                  <a:gd name="connsiteY18" fmla="*/ 5880081 h 6128401"/>
                  <a:gd name="connsiteX19" fmla="*/ 2650833 w 4477595"/>
                  <a:gd name="connsiteY19" fmla="*/ 5880971 h 6128401"/>
                  <a:gd name="connsiteX20" fmla="*/ 2641784 w 4477595"/>
                  <a:gd name="connsiteY20" fmla="*/ 5910123 h 6128401"/>
                  <a:gd name="connsiteX21" fmla="*/ 2312476 w 4477595"/>
                  <a:gd name="connsiteY21" fmla="*/ 6128401 h 6128401"/>
                  <a:gd name="connsiteX22" fmla="*/ 2165118 w 4477595"/>
                  <a:gd name="connsiteY22" fmla="*/ 6128401 h 6128401"/>
                  <a:gd name="connsiteX23" fmla="*/ 1835810 w 4477595"/>
                  <a:gd name="connsiteY23" fmla="*/ 5910123 h 6128401"/>
                  <a:gd name="connsiteX24" fmla="*/ 1826975 w 4477595"/>
                  <a:gd name="connsiteY24" fmla="*/ 5881661 h 6128401"/>
                  <a:gd name="connsiteX25" fmla="*/ 1699568 w 4477595"/>
                  <a:gd name="connsiteY25" fmla="*/ 5881345 h 6128401"/>
                  <a:gd name="connsiteX26" fmla="*/ 1252464 w 4477595"/>
                  <a:gd name="connsiteY26" fmla="*/ 5306553 h 6128401"/>
                  <a:gd name="connsiteX27" fmla="*/ 1260702 w 4477595"/>
                  <a:gd name="connsiteY27" fmla="*/ 4439941 h 6128401"/>
                  <a:gd name="connsiteX28" fmla="*/ 1247395 w 4477595"/>
                  <a:gd name="connsiteY28" fmla="*/ 4251681 h 6128401"/>
                  <a:gd name="connsiteX29" fmla="*/ 1171654 w 4477595"/>
                  <a:gd name="connsiteY29" fmla="*/ 4207383 h 6128401"/>
                  <a:gd name="connsiteX30" fmla="*/ 0 w 4477595"/>
                  <a:gd name="connsiteY30" fmla="*/ 2238797 h 6128401"/>
                  <a:gd name="connsiteX31" fmla="*/ 2238797 w 4477595"/>
                  <a:gd name="connsiteY31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539568 w 4477595"/>
                  <a:gd name="connsiteY5" fmla="*/ 4531711 h 6128401"/>
                  <a:gd name="connsiteX6" fmla="*/ 2860637 w 4477595"/>
                  <a:gd name="connsiteY6" fmla="*/ 4311091 h 6128401"/>
                  <a:gd name="connsiteX7" fmla="*/ 3109338 w 4477595"/>
                  <a:gd name="connsiteY7" fmla="*/ 3834987 h 6128401"/>
                  <a:gd name="connsiteX8" fmla="*/ 3110879 w 4477595"/>
                  <a:gd name="connsiteY8" fmla="*/ 3834037 h 6128401"/>
                  <a:gd name="connsiteX9" fmla="*/ 3181541 w 4477595"/>
                  <a:gd name="connsiteY9" fmla="*/ 3791109 h 6128401"/>
                  <a:gd name="connsiteX10" fmla="*/ 4056807 w 4477595"/>
                  <a:gd name="connsiteY10" fmla="*/ 2238797 h 6128401"/>
                  <a:gd name="connsiteX11" fmla="*/ 2238798 w 4477595"/>
                  <a:gd name="connsiteY11" fmla="*/ 420786 h 6128401"/>
                  <a:gd name="connsiteX12" fmla="*/ 2238797 w 4477595"/>
                  <a:gd name="connsiteY12" fmla="*/ 0 h 6128401"/>
                  <a:gd name="connsiteX13" fmla="*/ 4477595 w 4477595"/>
                  <a:gd name="connsiteY13" fmla="*/ 2238797 h 6128401"/>
                  <a:gd name="connsiteX14" fmla="*/ 3305941 w 4477595"/>
                  <a:gd name="connsiteY14" fmla="*/ 4207383 h 6128401"/>
                  <a:gd name="connsiteX15" fmla="*/ 3243251 w 4477595"/>
                  <a:gd name="connsiteY15" fmla="*/ 4439941 h 6128401"/>
                  <a:gd name="connsiteX16" fmla="*/ 3243251 w 4477595"/>
                  <a:gd name="connsiteY16" fmla="*/ 5318909 h 6128401"/>
                  <a:gd name="connsiteX17" fmla="*/ 2705531 w 4477595"/>
                  <a:gd name="connsiteY17" fmla="*/ 5880081 h 6128401"/>
                  <a:gd name="connsiteX18" fmla="*/ 2650833 w 4477595"/>
                  <a:gd name="connsiteY18" fmla="*/ 5880971 h 6128401"/>
                  <a:gd name="connsiteX19" fmla="*/ 2641784 w 4477595"/>
                  <a:gd name="connsiteY19" fmla="*/ 5910123 h 6128401"/>
                  <a:gd name="connsiteX20" fmla="*/ 2312476 w 4477595"/>
                  <a:gd name="connsiteY20" fmla="*/ 6128401 h 6128401"/>
                  <a:gd name="connsiteX21" fmla="*/ 2165118 w 4477595"/>
                  <a:gd name="connsiteY21" fmla="*/ 6128401 h 6128401"/>
                  <a:gd name="connsiteX22" fmla="*/ 1835810 w 4477595"/>
                  <a:gd name="connsiteY22" fmla="*/ 5910123 h 6128401"/>
                  <a:gd name="connsiteX23" fmla="*/ 1826975 w 4477595"/>
                  <a:gd name="connsiteY23" fmla="*/ 5881661 h 6128401"/>
                  <a:gd name="connsiteX24" fmla="*/ 1699568 w 4477595"/>
                  <a:gd name="connsiteY24" fmla="*/ 5881345 h 6128401"/>
                  <a:gd name="connsiteX25" fmla="*/ 1252464 w 4477595"/>
                  <a:gd name="connsiteY25" fmla="*/ 5306553 h 6128401"/>
                  <a:gd name="connsiteX26" fmla="*/ 1260702 w 4477595"/>
                  <a:gd name="connsiteY26" fmla="*/ 4439941 h 6128401"/>
                  <a:gd name="connsiteX27" fmla="*/ 1247395 w 4477595"/>
                  <a:gd name="connsiteY27" fmla="*/ 4251681 h 6128401"/>
                  <a:gd name="connsiteX28" fmla="*/ 1171654 w 4477595"/>
                  <a:gd name="connsiteY28" fmla="*/ 4207383 h 6128401"/>
                  <a:gd name="connsiteX29" fmla="*/ 0 w 4477595"/>
                  <a:gd name="connsiteY29" fmla="*/ 2238797 h 6128401"/>
                  <a:gd name="connsiteX30" fmla="*/ 2238797 w 4477595"/>
                  <a:gd name="connsiteY30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539568 w 4477595"/>
                  <a:gd name="connsiteY5" fmla="*/ 4531711 h 6128401"/>
                  <a:gd name="connsiteX6" fmla="*/ 2860637 w 4477595"/>
                  <a:gd name="connsiteY6" fmla="*/ 4311091 h 6128401"/>
                  <a:gd name="connsiteX7" fmla="*/ 3109338 w 4477595"/>
                  <a:gd name="connsiteY7" fmla="*/ 3834987 h 6128401"/>
                  <a:gd name="connsiteX8" fmla="*/ 3110879 w 4477595"/>
                  <a:gd name="connsiteY8" fmla="*/ 3834037 h 6128401"/>
                  <a:gd name="connsiteX9" fmla="*/ 3181541 w 4477595"/>
                  <a:gd name="connsiteY9" fmla="*/ 3791109 h 6128401"/>
                  <a:gd name="connsiteX10" fmla="*/ 4056807 w 4477595"/>
                  <a:gd name="connsiteY10" fmla="*/ 2238797 h 6128401"/>
                  <a:gd name="connsiteX11" fmla="*/ 2238798 w 4477595"/>
                  <a:gd name="connsiteY11" fmla="*/ 420786 h 6128401"/>
                  <a:gd name="connsiteX12" fmla="*/ 2238797 w 4477595"/>
                  <a:gd name="connsiteY12" fmla="*/ 0 h 6128401"/>
                  <a:gd name="connsiteX13" fmla="*/ 4477595 w 4477595"/>
                  <a:gd name="connsiteY13" fmla="*/ 2238797 h 6128401"/>
                  <a:gd name="connsiteX14" fmla="*/ 3305941 w 4477595"/>
                  <a:gd name="connsiteY14" fmla="*/ 4207383 h 6128401"/>
                  <a:gd name="connsiteX15" fmla="*/ 3243251 w 4477595"/>
                  <a:gd name="connsiteY15" fmla="*/ 4439941 h 6128401"/>
                  <a:gd name="connsiteX16" fmla="*/ 3243251 w 4477595"/>
                  <a:gd name="connsiteY16" fmla="*/ 5318909 h 6128401"/>
                  <a:gd name="connsiteX17" fmla="*/ 2705531 w 4477595"/>
                  <a:gd name="connsiteY17" fmla="*/ 5880081 h 6128401"/>
                  <a:gd name="connsiteX18" fmla="*/ 2650833 w 4477595"/>
                  <a:gd name="connsiteY18" fmla="*/ 5880971 h 6128401"/>
                  <a:gd name="connsiteX19" fmla="*/ 2641784 w 4477595"/>
                  <a:gd name="connsiteY19" fmla="*/ 5910123 h 6128401"/>
                  <a:gd name="connsiteX20" fmla="*/ 2312476 w 4477595"/>
                  <a:gd name="connsiteY20" fmla="*/ 6128401 h 6128401"/>
                  <a:gd name="connsiteX21" fmla="*/ 2165118 w 4477595"/>
                  <a:gd name="connsiteY21" fmla="*/ 6128401 h 6128401"/>
                  <a:gd name="connsiteX22" fmla="*/ 1835810 w 4477595"/>
                  <a:gd name="connsiteY22" fmla="*/ 5910123 h 6128401"/>
                  <a:gd name="connsiteX23" fmla="*/ 1826975 w 4477595"/>
                  <a:gd name="connsiteY23" fmla="*/ 5881661 h 6128401"/>
                  <a:gd name="connsiteX24" fmla="*/ 1699568 w 4477595"/>
                  <a:gd name="connsiteY24" fmla="*/ 5881345 h 6128401"/>
                  <a:gd name="connsiteX25" fmla="*/ 1252464 w 4477595"/>
                  <a:gd name="connsiteY25" fmla="*/ 5306553 h 6128401"/>
                  <a:gd name="connsiteX26" fmla="*/ 1260702 w 4477595"/>
                  <a:gd name="connsiteY26" fmla="*/ 4439941 h 6128401"/>
                  <a:gd name="connsiteX27" fmla="*/ 1247395 w 4477595"/>
                  <a:gd name="connsiteY27" fmla="*/ 4251681 h 6128401"/>
                  <a:gd name="connsiteX28" fmla="*/ 1171654 w 4477595"/>
                  <a:gd name="connsiteY28" fmla="*/ 4207383 h 6128401"/>
                  <a:gd name="connsiteX29" fmla="*/ 0 w 4477595"/>
                  <a:gd name="connsiteY29" fmla="*/ 2238797 h 6128401"/>
                  <a:gd name="connsiteX30" fmla="*/ 2238797 w 4477595"/>
                  <a:gd name="connsiteY30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27594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539568 w 4477595"/>
                  <a:gd name="connsiteY5" fmla="*/ 4531711 h 6128401"/>
                  <a:gd name="connsiteX6" fmla="*/ 2860637 w 4477595"/>
                  <a:gd name="connsiteY6" fmla="*/ 4311091 h 6128401"/>
                  <a:gd name="connsiteX7" fmla="*/ 3109338 w 4477595"/>
                  <a:gd name="connsiteY7" fmla="*/ 3834987 h 6128401"/>
                  <a:gd name="connsiteX8" fmla="*/ 3110879 w 4477595"/>
                  <a:gd name="connsiteY8" fmla="*/ 3834037 h 6128401"/>
                  <a:gd name="connsiteX9" fmla="*/ 3181541 w 4477595"/>
                  <a:gd name="connsiteY9" fmla="*/ 3791109 h 6128401"/>
                  <a:gd name="connsiteX10" fmla="*/ 4056807 w 4477595"/>
                  <a:gd name="connsiteY10" fmla="*/ 2238797 h 6128401"/>
                  <a:gd name="connsiteX11" fmla="*/ 2238798 w 4477595"/>
                  <a:gd name="connsiteY11" fmla="*/ 420786 h 6128401"/>
                  <a:gd name="connsiteX12" fmla="*/ 2238797 w 4477595"/>
                  <a:gd name="connsiteY12" fmla="*/ 0 h 6128401"/>
                  <a:gd name="connsiteX13" fmla="*/ 4477595 w 4477595"/>
                  <a:gd name="connsiteY13" fmla="*/ 2238797 h 6128401"/>
                  <a:gd name="connsiteX14" fmla="*/ 3305941 w 4477595"/>
                  <a:gd name="connsiteY14" fmla="*/ 4207383 h 6128401"/>
                  <a:gd name="connsiteX15" fmla="*/ 3243251 w 4477595"/>
                  <a:gd name="connsiteY15" fmla="*/ 4439941 h 6128401"/>
                  <a:gd name="connsiteX16" fmla="*/ 3243251 w 4477595"/>
                  <a:gd name="connsiteY16" fmla="*/ 5318909 h 6128401"/>
                  <a:gd name="connsiteX17" fmla="*/ 2705531 w 4477595"/>
                  <a:gd name="connsiteY17" fmla="*/ 5880081 h 6128401"/>
                  <a:gd name="connsiteX18" fmla="*/ 2650833 w 4477595"/>
                  <a:gd name="connsiteY18" fmla="*/ 5880971 h 6128401"/>
                  <a:gd name="connsiteX19" fmla="*/ 2641784 w 4477595"/>
                  <a:gd name="connsiteY19" fmla="*/ 5910123 h 6128401"/>
                  <a:gd name="connsiteX20" fmla="*/ 2312476 w 4477595"/>
                  <a:gd name="connsiteY20" fmla="*/ 6128401 h 6128401"/>
                  <a:gd name="connsiteX21" fmla="*/ 2165118 w 4477595"/>
                  <a:gd name="connsiteY21" fmla="*/ 6128401 h 6128401"/>
                  <a:gd name="connsiteX22" fmla="*/ 1835810 w 4477595"/>
                  <a:gd name="connsiteY22" fmla="*/ 5910123 h 6128401"/>
                  <a:gd name="connsiteX23" fmla="*/ 1826975 w 4477595"/>
                  <a:gd name="connsiteY23" fmla="*/ 5881661 h 6128401"/>
                  <a:gd name="connsiteX24" fmla="*/ 1699568 w 4477595"/>
                  <a:gd name="connsiteY24" fmla="*/ 5881345 h 6128401"/>
                  <a:gd name="connsiteX25" fmla="*/ 1252464 w 4477595"/>
                  <a:gd name="connsiteY25" fmla="*/ 5306553 h 6128401"/>
                  <a:gd name="connsiteX26" fmla="*/ 1260702 w 4477595"/>
                  <a:gd name="connsiteY26" fmla="*/ 4439941 h 6128401"/>
                  <a:gd name="connsiteX27" fmla="*/ 1247395 w 4477595"/>
                  <a:gd name="connsiteY27" fmla="*/ 4251681 h 6128401"/>
                  <a:gd name="connsiteX28" fmla="*/ 1171654 w 4477595"/>
                  <a:gd name="connsiteY28" fmla="*/ 4207383 h 6128401"/>
                  <a:gd name="connsiteX29" fmla="*/ 0 w 4477595"/>
                  <a:gd name="connsiteY29" fmla="*/ 2238797 h 6128401"/>
                  <a:gd name="connsiteX30" fmla="*/ 2238797 w 4477595"/>
                  <a:gd name="connsiteY30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27594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539568 w 4477595"/>
                  <a:gd name="connsiteY5" fmla="*/ 4531711 h 6128401"/>
                  <a:gd name="connsiteX6" fmla="*/ 2860637 w 4477595"/>
                  <a:gd name="connsiteY6" fmla="*/ 4311091 h 6128401"/>
                  <a:gd name="connsiteX7" fmla="*/ 3109338 w 4477595"/>
                  <a:gd name="connsiteY7" fmla="*/ 3834987 h 6128401"/>
                  <a:gd name="connsiteX8" fmla="*/ 3110879 w 4477595"/>
                  <a:gd name="connsiteY8" fmla="*/ 3834037 h 6128401"/>
                  <a:gd name="connsiteX9" fmla="*/ 3181541 w 4477595"/>
                  <a:gd name="connsiteY9" fmla="*/ 3791109 h 6128401"/>
                  <a:gd name="connsiteX10" fmla="*/ 4056807 w 4477595"/>
                  <a:gd name="connsiteY10" fmla="*/ 2238797 h 6128401"/>
                  <a:gd name="connsiteX11" fmla="*/ 2238798 w 4477595"/>
                  <a:gd name="connsiteY11" fmla="*/ 420786 h 6128401"/>
                  <a:gd name="connsiteX12" fmla="*/ 2238797 w 4477595"/>
                  <a:gd name="connsiteY12" fmla="*/ 0 h 6128401"/>
                  <a:gd name="connsiteX13" fmla="*/ 4477595 w 4477595"/>
                  <a:gd name="connsiteY13" fmla="*/ 2238797 h 6128401"/>
                  <a:gd name="connsiteX14" fmla="*/ 3305941 w 4477595"/>
                  <a:gd name="connsiteY14" fmla="*/ 4207383 h 6128401"/>
                  <a:gd name="connsiteX15" fmla="*/ 3243251 w 4477595"/>
                  <a:gd name="connsiteY15" fmla="*/ 4439941 h 6128401"/>
                  <a:gd name="connsiteX16" fmla="*/ 3243251 w 4477595"/>
                  <a:gd name="connsiteY16" fmla="*/ 5318909 h 6128401"/>
                  <a:gd name="connsiteX17" fmla="*/ 2705531 w 4477595"/>
                  <a:gd name="connsiteY17" fmla="*/ 5880081 h 6128401"/>
                  <a:gd name="connsiteX18" fmla="*/ 2650833 w 4477595"/>
                  <a:gd name="connsiteY18" fmla="*/ 5880971 h 6128401"/>
                  <a:gd name="connsiteX19" fmla="*/ 2641784 w 4477595"/>
                  <a:gd name="connsiteY19" fmla="*/ 5910123 h 6128401"/>
                  <a:gd name="connsiteX20" fmla="*/ 2312476 w 4477595"/>
                  <a:gd name="connsiteY20" fmla="*/ 6128401 h 6128401"/>
                  <a:gd name="connsiteX21" fmla="*/ 2165118 w 4477595"/>
                  <a:gd name="connsiteY21" fmla="*/ 6128401 h 6128401"/>
                  <a:gd name="connsiteX22" fmla="*/ 1835810 w 4477595"/>
                  <a:gd name="connsiteY22" fmla="*/ 5910123 h 6128401"/>
                  <a:gd name="connsiteX23" fmla="*/ 1826975 w 4477595"/>
                  <a:gd name="connsiteY23" fmla="*/ 5881661 h 6128401"/>
                  <a:gd name="connsiteX24" fmla="*/ 1699568 w 4477595"/>
                  <a:gd name="connsiteY24" fmla="*/ 5881345 h 6128401"/>
                  <a:gd name="connsiteX25" fmla="*/ 1252464 w 4477595"/>
                  <a:gd name="connsiteY25" fmla="*/ 5306553 h 6128401"/>
                  <a:gd name="connsiteX26" fmla="*/ 1260702 w 4477595"/>
                  <a:gd name="connsiteY26" fmla="*/ 4439941 h 6128401"/>
                  <a:gd name="connsiteX27" fmla="*/ 1247395 w 4477595"/>
                  <a:gd name="connsiteY27" fmla="*/ 4251681 h 6128401"/>
                  <a:gd name="connsiteX28" fmla="*/ 1171654 w 4477595"/>
                  <a:gd name="connsiteY28" fmla="*/ 4207383 h 6128401"/>
                  <a:gd name="connsiteX29" fmla="*/ 0 w 4477595"/>
                  <a:gd name="connsiteY29" fmla="*/ 2238797 h 6128401"/>
                  <a:gd name="connsiteX30" fmla="*/ 2238797 w 4477595"/>
                  <a:gd name="connsiteY30" fmla="*/ 0 h 6128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4477595" h="6128401">
                    <a:moveTo>
                      <a:pt x="2238798" y="420786"/>
                    </a:moveTo>
                    <a:cubicBezTo>
                      <a:pt x="1234738" y="420786"/>
                      <a:pt x="420787" y="1234737"/>
                      <a:pt x="420787" y="2238797"/>
                    </a:cubicBezTo>
                    <a:cubicBezTo>
                      <a:pt x="423730" y="2352803"/>
                      <a:pt x="351911" y="3087911"/>
                      <a:pt x="1223247" y="3754007"/>
                    </a:cubicBezTo>
                    <a:cubicBezTo>
                      <a:pt x="1717667" y="4011636"/>
                      <a:pt x="1619902" y="4226675"/>
                      <a:pt x="1627594" y="4311091"/>
                    </a:cubicBezTo>
                    <a:cubicBezTo>
                      <a:pt x="1617757" y="4418123"/>
                      <a:pt x="1705319" y="4534189"/>
                      <a:pt x="1936940" y="4531711"/>
                    </a:cubicBezTo>
                    <a:lnTo>
                      <a:pt x="2539568" y="4531711"/>
                    </a:lnTo>
                    <a:cubicBezTo>
                      <a:pt x="2771189" y="4534189"/>
                      <a:pt x="2870474" y="4418123"/>
                      <a:pt x="2860637" y="4311091"/>
                    </a:cubicBezTo>
                    <a:cubicBezTo>
                      <a:pt x="2867368" y="4237227"/>
                      <a:pt x="2823275" y="4027453"/>
                      <a:pt x="3109338" y="3834987"/>
                    </a:cubicBezTo>
                    <a:lnTo>
                      <a:pt x="3110879" y="3834037"/>
                    </a:lnTo>
                    <a:lnTo>
                      <a:pt x="3181541" y="3791109"/>
                    </a:lnTo>
                    <a:cubicBezTo>
                      <a:pt x="3939122" y="3371438"/>
                      <a:pt x="4058350" y="2583705"/>
                      <a:pt x="4056807" y="2238797"/>
                    </a:cubicBezTo>
                    <a:cubicBezTo>
                      <a:pt x="4056807" y="1234737"/>
                      <a:pt x="3242858" y="420786"/>
                      <a:pt x="2238798" y="420786"/>
                    </a:cubicBezTo>
                    <a:close/>
                    <a:moveTo>
                      <a:pt x="2238797" y="0"/>
                    </a:moveTo>
                    <a:cubicBezTo>
                      <a:pt x="3475250" y="0"/>
                      <a:pt x="4477595" y="1002344"/>
                      <a:pt x="4477595" y="2238797"/>
                    </a:cubicBezTo>
                    <a:cubicBezTo>
                      <a:pt x="4477595" y="3088857"/>
                      <a:pt x="4003830" y="3828265"/>
                      <a:pt x="3305941" y="4207383"/>
                    </a:cubicBezTo>
                    <a:cubicBezTo>
                      <a:pt x="3307381" y="4222369"/>
                      <a:pt x="3228811" y="4212497"/>
                      <a:pt x="3243251" y="4439941"/>
                    </a:cubicBezTo>
                    <a:lnTo>
                      <a:pt x="3243251" y="5318909"/>
                    </a:lnTo>
                    <a:cubicBezTo>
                      <a:pt x="3259726" y="5591157"/>
                      <a:pt x="3093445" y="5886389"/>
                      <a:pt x="2705531" y="5880081"/>
                    </a:cubicBezTo>
                    <a:lnTo>
                      <a:pt x="2650833" y="5880971"/>
                    </a:lnTo>
                    <a:lnTo>
                      <a:pt x="2641784" y="5910123"/>
                    </a:lnTo>
                    <a:cubicBezTo>
                      <a:pt x="2587529" y="6038395"/>
                      <a:pt x="2460513" y="6128401"/>
                      <a:pt x="2312476" y="6128401"/>
                    </a:cubicBezTo>
                    <a:lnTo>
                      <a:pt x="2165118" y="6128401"/>
                    </a:lnTo>
                    <a:cubicBezTo>
                      <a:pt x="2017081" y="6128401"/>
                      <a:pt x="1890065" y="6038395"/>
                      <a:pt x="1835810" y="5910123"/>
                    </a:cubicBezTo>
                    <a:lnTo>
                      <a:pt x="1826975" y="5881661"/>
                    </a:lnTo>
                    <a:lnTo>
                      <a:pt x="1699568" y="5881345"/>
                    </a:lnTo>
                    <a:cubicBezTo>
                      <a:pt x="1373774" y="5889581"/>
                      <a:pt x="1241446" y="5564849"/>
                      <a:pt x="1252464" y="5306553"/>
                    </a:cubicBezTo>
                    <a:lnTo>
                      <a:pt x="1260702" y="4439941"/>
                    </a:lnTo>
                    <a:cubicBezTo>
                      <a:pt x="1260702" y="4367661"/>
                      <a:pt x="1281375" y="4321187"/>
                      <a:pt x="1247395" y="4251681"/>
                    </a:cubicBezTo>
                    <a:lnTo>
                      <a:pt x="1171654" y="4207383"/>
                    </a:lnTo>
                    <a:cubicBezTo>
                      <a:pt x="473764" y="3828265"/>
                      <a:pt x="0" y="3088857"/>
                      <a:pt x="0" y="2238797"/>
                    </a:cubicBezTo>
                    <a:cubicBezTo>
                      <a:pt x="0" y="1002344"/>
                      <a:pt x="1002344" y="0"/>
                      <a:pt x="2238797" y="0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519970">
                  <a:defRPr/>
                </a:pPr>
                <a:r>
                  <a:rPr lang="en-US" sz="1842" kern="0">
                    <a:solidFill>
                      <a:prstClr val="white"/>
                    </a:solidFill>
                    <a:latin typeface="Calibri"/>
                  </a:rPr>
                  <a:t>  </a:t>
                </a:r>
              </a:p>
            </p:txBody>
          </p:sp>
          <p:grpSp>
            <p:nvGrpSpPr>
              <p:cNvPr id="569" name="Group 206"/>
              <p:cNvGrpSpPr/>
              <p:nvPr/>
            </p:nvGrpSpPr>
            <p:grpSpPr>
              <a:xfrm>
                <a:off x="11961036" y="15547980"/>
                <a:ext cx="6135815" cy="3060371"/>
                <a:chOff x="11961036" y="15547980"/>
                <a:chExt cx="6135815" cy="3060371"/>
              </a:xfrm>
              <a:grpFill/>
            </p:grpSpPr>
            <p:sp>
              <p:nvSpPr>
                <p:cNvPr id="570" name="Rounded Rectangle 207"/>
                <p:cNvSpPr/>
                <p:nvPr/>
              </p:nvSpPr>
              <p:spPr>
                <a:xfrm rot="16200000" flipH="1">
                  <a:off x="12119095" y="16790050"/>
                  <a:ext cx="271696" cy="587813"/>
                </a:xfrm>
                <a:prstGeom prst="roundRect">
                  <a:avLst>
                    <a:gd name="adj" fmla="val 46875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519970">
                    <a:defRPr/>
                  </a:pPr>
                  <a:endParaRPr lang="en-US" sz="1842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571" name="Rounded Rectangle 208"/>
                <p:cNvSpPr/>
                <p:nvPr/>
              </p:nvSpPr>
              <p:spPr>
                <a:xfrm rot="17791932" flipH="1">
                  <a:off x="12487809" y="15407565"/>
                  <a:ext cx="271696" cy="587813"/>
                </a:xfrm>
                <a:prstGeom prst="roundRect">
                  <a:avLst>
                    <a:gd name="adj" fmla="val 46875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519970">
                    <a:defRPr/>
                  </a:pPr>
                  <a:endParaRPr lang="en-US" sz="1842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572" name="Rounded Rectangle 209"/>
                <p:cNvSpPr/>
                <p:nvPr/>
              </p:nvSpPr>
              <p:spPr>
                <a:xfrm rot="3328556" flipH="1">
                  <a:off x="17277054" y="15389921"/>
                  <a:ext cx="271696" cy="587813"/>
                </a:xfrm>
                <a:prstGeom prst="roundRect">
                  <a:avLst>
                    <a:gd name="adj" fmla="val 46875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519970">
                    <a:defRPr/>
                  </a:pPr>
                  <a:endParaRPr lang="en-US" sz="1842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573" name="Rounded Rectangle 210"/>
                <p:cNvSpPr/>
                <p:nvPr/>
              </p:nvSpPr>
              <p:spPr>
                <a:xfrm rot="5578962" flipH="1">
                  <a:off x="17667097" y="16790050"/>
                  <a:ext cx="271696" cy="587813"/>
                </a:xfrm>
                <a:prstGeom prst="roundRect">
                  <a:avLst>
                    <a:gd name="adj" fmla="val 46875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519970">
                    <a:defRPr/>
                  </a:pPr>
                  <a:endParaRPr lang="en-US" sz="1842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574" name="Rounded Rectangle 211"/>
                <p:cNvSpPr/>
                <p:nvPr/>
              </p:nvSpPr>
              <p:spPr>
                <a:xfrm rot="7381646" flipH="1">
                  <a:off x="17287055" y="18178596"/>
                  <a:ext cx="271696" cy="587813"/>
                </a:xfrm>
                <a:prstGeom prst="roundRect">
                  <a:avLst>
                    <a:gd name="adj" fmla="val 46875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519970">
                    <a:defRPr/>
                  </a:pPr>
                  <a:endParaRPr lang="en-US" sz="1842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575" name="Rounded Rectangle 212"/>
                <p:cNvSpPr/>
                <p:nvPr/>
              </p:nvSpPr>
              <p:spPr>
                <a:xfrm rot="14497153" flipH="1">
                  <a:off x="12487809" y="18178594"/>
                  <a:ext cx="271696" cy="587813"/>
                </a:xfrm>
                <a:prstGeom prst="roundRect">
                  <a:avLst>
                    <a:gd name="adj" fmla="val 46875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519970">
                    <a:defRPr/>
                  </a:pPr>
                  <a:endParaRPr lang="en-US" sz="1842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</p:grpSp>
        </p:grpSp>
      </p:grp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7CCF248-FA51-4868-B03B-20A875196B2F}"/>
              </a:ext>
            </a:extLst>
          </p:cNvPr>
          <p:cNvCxnSpPr>
            <a:cxnSpLocks/>
          </p:cNvCxnSpPr>
          <p:nvPr/>
        </p:nvCxnSpPr>
        <p:spPr>
          <a:xfrm>
            <a:off x="8663908" y="4501192"/>
            <a:ext cx="0" cy="1732391"/>
          </a:xfrm>
          <a:prstGeom prst="line">
            <a:avLst/>
          </a:prstGeom>
          <a:ln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4" name="Rectangle 373">
            <a:extLst>
              <a:ext uri="{FF2B5EF4-FFF2-40B4-BE49-F238E27FC236}">
                <a16:creationId xmlns:a16="http://schemas.microsoft.com/office/drawing/2014/main" id="{B6BB4AB2-435E-4F51-B8E8-501296A583F0}"/>
              </a:ext>
            </a:extLst>
          </p:cNvPr>
          <p:cNvSpPr/>
          <p:nvPr/>
        </p:nvSpPr>
        <p:spPr>
          <a:xfrm>
            <a:off x="8437882" y="6368192"/>
            <a:ext cx="463588" cy="2120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27"/>
            <a:r>
              <a:rPr lang="en-US" sz="778" i="1">
                <a:solidFill>
                  <a:prstClr val="white">
                    <a:lumMod val="50000"/>
                  </a:prstClr>
                </a:solidFill>
                <a:latin typeface="Arial"/>
                <a:cs typeface="Arial" panose="020B0604020202020204" pitchFamily="34" charset="0"/>
              </a:rPr>
              <a:t>Today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9A5CE73-02A9-434F-A10E-E693C9DCEE33}"/>
              </a:ext>
            </a:extLst>
          </p:cNvPr>
          <p:cNvGrpSpPr/>
          <p:nvPr/>
        </p:nvGrpSpPr>
        <p:grpSpPr>
          <a:xfrm>
            <a:off x="203515" y="1144822"/>
            <a:ext cx="3182519" cy="709656"/>
            <a:chOff x="139137" y="1030340"/>
            <a:chExt cx="2864267" cy="638690"/>
          </a:xfrm>
        </p:grpSpPr>
        <p:sp>
          <p:nvSpPr>
            <p:cNvPr id="23" name="Round Same Side Corner Rectangle 22"/>
            <p:cNvSpPr/>
            <p:nvPr/>
          </p:nvSpPr>
          <p:spPr>
            <a:xfrm>
              <a:off x="139137" y="1030340"/>
              <a:ext cx="2864267" cy="298244"/>
            </a:xfrm>
            <a:prstGeom prst="round2SameRect">
              <a:avLst/>
            </a:prstGeom>
            <a:gradFill flip="none" rotWithShape="1">
              <a:gsLst>
                <a:gs pos="0">
                  <a:schemeClr val="tx2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8900000" scaled="1"/>
              <a:tileRect/>
            </a:gradFill>
          </p:spPr>
          <p:txBody>
            <a:bodyPr wrap="square" lIns="121920" tIns="0" bIns="60960" anchor="ctr">
              <a:noAutofit/>
            </a:bodyPr>
            <a:lstStyle/>
            <a:p>
              <a:pPr algn="ctr" defTabSz="1058286"/>
              <a:r>
                <a:rPr lang="en-US" sz="1400" b="1">
                  <a:solidFill>
                    <a:prstClr val="white"/>
                  </a:solidFill>
                  <a:latin typeface="Arial"/>
                  <a:cs typeface="DIN Next LT Arabic"/>
                </a:rPr>
                <a:t>Project Manager</a:t>
              </a:r>
            </a:p>
          </p:txBody>
        </p:sp>
        <p:sp>
          <p:nvSpPr>
            <p:cNvPr id="381" name="Rectangle 380">
              <a:extLst>
                <a:ext uri="{FF2B5EF4-FFF2-40B4-BE49-F238E27FC236}">
                  <a16:creationId xmlns:a16="http://schemas.microsoft.com/office/drawing/2014/main" id="{7D779BF8-3B5C-4B82-98FC-7644DB10E2C1}"/>
                </a:ext>
              </a:extLst>
            </p:cNvPr>
            <p:cNvSpPr/>
            <p:nvPr/>
          </p:nvSpPr>
          <p:spPr>
            <a:xfrm>
              <a:off x="139137" y="1306150"/>
              <a:ext cx="2864267" cy="3628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algn="ctr"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92" name="Rectangle 391">
              <a:extLst>
                <a:ext uri="{FF2B5EF4-FFF2-40B4-BE49-F238E27FC236}">
                  <a16:creationId xmlns:a16="http://schemas.microsoft.com/office/drawing/2014/main" id="{80FC6DC5-4FE4-4476-ABEF-A97BB110834C}"/>
                </a:ext>
              </a:extLst>
            </p:cNvPr>
            <p:cNvSpPr/>
            <p:nvPr/>
          </p:nvSpPr>
          <p:spPr>
            <a:xfrm>
              <a:off x="169029" y="1367714"/>
              <a:ext cx="2712040" cy="25235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pt-BR" sz="1222" b="1" dirty="0"/>
                <a:t>Thomas Young</a:t>
              </a:r>
              <a:endParaRPr lang="en-US" sz="1222" b="1" dirty="0"/>
            </a:p>
          </p:txBody>
        </p:sp>
      </p:grpSp>
      <p:grpSp>
        <p:nvGrpSpPr>
          <p:cNvPr id="393" name="Group 392">
            <a:extLst>
              <a:ext uri="{FF2B5EF4-FFF2-40B4-BE49-F238E27FC236}">
                <a16:creationId xmlns:a16="http://schemas.microsoft.com/office/drawing/2014/main" id="{B8D3427F-F685-4F6F-AAFC-5B0EAD38E18B}"/>
              </a:ext>
            </a:extLst>
          </p:cNvPr>
          <p:cNvGrpSpPr/>
          <p:nvPr/>
        </p:nvGrpSpPr>
        <p:grpSpPr>
          <a:xfrm>
            <a:off x="3945521" y="1144821"/>
            <a:ext cx="3182519" cy="709655"/>
            <a:chOff x="139137" y="1030340"/>
            <a:chExt cx="2864267" cy="638690"/>
          </a:xfrm>
        </p:grpSpPr>
        <p:sp>
          <p:nvSpPr>
            <p:cNvPr id="394" name="Round Same Side Corner Rectangle 22">
              <a:extLst>
                <a:ext uri="{FF2B5EF4-FFF2-40B4-BE49-F238E27FC236}">
                  <a16:creationId xmlns:a16="http://schemas.microsoft.com/office/drawing/2014/main" id="{54AA7BCD-3F0B-48E2-A6C2-28238D50BAF6}"/>
                </a:ext>
              </a:extLst>
            </p:cNvPr>
            <p:cNvSpPr/>
            <p:nvPr/>
          </p:nvSpPr>
          <p:spPr>
            <a:xfrm>
              <a:off x="139137" y="1030340"/>
              <a:ext cx="2864267" cy="298244"/>
            </a:xfrm>
            <a:prstGeom prst="round2SameRect">
              <a:avLst/>
            </a:prstGeom>
            <a:gradFill flip="none" rotWithShape="1">
              <a:gsLst>
                <a:gs pos="0">
                  <a:schemeClr val="tx2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8900000" scaled="1"/>
              <a:tileRect/>
            </a:gradFill>
          </p:spPr>
          <p:txBody>
            <a:bodyPr wrap="square" lIns="121920" tIns="0" bIns="60960" anchor="ctr">
              <a:noAutofit/>
            </a:bodyPr>
            <a:lstStyle/>
            <a:p>
              <a:pPr algn="ctr" defTabSz="1058286"/>
              <a:r>
                <a:rPr lang="en-US" sz="1400" b="1">
                  <a:solidFill>
                    <a:prstClr val="white"/>
                  </a:solidFill>
                  <a:latin typeface="Arial"/>
                  <a:cs typeface="DIN Next LT Arabic"/>
                </a:rPr>
                <a:t>Sponsor</a:t>
              </a:r>
            </a:p>
          </p:txBody>
        </p:sp>
        <p:sp>
          <p:nvSpPr>
            <p:cNvPr id="395" name="Rectangle 394">
              <a:extLst>
                <a:ext uri="{FF2B5EF4-FFF2-40B4-BE49-F238E27FC236}">
                  <a16:creationId xmlns:a16="http://schemas.microsoft.com/office/drawing/2014/main" id="{4060BCD0-1A60-4A53-8D45-148EB7FFF52D}"/>
                </a:ext>
              </a:extLst>
            </p:cNvPr>
            <p:cNvSpPr/>
            <p:nvPr/>
          </p:nvSpPr>
          <p:spPr>
            <a:xfrm>
              <a:off x="139137" y="1306150"/>
              <a:ext cx="2864267" cy="3628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algn="ctr"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96" name="Rectangle 395">
              <a:extLst>
                <a:ext uri="{FF2B5EF4-FFF2-40B4-BE49-F238E27FC236}">
                  <a16:creationId xmlns:a16="http://schemas.microsoft.com/office/drawing/2014/main" id="{E83DC2C4-A45D-47D3-B1E0-3C1FF243D9B8}"/>
                </a:ext>
              </a:extLst>
            </p:cNvPr>
            <p:cNvSpPr/>
            <p:nvPr/>
          </p:nvSpPr>
          <p:spPr>
            <a:xfrm>
              <a:off x="169029" y="1367714"/>
              <a:ext cx="2712040" cy="25235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22" b="1" dirty="0" err="1"/>
                <a:t>Maz</a:t>
              </a:r>
              <a:r>
                <a:rPr lang="en-US" sz="1222" b="1" dirty="0"/>
                <a:t> Hussain</a:t>
              </a:r>
            </a:p>
          </p:txBody>
        </p:sp>
      </p:grpSp>
      <p:grpSp>
        <p:nvGrpSpPr>
          <p:cNvPr id="397" name="Group 396">
            <a:extLst>
              <a:ext uri="{FF2B5EF4-FFF2-40B4-BE49-F238E27FC236}">
                <a16:creationId xmlns:a16="http://schemas.microsoft.com/office/drawing/2014/main" id="{C733F652-2C64-42E0-9D60-E5666F31750A}"/>
              </a:ext>
            </a:extLst>
          </p:cNvPr>
          <p:cNvGrpSpPr/>
          <p:nvPr/>
        </p:nvGrpSpPr>
        <p:grpSpPr>
          <a:xfrm>
            <a:off x="9968164" y="2012376"/>
            <a:ext cx="1858458" cy="215793"/>
            <a:chOff x="2611840" y="2749253"/>
            <a:chExt cx="5845536" cy="225865"/>
          </a:xfrm>
        </p:grpSpPr>
        <p:sp>
          <p:nvSpPr>
            <p:cNvPr id="398" name="Rounded Rectangle 385">
              <a:extLst>
                <a:ext uri="{FF2B5EF4-FFF2-40B4-BE49-F238E27FC236}">
                  <a16:creationId xmlns:a16="http://schemas.microsoft.com/office/drawing/2014/main" id="{C441C946-799C-4E56-AC65-8B9DBF1F1832}"/>
                </a:ext>
              </a:extLst>
            </p:cNvPr>
            <p:cNvSpPr/>
            <p:nvPr/>
          </p:nvSpPr>
          <p:spPr>
            <a:xfrm>
              <a:off x="2611843" y="2749253"/>
              <a:ext cx="5845533" cy="225865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 w="10172">
              <a:noFill/>
            </a:ln>
          </p:spPr>
          <p:txBody>
            <a:bodyPr wrap="square" lIns="121920" tIns="121920" rIns="121920" bIns="121920" rtlCol="0" anchor="ctr"/>
            <a:lstStyle/>
            <a:p>
              <a:pPr defTabSz="1219176">
                <a:lnSpc>
                  <a:spcPts val="1467"/>
                </a:lnSpc>
              </a:pPr>
              <a:endParaRPr lang="en-US" sz="1333">
                <a:solidFill>
                  <a:srgbClr val="000000"/>
                </a:solidFill>
                <a:latin typeface="Arial"/>
                <a:ea typeface="Univers for KPMG Light" charset="0"/>
                <a:cs typeface="Univers for KPMG Light" charset="0"/>
              </a:endParaRPr>
            </a:p>
          </p:txBody>
        </p:sp>
        <p:sp>
          <p:nvSpPr>
            <p:cNvPr id="399" name="Rounded Rectangle 386">
              <a:extLst>
                <a:ext uri="{FF2B5EF4-FFF2-40B4-BE49-F238E27FC236}">
                  <a16:creationId xmlns:a16="http://schemas.microsoft.com/office/drawing/2014/main" id="{BCEC1C92-FB1E-4F9B-A257-B7DC4A28EC13}"/>
                </a:ext>
              </a:extLst>
            </p:cNvPr>
            <p:cNvSpPr/>
            <p:nvPr/>
          </p:nvSpPr>
          <p:spPr>
            <a:xfrm>
              <a:off x="2611840" y="2749254"/>
              <a:ext cx="5400567" cy="208034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tx2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8900000" scaled="1"/>
              <a:tileRect/>
            </a:gradFill>
          </p:spPr>
          <p:txBody>
            <a:bodyPr wrap="square" lIns="121920" tIns="0" bIns="60960" anchor="ctr">
              <a:noAutofit/>
            </a:bodyPr>
            <a:lstStyle/>
            <a:p>
              <a:pPr algn="ctr" defTabSz="1058286"/>
              <a:endParaRPr lang="en-US" sz="1400" b="1">
                <a:solidFill>
                  <a:prstClr val="white"/>
                </a:solidFill>
                <a:latin typeface="Arial"/>
                <a:cs typeface="DIN Next LT Arabic"/>
              </a:endParaRPr>
            </a:p>
          </p:txBody>
        </p:sp>
      </p:grp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7D55C1C-3F64-4129-B4C8-A12260C96ED9}"/>
              </a:ext>
            </a:extLst>
          </p:cNvPr>
          <p:cNvCxnSpPr/>
          <p:nvPr/>
        </p:nvCxnSpPr>
        <p:spPr>
          <a:xfrm>
            <a:off x="11809561" y="1956377"/>
            <a:ext cx="0" cy="316907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0" name="Rectangle 399">
            <a:extLst>
              <a:ext uri="{FF2B5EF4-FFF2-40B4-BE49-F238E27FC236}">
                <a16:creationId xmlns:a16="http://schemas.microsoft.com/office/drawing/2014/main" id="{223DE6C2-F6A2-4F77-9F17-16658C151A76}"/>
              </a:ext>
            </a:extLst>
          </p:cNvPr>
          <p:cNvSpPr/>
          <p:nvPr/>
        </p:nvSpPr>
        <p:spPr>
          <a:xfrm>
            <a:off x="11320777" y="1721242"/>
            <a:ext cx="865943" cy="2120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27"/>
            <a:r>
              <a:rPr lang="en-US" sz="778" i="1" dirty="0">
                <a:solidFill>
                  <a:prstClr val="white">
                    <a:lumMod val="50000"/>
                  </a:prstClr>
                </a:solidFill>
                <a:latin typeface="Arial"/>
                <a:cs typeface="Arial" panose="020B0604020202020204" pitchFamily="34" charset="0"/>
              </a:rPr>
              <a:t>Planned: 100%</a:t>
            </a:r>
          </a:p>
        </p:txBody>
      </p:sp>
      <p:sp>
        <p:nvSpPr>
          <p:cNvPr id="404" name="Rectangle 403">
            <a:extLst>
              <a:ext uri="{FF2B5EF4-FFF2-40B4-BE49-F238E27FC236}">
                <a16:creationId xmlns:a16="http://schemas.microsoft.com/office/drawing/2014/main" id="{2ADF1972-6919-42F3-88A4-E64A07BFF412}"/>
              </a:ext>
            </a:extLst>
          </p:cNvPr>
          <p:cNvSpPr/>
          <p:nvPr/>
        </p:nvSpPr>
        <p:spPr>
          <a:xfrm>
            <a:off x="11262284" y="2001938"/>
            <a:ext cx="385042" cy="2120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27"/>
            <a:r>
              <a:rPr lang="en-US" sz="778" b="1" i="1" dirty="0">
                <a:solidFill>
                  <a:schemeClr val="bg1"/>
                </a:solidFill>
                <a:latin typeface="Arial"/>
                <a:cs typeface="Arial" panose="020B0604020202020204" pitchFamily="34" charset="0"/>
              </a:rPr>
              <a:t>99%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75E5899-6A04-49E8-9A1E-069A4424B858}"/>
              </a:ext>
            </a:extLst>
          </p:cNvPr>
          <p:cNvGrpSpPr/>
          <p:nvPr/>
        </p:nvGrpSpPr>
        <p:grpSpPr>
          <a:xfrm>
            <a:off x="107603" y="2034817"/>
            <a:ext cx="7014957" cy="2070160"/>
            <a:chOff x="638591" y="1470488"/>
            <a:chExt cx="6313461" cy="1863144"/>
          </a:xfrm>
        </p:grpSpPr>
        <p:graphicFrame>
          <p:nvGraphicFramePr>
            <p:cNvPr id="407" name="Chart 406">
              <a:extLst>
                <a:ext uri="{FF2B5EF4-FFF2-40B4-BE49-F238E27FC236}">
                  <a16:creationId xmlns:a16="http://schemas.microsoft.com/office/drawing/2014/main" id="{2DC1ED9C-6857-4C83-B158-AA08BB5CCA5F}"/>
                </a:ext>
              </a:extLst>
            </p:cNvPr>
            <p:cNvGraphicFramePr/>
            <p:nvPr/>
          </p:nvGraphicFramePr>
          <p:xfrm>
            <a:off x="4160327" y="1470488"/>
            <a:ext cx="2791725" cy="178171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cxnSp>
          <p:nvCxnSpPr>
            <p:cNvPr id="411" name="Straight Connector 410">
              <a:extLst>
                <a:ext uri="{FF2B5EF4-FFF2-40B4-BE49-F238E27FC236}">
                  <a16:creationId xmlns:a16="http://schemas.microsoft.com/office/drawing/2014/main" id="{89A117CA-CFF6-412E-AE1E-90E1352BAE6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527496" y="1478297"/>
              <a:ext cx="2" cy="1828381"/>
            </a:xfrm>
            <a:prstGeom prst="line">
              <a:avLst/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aphicFrame>
          <p:nvGraphicFramePr>
            <p:cNvPr id="414" name="Chart 413">
              <a:extLst>
                <a:ext uri="{FF2B5EF4-FFF2-40B4-BE49-F238E27FC236}">
                  <a16:creationId xmlns:a16="http://schemas.microsoft.com/office/drawing/2014/main" id="{F77E409F-B826-410B-9FD0-844EEE807211}"/>
                </a:ext>
              </a:extLst>
            </p:cNvPr>
            <p:cNvGraphicFramePr/>
            <p:nvPr/>
          </p:nvGraphicFramePr>
          <p:xfrm>
            <a:off x="638591" y="1477877"/>
            <a:ext cx="3789628" cy="185575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</p:grpSp>
      <p:sp>
        <p:nvSpPr>
          <p:cNvPr id="124" name="TextBox 1">
            <a:extLst>
              <a:ext uri="{FF2B5EF4-FFF2-40B4-BE49-F238E27FC236}">
                <a16:creationId xmlns:a16="http://schemas.microsoft.com/office/drawing/2014/main" id="{F766D7E7-8D07-48A9-B3A1-72EA7DBEA621}"/>
              </a:ext>
            </a:extLst>
          </p:cNvPr>
          <p:cNvSpPr txBox="1"/>
          <p:nvPr/>
        </p:nvSpPr>
        <p:spPr>
          <a:xfrm>
            <a:off x="5381100" y="2969226"/>
            <a:ext cx="1780642" cy="1555561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 sz="1500">
                <a:solidFill>
                  <a:schemeClr val="tx2"/>
                </a:solidFill>
              </a:rPr>
              <a:t>N/A</a:t>
            </a:r>
          </a:p>
        </p:txBody>
      </p:sp>
    </p:spTree>
    <p:extLst>
      <p:ext uri="{BB962C8B-B14F-4D97-AF65-F5344CB8AC3E}">
        <p14:creationId xmlns:p14="http://schemas.microsoft.com/office/powerpoint/2010/main" val="97787493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2" name="think-cell Slide" r:id="rId5" imgW="293" imgH="274" progId="TCLayout.ActiveDocument.1">
                  <p:embed/>
                </p:oleObj>
              </mc:Choice>
              <mc:Fallback>
                <p:oleObj name="think-cell Slide" r:id="rId5" imgW="293" imgH="274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1" name="Title 5"/>
          <p:cNvSpPr txBox="1">
            <a:spLocks/>
          </p:cNvSpPr>
          <p:nvPr/>
        </p:nvSpPr>
        <p:spPr>
          <a:xfrm>
            <a:off x="0" y="-4772"/>
            <a:ext cx="12192000" cy="1081733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61427" y="266394"/>
            <a:ext cx="8154804" cy="416216"/>
          </a:xfrm>
          <a:noFill/>
        </p:spPr>
        <p:txBody>
          <a:bodyPr anchor="t"/>
          <a:lstStyle/>
          <a:p>
            <a:pPr algn="l"/>
            <a:r>
              <a:rPr lang="en-US" sz="4889">
                <a:solidFill>
                  <a:schemeClr val="bg1"/>
                </a:solidFill>
              </a:rPr>
              <a:t>Week Planned Activities</a:t>
            </a:r>
            <a:br>
              <a:rPr lang="en-US" sz="4889">
                <a:solidFill>
                  <a:schemeClr val="bg1"/>
                </a:solidFill>
              </a:rPr>
            </a:br>
            <a:endParaRPr lang="en-US" sz="4889">
              <a:solidFill>
                <a:schemeClr val="bg1"/>
              </a:solidFill>
            </a:endParaRPr>
          </a:p>
        </p:txBody>
      </p:sp>
      <p:sp>
        <p:nvSpPr>
          <p:cNvPr id="235" name="Title 5"/>
          <p:cNvSpPr txBox="1">
            <a:spLocks/>
          </p:cNvSpPr>
          <p:nvPr/>
        </p:nvSpPr>
        <p:spPr>
          <a:xfrm>
            <a:off x="3" y="-4772"/>
            <a:ext cx="60959" cy="1081733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graphicFrame>
        <p:nvGraphicFramePr>
          <p:cNvPr id="126" name="Table 17">
            <a:extLst>
              <a:ext uri="{FF2B5EF4-FFF2-40B4-BE49-F238E27FC236}">
                <a16:creationId xmlns:a16="http://schemas.microsoft.com/office/drawing/2014/main" id="{C61DB3E8-4094-4EC0-8DD8-41D5437FD1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0428062"/>
              </p:ext>
            </p:extLst>
          </p:nvPr>
        </p:nvGraphicFramePr>
        <p:xfrm>
          <a:off x="313762" y="1924079"/>
          <a:ext cx="4997101" cy="14868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33211">
                  <a:extLst>
                    <a:ext uri="{9D8B030D-6E8A-4147-A177-3AD203B41FA5}">
                      <a16:colId xmlns:a16="http://schemas.microsoft.com/office/drawing/2014/main" val="296437597"/>
                    </a:ext>
                  </a:extLst>
                </a:gridCol>
                <a:gridCol w="1563890">
                  <a:extLst>
                    <a:ext uri="{9D8B030D-6E8A-4147-A177-3AD203B41FA5}">
                      <a16:colId xmlns:a16="http://schemas.microsoft.com/office/drawing/2014/main" val="499901164"/>
                    </a:ext>
                  </a:extLst>
                </a:gridCol>
              </a:tblGrid>
              <a:tr h="486867">
                <a:tc>
                  <a:txBody>
                    <a:bodyPr/>
                    <a:lstStyle/>
                    <a:p>
                      <a:r>
                        <a:rPr lang="en-US" dirty="0"/>
                        <a:t>Action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Owner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3193029576"/>
                  </a:ext>
                </a:extLst>
              </a:tr>
              <a:tr h="1000010">
                <a:tc>
                  <a:txBody>
                    <a:bodyPr/>
                    <a:lstStyle/>
                    <a:p>
                      <a:r>
                        <a:rPr lang="en-US" sz="1800" dirty="0"/>
                        <a:t>No Planned activities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haikhah</a:t>
                      </a:r>
                      <a:endParaRPr lang="en-US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0684926"/>
                  </a:ext>
                </a:extLst>
              </a:tr>
            </a:tbl>
          </a:graphicData>
        </a:graphic>
      </p:graphicFrame>
      <p:graphicFrame>
        <p:nvGraphicFramePr>
          <p:cNvPr id="127" name="Table 17">
            <a:extLst>
              <a:ext uri="{FF2B5EF4-FFF2-40B4-BE49-F238E27FC236}">
                <a16:creationId xmlns:a16="http://schemas.microsoft.com/office/drawing/2014/main" id="{6BB49F05-B6D6-4A98-B667-DDCA133051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4366164"/>
              </p:ext>
            </p:extLst>
          </p:nvPr>
        </p:nvGraphicFramePr>
        <p:xfrm>
          <a:off x="6218549" y="1924079"/>
          <a:ext cx="5235018" cy="12590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46640">
                  <a:extLst>
                    <a:ext uri="{9D8B030D-6E8A-4147-A177-3AD203B41FA5}">
                      <a16:colId xmlns:a16="http://schemas.microsoft.com/office/drawing/2014/main" val="296437597"/>
                    </a:ext>
                  </a:extLst>
                </a:gridCol>
                <a:gridCol w="1288378">
                  <a:extLst>
                    <a:ext uri="{9D8B030D-6E8A-4147-A177-3AD203B41FA5}">
                      <a16:colId xmlns:a16="http://schemas.microsoft.com/office/drawing/2014/main" val="499901164"/>
                    </a:ext>
                  </a:extLst>
                </a:gridCol>
              </a:tblGrid>
              <a:tr h="516492">
                <a:tc>
                  <a:txBody>
                    <a:bodyPr/>
                    <a:lstStyle/>
                    <a:p>
                      <a:r>
                        <a:rPr lang="en-US"/>
                        <a:t>Action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Owner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3193029576"/>
                  </a:ext>
                </a:extLst>
              </a:tr>
              <a:tr h="742601">
                <a:tc>
                  <a:txBody>
                    <a:bodyPr/>
                    <a:lstStyle/>
                    <a:p>
                      <a:r>
                        <a:rPr lang="en-CA" sz="1800" dirty="0"/>
                        <a:t>No Planned activities</a:t>
                      </a:r>
                      <a:endParaRPr lang="en-US" sz="1800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Shaikhah</a:t>
                      </a:r>
                      <a:endParaRPr lang="en-US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0684926"/>
                  </a:ext>
                </a:extLst>
              </a:tr>
            </a:tbl>
          </a:graphicData>
        </a:graphic>
      </p:graphicFrame>
      <p:sp>
        <p:nvSpPr>
          <p:cNvPr id="128" name="TextBox 127">
            <a:extLst>
              <a:ext uri="{FF2B5EF4-FFF2-40B4-BE49-F238E27FC236}">
                <a16:creationId xmlns:a16="http://schemas.microsoft.com/office/drawing/2014/main" id="{EEF0C109-852E-4562-9C9E-36891A97C81F}"/>
              </a:ext>
            </a:extLst>
          </p:cNvPr>
          <p:cNvSpPr txBox="1"/>
          <p:nvPr/>
        </p:nvSpPr>
        <p:spPr>
          <a:xfrm>
            <a:off x="5692618" y="1289219"/>
            <a:ext cx="468983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2"/>
            <a:r>
              <a:rPr lang="en-US" b="1"/>
              <a:t>Next Week Activities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1588BF1D-E64C-495F-A40A-34195FDCFF69}"/>
              </a:ext>
            </a:extLst>
          </p:cNvPr>
          <p:cNvSpPr txBox="1"/>
          <p:nvPr/>
        </p:nvSpPr>
        <p:spPr>
          <a:xfrm>
            <a:off x="161427" y="1253098"/>
            <a:ext cx="468983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2"/>
            <a:r>
              <a:rPr lang="en-US" b="1"/>
              <a:t>Key Planned Activiti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D55E246-3967-490A-8950-4BC4222F8444}"/>
              </a:ext>
            </a:extLst>
          </p:cNvPr>
          <p:cNvGrpSpPr/>
          <p:nvPr/>
        </p:nvGrpSpPr>
        <p:grpSpPr>
          <a:xfrm>
            <a:off x="245905" y="1721690"/>
            <a:ext cx="11537600" cy="4324831"/>
            <a:chOff x="820940" y="1345294"/>
            <a:chExt cx="9714968" cy="4260578"/>
          </a:xfrm>
          <a:solidFill>
            <a:schemeClr val="accent1"/>
          </a:solidFill>
        </p:grpSpPr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15F18D54-B8EB-47C0-8A74-23B914C9439C}"/>
                </a:ext>
              </a:extLst>
            </p:cNvPr>
            <p:cNvCxnSpPr/>
            <p:nvPr/>
          </p:nvCxnSpPr>
          <p:spPr>
            <a:xfrm>
              <a:off x="820940" y="1348740"/>
              <a:ext cx="4389120" cy="0"/>
            </a:xfrm>
            <a:prstGeom prst="line">
              <a:avLst/>
            </a:prstGeom>
            <a:grpFill/>
            <a:ln w="19050">
              <a:solidFill>
                <a:schemeClr val="accent1"/>
              </a:solidFill>
              <a:round/>
              <a:headEnd/>
              <a:tailEnd/>
            </a:ln>
          </p:spPr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A1AA525-5A93-41C4-B85F-348B4C9410EF}"/>
                </a:ext>
              </a:extLst>
            </p:cNvPr>
            <p:cNvCxnSpPr/>
            <p:nvPr/>
          </p:nvCxnSpPr>
          <p:spPr>
            <a:xfrm>
              <a:off x="5488420" y="1345294"/>
              <a:ext cx="5047488" cy="0"/>
            </a:xfrm>
            <a:prstGeom prst="line">
              <a:avLst/>
            </a:prstGeom>
            <a:grpFill/>
            <a:ln w="19050">
              <a:solidFill>
                <a:schemeClr val="accent1"/>
              </a:solidFill>
              <a:round/>
              <a:headEnd/>
              <a:tailEnd/>
            </a:ln>
          </p:spPr>
        </p:cxnSp>
        <p:grpSp>
          <p:nvGrpSpPr>
            <p:cNvPr id="133" name="Group 132">
              <a:extLst>
                <a:ext uri="{FF2B5EF4-FFF2-40B4-BE49-F238E27FC236}">
                  <a16:creationId xmlns:a16="http://schemas.microsoft.com/office/drawing/2014/main" id="{A607214F-07F5-4EFE-B00E-52D7837A97F1}"/>
                </a:ext>
              </a:extLst>
            </p:cNvPr>
            <p:cNvGrpSpPr/>
            <p:nvPr/>
          </p:nvGrpSpPr>
          <p:grpSpPr>
            <a:xfrm>
              <a:off x="5357998" y="1407495"/>
              <a:ext cx="219842" cy="4198377"/>
              <a:chOff x="7792398" y="2498501"/>
              <a:chExt cx="148875" cy="2182369"/>
            </a:xfrm>
            <a:grpFill/>
          </p:grpSpPr>
          <p:sp>
            <p:nvSpPr>
              <p:cNvPr id="134" name="Rechteck 10">
                <a:extLst>
                  <a:ext uri="{FF2B5EF4-FFF2-40B4-BE49-F238E27FC236}">
                    <a16:creationId xmlns:a16="http://schemas.microsoft.com/office/drawing/2014/main" id="{C37C57D0-5A6A-4480-8822-C02E391FCA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6701213" y="3589686"/>
                <a:ext cx="2182369" cy="0"/>
              </a:xfrm>
              <a:custGeom>
                <a:avLst/>
                <a:gdLst>
                  <a:gd name="connsiteX0" fmla="*/ 0 w 8928000"/>
                  <a:gd name="connsiteY0" fmla="*/ 0 h 216000"/>
                  <a:gd name="connsiteX1" fmla="*/ 8928000 w 8928000"/>
                  <a:gd name="connsiteY1" fmla="*/ 0 h 216000"/>
                  <a:gd name="connsiteX2" fmla="*/ 8928000 w 8928000"/>
                  <a:gd name="connsiteY2" fmla="*/ 216000 h 216000"/>
                  <a:gd name="connsiteX3" fmla="*/ 0 w 8928000"/>
                  <a:gd name="connsiteY3" fmla="*/ 216000 h 216000"/>
                  <a:gd name="connsiteX4" fmla="*/ 0 w 8928000"/>
                  <a:gd name="connsiteY4" fmla="*/ 0 h 216000"/>
                  <a:gd name="connsiteX0" fmla="*/ 8928000 w 9019440"/>
                  <a:gd name="connsiteY0" fmla="*/ 0 h 216000"/>
                  <a:gd name="connsiteX1" fmla="*/ 8928000 w 9019440"/>
                  <a:gd name="connsiteY1" fmla="*/ 216000 h 216000"/>
                  <a:gd name="connsiteX2" fmla="*/ 0 w 9019440"/>
                  <a:gd name="connsiteY2" fmla="*/ 216000 h 216000"/>
                  <a:gd name="connsiteX3" fmla="*/ 0 w 9019440"/>
                  <a:gd name="connsiteY3" fmla="*/ 0 h 216000"/>
                  <a:gd name="connsiteX4" fmla="*/ 9019440 w 9019440"/>
                  <a:gd name="connsiteY4" fmla="*/ 91440 h 216000"/>
                  <a:gd name="connsiteX0" fmla="*/ 8928000 w 8928000"/>
                  <a:gd name="connsiteY0" fmla="*/ 0 h 216000"/>
                  <a:gd name="connsiteX1" fmla="*/ 8928000 w 8928000"/>
                  <a:gd name="connsiteY1" fmla="*/ 216000 h 216000"/>
                  <a:gd name="connsiteX2" fmla="*/ 0 w 8928000"/>
                  <a:gd name="connsiteY2" fmla="*/ 216000 h 216000"/>
                  <a:gd name="connsiteX3" fmla="*/ 0 w 8928000"/>
                  <a:gd name="connsiteY3" fmla="*/ 0 h 216000"/>
                  <a:gd name="connsiteX0" fmla="*/ 8928000 w 8928000"/>
                  <a:gd name="connsiteY0" fmla="*/ 216000 h 216000"/>
                  <a:gd name="connsiteX1" fmla="*/ 0 w 8928000"/>
                  <a:gd name="connsiteY1" fmla="*/ 216000 h 216000"/>
                  <a:gd name="connsiteX2" fmla="*/ 0 w 8928000"/>
                  <a:gd name="connsiteY2" fmla="*/ 0 h 216000"/>
                  <a:gd name="connsiteX0" fmla="*/ 8928000 w 8928000"/>
                  <a:gd name="connsiteY0" fmla="*/ 0 h 0"/>
                  <a:gd name="connsiteX1" fmla="*/ 0 w 8928000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928000">
                    <a:moveTo>
                      <a:pt x="8928000" y="0"/>
                    </a:moveTo>
                    <a:lnTo>
                      <a:pt x="0" y="0"/>
                    </a:lnTo>
                  </a:path>
                </a:pathLst>
              </a:custGeom>
              <a:grpFill/>
              <a:ln w="1905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lIns="0" tIns="0" rIns="0" bIns="34368" anchor="b" anchorCtr="0"/>
              <a:lstStyle/>
              <a:p>
                <a:pPr algn="ctr" defTabSz="872947">
                  <a:defRPr/>
                </a:pPr>
                <a:endParaRPr lang="en-US" sz="954" b="1" kern="0">
                  <a:solidFill>
                    <a:srgbClr val="00338D"/>
                  </a:solidFill>
                </a:endParaRPr>
              </a:p>
            </p:txBody>
          </p:sp>
          <p:sp>
            <p:nvSpPr>
              <p:cNvPr id="135" name="Gleichschenkliges Dreieck 18">
                <a:extLst>
                  <a:ext uri="{FF2B5EF4-FFF2-40B4-BE49-F238E27FC236}">
                    <a16:creationId xmlns:a16="http://schemas.microsoft.com/office/drawing/2014/main" id="{0400274D-634D-4EE3-9E59-41B9B9D02ADC}"/>
                  </a:ext>
                </a:extLst>
              </p:cNvPr>
              <p:cNvSpPr/>
              <p:nvPr/>
            </p:nvSpPr>
            <p:spPr>
              <a:xfrm rot="5400000">
                <a:off x="7584763" y="3509320"/>
                <a:ext cx="567530" cy="145491"/>
              </a:xfrm>
              <a:prstGeom prst="triangle">
                <a:avLst/>
              </a:prstGeom>
              <a:grpFill/>
              <a:ln w="12700" cap="flat" cmpd="sng" algn="ctr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1552" tIns="51552" rIns="51552" bIns="51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06221" indent="-206221" algn="ctr" defTabSz="872947">
                  <a:spcAft>
                    <a:spcPts val="572"/>
                  </a:spcAft>
                  <a:buFont typeface="Arial" panose="020B0604020202020204" pitchFamily="34" charset="0"/>
                  <a:buChar char="—"/>
                  <a:defRPr/>
                </a:pPr>
                <a:endParaRPr lang="en-US" sz="860" kern="0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741562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2">
            <a:extLst>
              <a:ext uri="{FF2B5EF4-FFF2-40B4-BE49-F238E27FC236}">
                <a16:creationId xmlns:a16="http://schemas.microsoft.com/office/drawing/2014/main" id="{ACBC149C-FC24-42A1-932D-C0478EDA3F52}"/>
              </a:ext>
            </a:extLst>
          </p:cNvPr>
          <p:cNvSpPr txBox="1">
            <a:spLocks/>
          </p:cNvSpPr>
          <p:nvPr/>
        </p:nvSpPr>
        <p:spPr>
          <a:xfrm>
            <a:off x="1829125" y="1357209"/>
            <a:ext cx="7053259" cy="290999"/>
          </a:xfrm>
          <a:prstGeom prst="rect">
            <a:avLst/>
          </a:prstGeom>
        </p:spPr>
        <p:txBody>
          <a:bodyPr/>
          <a:lstStyle>
            <a:lvl1pPr marL="0" algn="l" defTabSz="1973924" rtl="0" eaLnBrk="1" latinLnBrk="0" hangingPunct="1">
              <a:lnSpc>
                <a:spcPct val="75000"/>
              </a:lnSpc>
              <a:spcBef>
                <a:spcPct val="0"/>
              </a:spcBef>
              <a:spcAft>
                <a:spcPts val="600"/>
              </a:spcAft>
              <a:buNone/>
              <a:defRPr lang="en-GB" sz="4400" kern="1200" cap="none" spc="5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757">
              <a:solidFill>
                <a:schemeClr val="bg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DD45861-9E52-447B-8105-E93B6E1AE6E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9056" y="449944"/>
            <a:ext cx="7369629" cy="1045028"/>
          </a:xfrm>
        </p:spPr>
        <p:txBody>
          <a:bodyPr/>
          <a:lstStyle/>
          <a:p>
            <a:r>
              <a:rPr lang="en-US"/>
              <a:t>Table of Conten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BF1D62-99E3-4D4C-929D-C1533917AACC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0" y="1166813"/>
            <a:ext cx="7546975" cy="176212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7AB6AE2-C0F2-4F70-916B-C979CB8C625E}"/>
              </a:ext>
            </a:extLst>
          </p:cNvPr>
          <p:cNvGrpSpPr/>
          <p:nvPr/>
        </p:nvGrpSpPr>
        <p:grpSpPr>
          <a:xfrm>
            <a:off x="443584" y="1805465"/>
            <a:ext cx="10555342" cy="3885722"/>
            <a:chOff x="5109987" y="1922628"/>
            <a:chExt cx="3436814" cy="3611621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A051951C-5F7A-44BC-A839-F0123E1BE985}"/>
                </a:ext>
              </a:extLst>
            </p:cNvPr>
            <p:cNvGrpSpPr/>
            <p:nvPr/>
          </p:nvGrpSpPr>
          <p:grpSpPr>
            <a:xfrm>
              <a:off x="5109987" y="1922628"/>
              <a:ext cx="3411424" cy="3611621"/>
              <a:chOff x="1828083" y="1376277"/>
              <a:chExt cx="4224761" cy="4948324"/>
            </a:xfrm>
          </p:grpSpPr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1E36A4E8-1632-4526-A4A7-1B08AA544DAE}"/>
                  </a:ext>
                </a:extLst>
              </p:cNvPr>
              <p:cNvSpPr/>
              <p:nvPr/>
            </p:nvSpPr>
            <p:spPr>
              <a:xfrm>
                <a:off x="1828083" y="1376277"/>
                <a:ext cx="1383453" cy="4948324"/>
              </a:xfrm>
              <a:prstGeom prst="rect">
                <a:avLst/>
              </a:prstGeom>
              <a:solidFill>
                <a:schemeClr val="tx1">
                  <a:alpha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2796" tIns="112796" rIns="112796" bIns="112796" rtlCol="0" anchor="t" anchorCtr="0"/>
              <a:lstStyle/>
              <a:p>
                <a:pPr algn="ctr">
                  <a:spcAft>
                    <a:spcPts val="376"/>
                  </a:spcAft>
                </a:pPr>
                <a:endParaRPr lang="en-GB" sz="900">
                  <a:solidFill>
                    <a:schemeClr val="bg1"/>
                  </a:solidFill>
                </a:endParaRPr>
              </a:p>
            </p:txBody>
          </p:sp>
          <p:sp>
            <p:nvSpPr>
              <p:cNvPr id="81" name="Title 1">
                <a:extLst>
                  <a:ext uri="{FF2B5EF4-FFF2-40B4-BE49-F238E27FC236}">
                    <a16:creationId xmlns:a16="http://schemas.microsoft.com/office/drawing/2014/main" id="{A419A013-B101-4ACC-BFD7-3105829230F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073619" y="1840864"/>
                <a:ext cx="778612" cy="2204674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algn="l" defTabSz="1973924" rtl="0" eaLnBrk="1" latinLnBrk="0" hangingPunct="1">
                  <a:lnSpc>
                    <a:spcPct val="70000"/>
                  </a:lnSpc>
                  <a:spcBef>
                    <a:spcPct val="0"/>
                  </a:spcBef>
                  <a:buNone/>
                  <a:defRPr sz="6000" kern="1200">
                    <a:solidFill>
                      <a:schemeClr val="tx2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defTabSz="668079">
                  <a:lnSpc>
                    <a:spcPct val="75000"/>
                  </a:lnSpc>
                </a:pPr>
                <a:r>
                  <a:rPr lang="en-US" sz="15000">
                    <a:solidFill>
                      <a:schemeClr val="bg1"/>
                    </a:solidFill>
                    <a:latin typeface="KPMG Thin" panose="020B0203030202040204" pitchFamily="34" charset="0"/>
                    <a:ea typeface="+mn-ea"/>
                    <a:cs typeface="+mn-cs"/>
                  </a:rPr>
                  <a:t>1</a:t>
                </a:r>
              </a:p>
            </p:txBody>
          </p:sp>
          <p:sp>
            <p:nvSpPr>
              <p:cNvPr id="82" name="Title 1">
                <a:extLst>
                  <a:ext uri="{FF2B5EF4-FFF2-40B4-BE49-F238E27FC236}">
                    <a16:creationId xmlns:a16="http://schemas.microsoft.com/office/drawing/2014/main" id="{B9652B4D-DD00-4498-8056-945E9C0B4CC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934521" y="4064550"/>
                <a:ext cx="1153478" cy="806748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algn="l" defTabSz="1973924" rtl="0" eaLnBrk="1" latinLnBrk="0" hangingPunct="1">
                  <a:lnSpc>
                    <a:spcPct val="70000"/>
                  </a:lnSpc>
                  <a:spcBef>
                    <a:spcPct val="0"/>
                  </a:spcBef>
                  <a:buNone/>
                  <a:defRPr sz="6000" kern="1200">
                    <a:solidFill>
                      <a:schemeClr val="tx2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defTabSz="668079">
                  <a:lnSpc>
                    <a:spcPct val="100000"/>
                  </a:lnSpc>
                  <a:spcAft>
                    <a:spcPts val="1128"/>
                  </a:spcAft>
                </a:pPr>
                <a:r>
                  <a:rPr lang="en-US" sz="1800" b="1">
                    <a:solidFill>
                      <a:schemeClr val="bg1"/>
                    </a:solidFill>
                    <a:latin typeface="Univers 45 Light" pitchFamily="2" charset="0"/>
                    <a:ea typeface="+mn-ea"/>
                    <a:cs typeface="+mn-cs"/>
                  </a:rPr>
                  <a:t>Executive summary</a:t>
                </a:r>
                <a:endParaRPr lang="en-US" sz="1400" b="1">
                  <a:solidFill>
                    <a:schemeClr val="bg1"/>
                  </a:solidFill>
                  <a:latin typeface="Univers 45 Light" pitchFamily="2" charset="0"/>
                  <a:ea typeface="+mn-ea"/>
                  <a:cs typeface="+mn-cs"/>
                </a:endParaRPr>
              </a:p>
              <a:p>
                <a:pPr defTabSz="668079">
                  <a:lnSpc>
                    <a:spcPct val="100000"/>
                  </a:lnSpc>
                  <a:spcAft>
                    <a:spcPts val="1128"/>
                  </a:spcAft>
                </a:pPr>
                <a:endParaRPr lang="en-US" sz="1400" b="1">
                  <a:solidFill>
                    <a:schemeClr val="bg1"/>
                  </a:solidFill>
                  <a:latin typeface="Univers 45 Light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83" name="Rectangle 82">
                <a:extLst>
                  <a:ext uri="{FF2B5EF4-FFF2-40B4-BE49-F238E27FC236}">
                    <a16:creationId xmlns:a16="http://schemas.microsoft.com/office/drawing/2014/main" id="{4685F7B9-1B8E-4511-A318-C9B993B4D025}"/>
                  </a:ext>
                </a:extLst>
              </p:cNvPr>
              <p:cNvSpPr/>
              <p:nvPr/>
            </p:nvSpPr>
            <p:spPr>
              <a:xfrm>
                <a:off x="3248737" y="1376277"/>
                <a:ext cx="1383453" cy="4948324"/>
              </a:xfrm>
              <a:prstGeom prst="rect">
                <a:avLst/>
              </a:prstGeom>
              <a:solidFill>
                <a:schemeClr val="tx1">
                  <a:alpha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2796" tIns="112796" rIns="112796" bIns="112796" rtlCol="0" anchor="t" anchorCtr="0"/>
              <a:lstStyle/>
              <a:p>
                <a:pPr algn="ctr">
                  <a:spcAft>
                    <a:spcPts val="376"/>
                  </a:spcAft>
                </a:pPr>
                <a:endParaRPr lang="en-GB" sz="900">
                  <a:solidFill>
                    <a:schemeClr val="bg1"/>
                  </a:solidFill>
                </a:endParaRPr>
              </a:p>
            </p:txBody>
          </p:sp>
          <p:sp>
            <p:nvSpPr>
              <p:cNvPr id="84" name="Title 1">
                <a:extLst>
                  <a:ext uri="{FF2B5EF4-FFF2-40B4-BE49-F238E27FC236}">
                    <a16:creationId xmlns:a16="http://schemas.microsoft.com/office/drawing/2014/main" id="{7B1E9D31-2575-41E2-AA37-C5DBEA43D11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494273" y="1840864"/>
                <a:ext cx="778612" cy="2204674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algn="l" defTabSz="1973924" rtl="0" eaLnBrk="1" latinLnBrk="0" hangingPunct="1">
                  <a:lnSpc>
                    <a:spcPct val="70000"/>
                  </a:lnSpc>
                  <a:spcBef>
                    <a:spcPct val="0"/>
                  </a:spcBef>
                  <a:buNone/>
                  <a:defRPr sz="6000" kern="1200">
                    <a:solidFill>
                      <a:schemeClr val="tx2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defTabSz="668079">
                  <a:lnSpc>
                    <a:spcPct val="75000"/>
                  </a:lnSpc>
                </a:pPr>
                <a:r>
                  <a:rPr lang="en-US" sz="15000">
                    <a:solidFill>
                      <a:schemeClr val="bg1"/>
                    </a:solidFill>
                    <a:latin typeface="KPMG Thin" panose="020B0203030202040204" pitchFamily="34" charset="0"/>
                    <a:ea typeface="+mn-ea"/>
                    <a:cs typeface="+mn-cs"/>
                  </a:rPr>
                  <a:t>2</a:t>
                </a:r>
              </a:p>
            </p:txBody>
          </p:sp>
          <p:sp>
            <p:nvSpPr>
              <p:cNvPr id="85" name="Title 1">
                <a:extLst>
                  <a:ext uri="{FF2B5EF4-FFF2-40B4-BE49-F238E27FC236}">
                    <a16:creationId xmlns:a16="http://schemas.microsoft.com/office/drawing/2014/main" id="{118B6E5A-06CA-4C9D-A579-8F107C7E44C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355173" y="4064550"/>
                <a:ext cx="1267509" cy="1691884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algn="l" defTabSz="1973924" rtl="0" eaLnBrk="1" latinLnBrk="0" hangingPunct="1">
                  <a:lnSpc>
                    <a:spcPct val="70000"/>
                  </a:lnSpc>
                  <a:spcBef>
                    <a:spcPct val="0"/>
                  </a:spcBef>
                  <a:buNone/>
                  <a:defRPr sz="6000" kern="1200">
                    <a:solidFill>
                      <a:schemeClr val="tx2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defTabSz="668079">
                  <a:lnSpc>
                    <a:spcPct val="100000"/>
                  </a:lnSpc>
                  <a:spcAft>
                    <a:spcPts val="1128"/>
                  </a:spcAft>
                </a:pPr>
                <a:r>
                  <a:rPr lang="en-US" sz="1800" b="1">
                    <a:solidFill>
                      <a:schemeClr val="bg1"/>
                    </a:solidFill>
                    <a:latin typeface="Univers 45 Light" pitchFamily="2" charset="0"/>
                    <a:ea typeface="+mn-ea"/>
                    <a:cs typeface="+mn-cs"/>
                  </a:rPr>
                  <a:t>Projects Health Overview</a:t>
                </a:r>
              </a:p>
              <a:p>
                <a:pPr defTabSz="668079">
                  <a:lnSpc>
                    <a:spcPct val="100000"/>
                  </a:lnSpc>
                  <a:spcAft>
                    <a:spcPts val="1128"/>
                  </a:spcAft>
                </a:pPr>
                <a:endParaRPr lang="en-US" sz="1800" b="1">
                  <a:solidFill>
                    <a:schemeClr val="bg1"/>
                  </a:solidFill>
                  <a:latin typeface="Univers 45 Light" pitchFamily="2" charset="0"/>
                  <a:ea typeface="+mn-ea"/>
                  <a:cs typeface="+mn-cs"/>
                </a:endParaRPr>
              </a:p>
              <a:p>
                <a:pPr defTabSz="668079">
                  <a:lnSpc>
                    <a:spcPct val="100000"/>
                  </a:lnSpc>
                  <a:spcAft>
                    <a:spcPts val="1128"/>
                  </a:spcAft>
                </a:pPr>
                <a:endParaRPr lang="en-US" sz="1400" b="1">
                  <a:solidFill>
                    <a:schemeClr val="bg1"/>
                  </a:solidFill>
                  <a:latin typeface="Univers 45 Light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692F7C67-5AF8-48F1-80F3-3939F8745A9D}"/>
                  </a:ext>
                </a:extLst>
              </p:cNvPr>
              <p:cNvSpPr/>
              <p:nvPr/>
            </p:nvSpPr>
            <p:spPr>
              <a:xfrm>
                <a:off x="4669391" y="1376277"/>
                <a:ext cx="1383453" cy="4948324"/>
              </a:xfrm>
              <a:prstGeom prst="rect">
                <a:avLst/>
              </a:prstGeom>
              <a:solidFill>
                <a:schemeClr val="tx1">
                  <a:alpha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2796" tIns="112796" rIns="112796" bIns="112796" rtlCol="0" anchor="t" anchorCtr="0"/>
              <a:lstStyle/>
              <a:p>
                <a:pPr algn="ctr">
                  <a:spcAft>
                    <a:spcPts val="376"/>
                  </a:spcAft>
                </a:pPr>
                <a:endParaRPr lang="en-GB" sz="900">
                  <a:solidFill>
                    <a:schemeClr val="bg1"/>
                  </a:solidFill>
                </a:endParaRPr>
              </a:p>
            </p:txBody>
          </p:sp>
          <p:sp>
            <p:nvSpPr>
              <p:cNvPr id="87" name="Title 1">
                <a:extLst>
                  <a:ext uri="{FF2B5EF4-FFF2-40B4-BE49-F238E27FC236}">
                    <a16:creationId xmlns:a16="http://schemas.microsoft.com/office/drawing/2014/main" id="{F16BB81F-8C4A-4079-AA72-820FD6676C5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914927" y="1840864"/>
                <a:ext cx="778612" cy="2204674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algn="l" defTabSz="1973924" rtl="0" eaLnBrk="1" latinLnBrk="0" hangingPunct="1">
                  <a:lnSpc>
                    <a:spcPct val="70000"/>
                  </a:lnSpc>
                  <a:spcBef>
                    <a:spcPct val="0"/>
                  </a:spcBef>
                  <a:buNone/>
                  <a:defRPr sz="6000" kern="1200">
                    <a:solidFill>
                      <a:schemeClr val="tx2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defTabSz="668079">
                  <a:lnSpc>
                    <a:spcPct val="75000"/>
                  </a:lnSpc>
                </a:pPr>
                <a:r>
                  <a:rPr lang="en-US" sz="15000">
                    <a:solidFill>
                      <a:schemeClr val="bg1"/>
                    </a:solidFill>
                    <a:latin typeface="KPMG Thin" panose="020B0203030202040204" pitchFamily="34" charset="0"/>
                    <a:ea typeface="+mn-ea"/>
                    <a:cs typeface="+mn-cs"/>
                  </a:rPr>
                  <a:t>3</a:t>
                </a:r>
              </a:p>
            </p:txBody>
          </p:sp>
          <p:sp>
            <p:nvSpPr>
              <p:cNvPr id="95" name="Title 1">
                <a:extLst>
                  <a:ext uri="{FF2B5EF4-FFF2-40B4-BE49-F238E27FC236}">
                    <a16:creationId xmlns:a16="http://schemas.microsoft.com/office/drawing/2014/main" id="{02A27B08-96A6-4907-B234-672531C999B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770071" y="4070921"/>
                <a:ext cx="1153478" cy="1714746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algn="l" defTabSz="1973924" rtl="0" eaLnBrk="1" latinLnBrk="0" hangingPunct="1">
                  <a:lnSpc>
                    <a:spcPct val="70000"/>
                  </a:lnSpc>
                  <a:spcBef>
                    <a:spcPct val="0"/>
                  </a:spcBef>
                  <a:buNone/>
                  <a:defRPr sz="6000" kern="1200">
                    <a:solidFill>
                      <a:schemeClr val="tx2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defTabSz="668079">
                  <a:lnSpc>
                    <a:spcPct val="100000"/>
                  </a:lnSpc>
                  <a:spcAft>
                    <a:spcPts val="1128"/>
                  </a:spcAft>
                </a:pPr>
                <a:r>
                  <a:rPr lang="en-US" sz="1800" b="1">
                    <a:solidFill>
                      <a:schemeClr val="bg1"/>
                    </a:solidFill>
                    <a:latin typeface="Univers 45 Light" pitchFamily="2" charset="0"/>
                    <a:ea typeface="+mn-ea"/>
                    <a:cs typeface="+mn-cs"/>
                  </a:rPr>
                  <a:t>Resource Planning</a:t>
                </a:r>
              </a:p>
              <a:p>
                <a:pPr defTabSz="668079">
                  <a:lnSpc>
                    <a:spcPct val="100000"/>
                  </a:lnSpc>
                  <a:spcAft>
                    <a:spcPts val="1128"/>
                  </a:spcAft>
                </a:pPr>
                <a:endParaRPr lang="en-US" sz="1400" b="1">
                  <a:solidFill>
                    <a:schemeClr val="bg1"/>
                  </a:solidFill>
                  <a:latin typeface="Univers 45 Light" pitchFamily="2" charset="0"/>
                  <a:ea typeface="+mn-ea"/>
                  <a:cs typeface="+mn-cs"/>
                </a:endParaRPr>
              </a:p>
              <a:p>
                <a:pPr defTabSz="668079">
                  <a:lnSpc>
                    <a:spcPct val="100000"/>
                  </a:lnSpc>
                  <a:spcAft>
                    <a:spcPts val="1128"/>
                  </a:spcAft>
                </a:pPr>
                <a:endParaRPr lang="en-US" sz="1400" b="1">
                  <a:solidFill>
                    <a:schemeClr val="bg1"/>
                  </a:solidFill>
                  <a:latin typeface="Univers 45 Light" pitchFamily="2" charset="0"/>
                  <a:ea typeface="+mn-ea"/>
                  <a:cs typeface="+mn-cs"/>
                </a:endParaRPr>
              </a:p>
              <a:p>
                <a:pPr defTabSz="668079">
                  <a:lnSpc>
                    <a:spcPct val="100000"/>
                  </a:lnSpc>
                  <a:spcAft>
                    <a:spcPts val="1128"/>
                  </a:spcAft>
                </a:pPr>
                <a:endParaRPr lang="en-US" sz="1400" b="1">
                  <a:solidFill>
                    <a:schemeClr val="bg1"/>
                  </a:solidFill>
                  <a:latin typeface="Univers 45 Light" pitchFamily="2" charset="0"/>
                  <a:ea typeface="+mn-ea"/>
                  <a:cs typeface="+mn-cs"/>
                </a:endParaRPr>
              </a:p>
            </p:txBody>
          </p:sp>
        </p:grp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5849B929-1C78-4129-B805-7CC5077A4755}"/>
                </a:ext>
              </a:extLst>
            </p:cNvPr>
            <p:cNvSpPr txBox="1"/>
            <p:nvPr/>
          </p:nvSpPr>
          <p:spPr>
            <a:xfrm>
              <a:off x="5129877" y="4523989"/>
              <a:ext cx="1108807" cy="60073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668079">
                <a:spcAft>
                  <a:spcPts val="1128"/>
                </a:spcAft>
              </a:pPr>
              <a:r>
                <a:rPr lang="en-US" sz="1200" i="1">
                  <a:solidFill>
                    <a:schemeClr val="bg1"/>
                  </a:solidFill>
                  <a:latin typeface="Univers 45 Light" pitchFamily="2" charset="0"/>
                </a:rPr>
                <a:t>Summarize the key status indicators for the projects as a whole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9DB74F6A-58ED-4D3C-90C1-DA9450147A0C}"/>
                </a:ext>
              </a:extLst>
            </p:cNvPr>
            <p:cNvSpPr txBox="1"/>
            <p:nvPr/>
          </p:nvSpPr>
          <p:spPr>
            <a:xfrm>
              <a:off x="6320725" y="4533572"/>
              <a:ext cx="1109438" cy="4290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668079">
                <a:spcAft>
                  <a:spcPts val="1128"/>
                </a:spcAft>
              </a:pPr>
              <a:r>
                <a:rPr lang="en-US" sz="1200" i="1">
                  <a:solidFill>
                    <a:schemeClr val="bg1"/>
                  </a:solidFill>
                  <a:latin typeface="Univers 45 Light" pitchFamily="2" charset="0"/>
                </a:rPr>
                <a:t>Provides information on the current status for each project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240D9B4F-3940-472D-8034-CA28E809B9CC}"/>
                </a:ext>
              </a:extLst>
            </p:cNvPr>
            <p:cNvSpPr txBox="1"/>
            <p:nvPr/>
          </p:nvSpPr>
          <p:spPr>
            <a:xfrm>
              <a:off x="7485593" y="4571372"/>
              <a:ext cx="1061208" cy="4290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668079">
                <a:spcAft>
                  <a:spcPts val="1128"/>
                </a:spcAft>
              </a:pPr>
              <a:r>
                <a:rPr lang="en-US" sz="1200" i="1">
                  <a:solidFill>
                    <a:schemeClr val="bg1"/>
                  </a:solidFill>
                  <a:latin typeface="Univers 45 Light" pitchFamily="2" charset="0"/>
                </a:rPr>
                <a:t>Distribute the team among of the projects</a:t>
              </a: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F21A3F65-C4FE-4954-950D-47CE6AC71B22}"/>
              </a:ext>
            </a:extLst>
          </p:cNvPr>
          <p:cNvSpPr txBox="1"/>
          <p:nvPr/>
        </p:nvSpPr>
        <p:spPr>
          <a:xfrm>
            <a:off x="439738" y="1047169"/>
            <a:ext cx="522083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68079">
              <a:spcAft>
                <a:spcPts val="1128"/>
              </a:spcAft>
            </a:pPr>
            <a:r>
              <a:rPr lang="en-US" sz="1200" b="1">
                <a:solidFill>
                  <a:schemeClr val="bg1"/>
                </a:solidFill>
                <a:latin typeface="Univers 45 Light" pitchFamily="2" charset="0"/>
              </a:rPr>
              <a:t>This PMO Health check is divided into 3 sections:</a:t>
            </a:r>
          </a:p>
        </p:txBody>
      </p:sp>
    </p:spTree>
    <p:extLst>
      <p:ext uri="{BB962C8B-B14F-4D97-AF65-F5344CB8AC3E}">
        <p14:creationId xmlns:p14="http://schemas.microsoft.com/office/powerpoint/2010/main" val="195593013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6" name="think-cell Slide" r:id="rId5" imgW="293" imgH="274" progId="TCLayout.ActiveDocument.1">
                  <p:embed/>
                </p:oleObj>
              </mc:Choice>
              <mc:Fallback>
                <p:oleObj name="think-cell Slide" r:id="rId5" imgW="293" imgH="274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1" name="Title 5"/>
          <p:cNvSpPr txBox="1">
            <a:spLocks/>
          </p:cNvSpPr>
          <p:nvPr/>
        </p:nvSpPr>
        <p:spPr>
          <a:xfrm>
            <a:off x="0" y="-4772"/>
            <a:ext cx="12192000" cy="1081733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61427" y="266394"/>
            <a:ext cx="8154804" cy="416216"/>
          </a:xfrm>
          <a:noFill/>
        </p:spPr>
        <p:txBody>
          <a:bodyPr anchor="t"/>
          <a:lstStyle/>
          <a:p>
            <a:pPr algn="l"/>
            <a:r>
              <a:rPr lang="en-US" sz="4889">
                <a:solidFill>
                  <a:schemeClr val="bg1"/>
                </a:solidFill>
              </a:rPr>
              <a:t>Key Accomplishments</a:t>
            </a:r>
            <a:br>
              <a:rPr lang="en-US" sz="4889">
                <a:solidFill>
                  <a:schemeClr val="bg1"/>
                </a:solidFill>
              </a:rPr>
            </a:br>
            <a:endParaRPr lang="en-US" sz="4889">
              <a:solidFill>
                <a:schemeClr val="bg1"/>
              </a:solidFill>
            </a:endParaRPr>
          </a:p>
        </p:txBody>
      </p:sp>
      <p:sp>
        <p:nvSpPr>
          <p:cNvPr id="235" name="Title 5"/>
          <p:cNvSpPr txBox="1">
            <a:spLocks/>
          </p:cNvSpPr>
          <p:nvPr/>
        </p:nvSpPr>
        <p:spPr>
          <a:xfrm>
            <a:off x="3" y="-4772"/>
            <a:ext cx="60959" cy="1081733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graphicFrame>
        <p:nvGraphicFramePr>
          <p:cNvPr id="17" name="Table 17">
            <a:extLst>
              <a:ext uri="{FF2B5EF4-FFF2-40B4-BE49-F238E27FC236}">
                <a16:creationId xmlns:a16="http://schemas.microsoft.com/office/drawing/2014/main" id="{99161DF2-A3DF-4C2F-8B40-ABC6AA2DC8FE}"/>
              </a:ext>
            </a:extLst>
          </p:cNvPr>
          <p:cNvGraphicFramePr>
            <a:graphicFrameLocks noGrp="1"/>
          </p:cNvGraphicFramePr>
          <p:nvPr/>
        </p:nvGraphicFramePr>
        <p:xfrm>
          <a:off x="203200" y="1289078"/>
          <a:ext cx="11493500" cy="12304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1700">
                  <a:extLst>
                    <a:ext uri="{9D8B030D-6E8A-4147-A177-3AD203B41FA5}">
                      <a16:colId xmlns:a16="http://schemas.microsoft.com/office/drawing/2014/main" val="296437597"/>
                    </a:ext>
                  </a:extLst>
                </a:gridCol>
                <a:gridCol w="10591800">
                  <a:extLst>
                    <a:ext uri="{9D8B030D-6E8A-4147-A177-3AD203B41FA5}">
                      <a16:colId xmlns:a16="http://schemas.microsoft.com/office/drawing/2014/main" val="499901164"/>
                    </a:ext>
                  </a:extLst>
                </a:gridCol>
              </a:tblGrid>
              <a:tr h="407485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#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AU"/>
                        <a:t>Accomplishment Description </a:t>
                      </a:r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3193029576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algn="ctr"/>
                      <a:r>
                        <a:rPr lang="en-US" sz="1800" b="1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/>
                        <a:t>Dashboard model documentation</a:t>
                      </a:r>
                      <a:endParaRPr lang="en-US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06849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2344165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0" name="think-cell Slide" r:id="rId5" imgW="293" imgH="274" progId="TCLayout.ActiveDocument.1">
                  <p:embed/>
                </p:oleObj>
              </mc:Choice>
              <mc:Fallback>
                <p:oleObj name="think-cell Slide" r:id="rId5" imgW="293" imgH="274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1" name="Title 5"/>
          <p:cNvSpPr txBox="1">
            <a:spLocks/>
          </p:cNvSpPr>
          <p:nvPr/>
        </p:nvSpPr>
        <p:spPr>
          <a:xfrm>
            <a:off x="0" y="-4772"/>
            <a:ext cx="12192000" cy="1081733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61427" y="266394"/>
            <a:ext cx="8154804" cy="416216"/>
          </a:xfrm>
          <a:noFill/>
        </p:spPr>
        <p:txBody>
          <a:bodyPr anchor="t"/>
          <a:lstStyle/>
          <a:p>
            <a:pPr algn="l"/>
            <a:r>
              <a:rPr lang="en-US" sz="4889" dirty="0">
                <a:solidFill>
                  <a:schemeClr val="bg1"/>
                </a:solidFill>
              </a:rPr>
              <a:t>Risks or Issues</a:t>
            </a:r>
          </a:p>
        </p:txBody>
      </p:sp>
      <p:sp>
        <p:nvSpPr>
          <p:cNvPr id="235" name="Title 5"/>
          <p:cNvSpPr txBox="1">
            <a:spLocks/>
          </p:cNvSpPr>
          <p:nvPr/>
        </p:nvSpPr>
        <p:spPr>
          <a:xfrm>
            <a:off x="3" y="-4772"/>
            <a:ext cx="60959" cy="1081733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graphicFrame>
        <p:nvGraphicFramePr>
          <p:cNvPr id="8" name="Table 2">
            <a:extLst>
              <a:ext uri="{FF2B5EF4-FFF2-40B4-BE49-F238E27FC236}">
                <a16:creationId xmlns:a16="http://schemas.microsoft.com/office/drawing/2014/main" id="{2793979A-DDCD-48F1-AB14-6021A109B3C2}"/>
              </a:ext>
            </a:extLst>
          </p:cNvPr>
          <p:cNvGraphicFramePr>
            <a:graphicFrameLocks noGrp="1"/>
          </p:cNvGraphicFramePr>
          <p:nvPr/>
        </p:nvGraphicFramePr>
        <p:xfrm>
          <a:off x="161427" y="1348127"/>
          <a:ext cx="11420974" cy="10758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7549">
                  <a:extLst>
                    <a:ext uri="{9D8B030D-6E8A-4147-A177-3AD203B41FA5}">
                      <a16:colId xmlns:a16="http://schemas.microsoft.com/office/drawing/2014/main" val="1196179294"/>
                    </a:ext>
                  </a:extLst>
                </a:gridCol>
                <a:gridCol w="4453960">
                  <a:extLst>
                    <a:ext uri="{9D8B030D-6E8A-4147-A177-3AD203B41FA5}">
                      <a16:colId xmlns:a16="http://schemas.microsoft.com/office/drawing/2014/main" val="2144674027"/>
                    </a:ext>
                  </a:extLst>
                </a:gridCol>
                <a:gridCol w="1861075">
                  <a:extLst>
                    <a:ext uri="{9D8B030D-6E8A-4147-A177-3AD203B41FA5}">
                      <a16:colId xmlns:a16="http://schemas.microsoft.com/office/drawing/2014/main" val="3809724858"/>
                    </a:ext>
                  </a:extLst>
                </a:gridCol>
                <a:gridCol w="2284195">
                  <a:extLst>
                    <a:ext uri="{9D8B030D-6E8A-4147-A177-3AD203B41FA5}">
                      <a16:colId xmlns:a16="http://schemas.microsoft.com/office/drawing/2014/main" val="2590904650"/>
                    </a:ext>
                  </a:extLst>
                </a:gridCol>
                <a:gridCol w="2284195">
                  <a:extLst>
                    <a:ext uri="{9D8B030D-6E8A-4147-A177-3AD203B41FA5}">
                      <a16:colId xmlns:a16="http://schemas.microsoft.com/office/drawing/2014/main" val="1885760172"/>
                    </a:ext>
                  </a:extLst>
                </a:gridCol>
              </a:tblGrid>
              <a:tr h="537922">
                <a:tc>
                  <a:txBody>
                    <a:bodyPr/>
                    <a:lstStyle/>
                    <a:p>
                      <a:r>
                        <a:rPr lang="en-US"/>
                        <a:t>#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Risk or Issue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Priority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Plan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Owner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2666802610"/>
                  </a:ext>
                </a:extLst>
              </a:tr>
              <a:tr h="537922">
                <a:tc>
                  <a:txBody>
                    <a:bodyPr/>
                    <a:lstStyle/>
                    <a:p>
                      <a:r>
                        <a:rPr lang="en-US"/>
                        <a:t>1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No risks or issues identified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013859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4875587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4" name="think-cell Slide" r:id="rId5" imgW="293" imgH="274" progId="TCLayout.ActiveDocument.1">
                  <p:embed/>
                </p:oleObj>
              </mc:Choice>
              <mc:Fallback>
                <p:oleObj name="think-cell Slide" r:id="rId5" imgW="293" imgH="274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1" name="Title 5"/>
          <p:cNvSpPr txBox="1">
            <a:spLocks/>
          </p:cNvSpPr>
          <p:nvPr/>
        </p:nvSpPr>
        <p:spPr>
          <a:xfrm>
            <a:off x="0" y="-4772"/>
            <a:ext cx="12192000" cy="1081733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61427" y="266394"/>
            <a:ext cx="8154804" cy="416216"/>
          </a:xfrm>
          <a:noFill/>
        </p:spPr>
        <p:txBody>
          <a:bodyPr anchor="t"/>
          <a:lstStyle/>
          <a:p>
            <a:pPr algn="l"/>
            <a:r>
              <a:rPr lang="en-US" sz="4889">
                <a:solidFill>
                  <a:schemeClr val="bg1"/>
                </a:solidFill>
              </a:rPr>
              <a:t>Key Accomplishments</a:t>
            </a:r>
            <a:br>
              <a:rPr lang="en-US" sz="4889">
                <a:solidFill>
                  <a:schemeClr val="bg1"/>
                </a:solidFill>
              </a:rPr>
            </a:br>
            <a:endParaRPr lang="en-US" sz="4889">
              <a:solidFill>
                <a:schemeClr val="bg1"/>
              </a:solidFill>
            </a:endParaRPr>
          </a:p>
        </p:txBody>
      </p:sp>
      <p:sp>
        <p:nvSpPr>
          <p:cNvPr id="235" name="Title 5"/>
          <p:cNvSpPr txBox="1">
            <a:spLocks/>
          </p:cNvSpPr>
          <p:nvPr/>
        </p:nvSpPr>
        <p:spPr>
          <a:xfrm>
            <a:off x="3" y="-4772"/>
            <a:ext cx="60959" cy="1081733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graphicFrame>
        <p:nvGraphicFramePr>
          <p:cNvPr id="17" name="Table 17">
            <a:extLst>
              <a:ext uri="{FF2B5EF4-FFF2-40B4-BE49-F238E27FC236}">
                <a16:creationId xmlns:a16="http://schemas.microsoft.com/office/drawing/2014/main" id="{99161DF2-A3DF-4C2F-8B40-ABC6AA2DC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3435597"/>
              </p:ext>
            </p:extLst>
          </p:nvPr>
        </p:nvGraphicFramePr>
        <p:xfrm>
          <a:off x="203200" y="1289078"/>
          <a:ext cx="11493500" cy="13218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1700">
                  <a:extLst>
                    <a:ext uri="{9D8B030D-6E8A-4147-A177-3AD203B41FA5}">
                      <a16:colId xmlns:a16="http://schemas.microsoft.com/office/drawing/2014/main" val="296437597"/>
                    </a:ext>
                  </a:extLst>
                </a:gridCol>
                <a:gridCol w="10591800">
                  <a:extLst>
                    <a:ext uri="{9D8B030D-6E8A-4147-A177-3AD203B41FA5}">
                      <a16:colId xmlns:a16="http://schemas.microsoft.com/office/drawing/2014/main" val="499901164"/>
                    </a:ext>
                  </a:extLst>
                </a:gridCol>
              </a:tblGrid>
              <a:tr h="407485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#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AU"/>
                        <a:t>Accomplishment Description </a:t>
                      </a:r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3193029576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algn="ctr"/>
                      <a:r>
                        <a:rPr lang="en-US" sz="1800" b="1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Conducted the audit against NDMO controls for the 9 CAD sector departments, and reviewed the existing data management maturity assessment framework and implementation status of the initiatives that feed into the maturity assessment, and provided recommendation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06849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823530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38" name="think-cell Slide" r:id="rId5" imgW="293" imgH="274" progId="TCLayout.ActiveDocument.1">
                  <p:embed/>
                </p:oleObj>
              </mc:Choice>
              <mc:Fallback>
                <p:oleObj name="think-cell Slide" r:id="rId5" imgW="293" imgH="274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2" name="Rectangle 381"/>
          <p:cNvSpPr/>
          <p:nvPr/>
        </p:nvSpPr>
        <p:spPr>
          <a:xfrm>
            <a:off x="154597" y="4305118"/>
            <a:ext cx="3182519" cy="23750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defTabSz="1058286"/>
            <a:endParaRPr lang="en-US" sz="1500" err="1">
              <a:solidFill>
                <a:prstClr val="white"/>
              </a:solidFill>
              <a:latin typeface="Arial"/>
            </a:endParaRPr>
          </a:p>
        </p:txBody>
      </p:sp>
      <p:sp>
        <p:nvSpPr>
          <p:cNvPr id="431" name="Title 5"/>
          <p:cNvSpPr txBox="1">
            <a:spLocks/>
          </p:cNvSpPr>
          <p:nvPr/>
        </p:nvSpPr>
        <p:spPr>
          <a:xfrm>
            <a:off x="0" y="-4772"/>
            <a:ext cx="12192000" cy="1081733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61427" y="266394"/>
            <a:ext cx="8154804" cy="416216"/>
          </a:xfrm>
          <a:noFill/>
        </p:spPr>
        <p:txBody>
          <a:bodyPr anchor="t"/>
          <a:lstStyle/>
          <a:p>
            <a:pPr algn="l"/>
            <a:r>
              <a:rPr lang="en-US" sz="4889" dirty="0">
                <a:solidFill>
                  <a:schemeClr val="bg1"/>
                </a:solidFill>
              </a:rPr>
              <a:t>Contact Centers CO</a:t>
            </a:r>
          </a:p>
        </p:txBody>
      </p:sp>
      <p:sp>
        <p:nvSpPr>
          <p:cNvPr id="235" name="Title 5"/>
          <p:cNvSpPr txBox="1">
            <a:spLocks/>
          </p:cNvSpPr>
          <p:nvPr/>
        </p:nvSpPr>
        <p:spPr>
          <a:xfrm>
            <a:off x="3" y="-4772"/>
            <a:ext cx="60959" cy="1081733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cxnSp>
        <p:nvCxnSpPr>
          <p:cNvPr id="237" name="Straight Connector 236"/>
          <p:cNvCxnSpPr>
            <a:cxnSpLocks/>
          </p:cNvCxnSpPr>
          <p:nvPr/>
        </p:nvCxnSpPr>
        <p:spPr>
          <a:xfrm>
            <a:off x="308631" y="4305118"/>
            <a:ext cx="0" cy="231920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4" name="Round Same Side Corner Rectangle 243"/>
          <p:cNvSpPr/>
          <p:nvPr/>
        </p:nvSpPr>
        <p:spPr>
          <a:xfrm>
            <a:off x="154597" y="4289365"/>
            <a:ext cx="3182519" cy="331382"/>
          </a:xfrm>
          <a:prstGeom prst="round2Same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</p:spPr>
        <p:txBody>
          <a:bodyPr wrap="square" lIns="121920" tIns="0" bIns="60960" anchor="ctr">
            <a:noAutofit/>
          </a:bodyPr>
          <a:lstStyle/>
          <a:p>
            <a:pPr defTabSz="1058286"/>
            <a:r>
              <a:rPr lang="en-US" sz="1400" b="1">
                <a:solidFill>
                  <a:prstClr val="white"/>
                </a:solidFill>
                <a:latin typeface="Arial"/>
                <a:cs typeface="DIN Next LT Arabic"/>
              </a:rPr>
              <a:t>Other Key updates &amp; notes</a:t>
            </a:r>
          </a:p>
        </p:txBody>
      </p:sp>
      <p:sp>
        <p:nvSpPr>
          <p:cNvPr id="247" name="Rectangle 246"/>
          <p:cNvSpPr/>
          <p:nvPr/>
        </p:nvSpPr>
        <p:spPr>
          <a:xfrm>
            <a:off x="340381" y="4633350"/>
            <a:ext cx="3013378" cy="844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90498" indent="-190498">
              <a:buFont typeface="Arial" panose="020B0604020202020204" pitchFamily="34" charset="0"/>
              <a:buChar char="•"/>
            </a:pPr>
            <a:r>
              <a:rPr lang="en-US" sz="1222" dirty="0"/>
              <a:t>KPMG India are in discussions to scope for phase 3</a:t>
            </a:r>
          </a:p>
          <a:p>
            <a:pPr marL="190498" indent="-190498">
              <a:buFont typeface="Arial" panose="020B0604020202020204" pitchFamily="34" charset="0"/>
              <a:buChar char="•"/>
            </a:pPr>
            <a:r>
              <a:rPr lang="en-US" sz="1222" dirty="0"/>
              <a:t>Delay in accepting deliverables is due to CCC challenges in validating data</a:t>
            </a:r>
          </a:p>
        </p:txBody>
      </p:sp>
      <p:grpSp>
        <p:nvGrpSpPr>
          <p:cNvPr id="383" name="Group 382"/>
          <p:cNvGrpSpPr/>
          <p:nvPr/>
        </p:nvGrpSpPr>
        <p:grpSpPr>
          <a:xfrm>
            <a:off x="172640" y="6624523"/>
            <a:ext cx="3164476" cy="104129"/>
            <a:chOff x="170119" y="2637607"/>
            <a:chExt cx="2373357" cy="130724"/>
          </a:xfrm>
        </p:grpSpPr>
        <p:sp>
          <p:nvSpPr>
            <p:cNvPr id="384" name="Right Triangle 383"/>
            <p:cNvSpPr/>
            <p:nvPr/>
          </p:nvSpPr>
          <p:spPr>
            <a:xfrm flipH="1" flipV="1">
              <a:off x="173559" y="2637607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85" name="Right Triangle 384"/>
            <p:cNvSpPr/>
            <p:nvPr/>
          </p:nvSpPr>
          <p:spPr>
            <a:xfrm flipV="1">
              <a:off x="170119" y="2637607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</p:grpSp>
      <p:sp>
        <p:nvSpPr>
          <p:cNvPr id="388" name="Rectangle 387"/>
          <p:cNvSpPr/>
          <p:nvPr/>
        </p:nvSpPr>
        <p:spPr>
          <a:xfrm>
            <a:off x="7518400" y="2655532"/>
            <a:ext cx="4579204" cy="26302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defTabSz="1058286"/>
            <a:endParaRPr lang="en-US" sz="1500" err="1">
              <a:solidFill>
                <a:prstClr val="white"/>
              </a:solidFill>
              <a:latin typeface="Arial"/>
            </a:endParaRPr>
          </a:p>
        </p:txBody>
      </p:sp>
      <p:grpSp>
        <p:nvGrpSpPr>
          <p:cNvPr id="389" name="Group 388"/>
          <p:cNvGrpSpPr/>
          <p:nvPr/>
        </p:nvGrpSpPr>
        <p:grpSpPr>
          <a:xfrm>
            <a:off x="7527930" y="6612634"/>
            <a:ext cx="4558976" cy="135134"/>
            <a:chOff x="170119" y="2402504"/>
            <a:chExt cx="2373357" cy="130725"/>
          </a:xfrm>
        </p:grpSpPr>
        <p:sp>
          <p:nvSpPr>
            <p:cNvPr id="390" name="Right Triangle 389"/>
            <p:cNvSpPr/>
            <p:nvPr/>
          </p:nvSpPr>
          <p:spPr>
            <a:xfrm flipH="1" flipV="1">
              <a:off x="173559" y="2402505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91" name="Right Triangle 390"/>
            <p:cNvSpPr/>
            <p:nvPr/>
          </p:nvSpPr>
          <p:spPr>
            <a:xfrm flipV="1">
              <a:off x="170119" y="2402504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</p:grpSp>
      <p:sp>
        <p:nvSpPr>
          <p:cNvPr id="582" name="Rectangle 581"/>
          <p:cNvSpPr/>
          <p:nvPr/>
        </p:nvSpPr>
        <p:spPr>
          <a:xfrm>
            <a:off x="7518400" y="3993261"/>
            <a:ext cx="4579204" cy="7858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</p:spPr>
        <p:txBody>
          <a:bodyPr wrap="square" lIns="121920" tIns="0" bIns="60960" anchor="ctr">
            <a:noAutofit/>
          </a:bodyPr>
          <a:lstStyle/>
          <a:p>
            <a:pPr algn="ctr" defTabSz="1058286"/>
            <a:endParaRPr lang="en-US" sz="1400" b="1" err="1">
              <a:solidFill>
                <a:prstClr val="white"/>
              </a:solidFill>
              <a:latin typeface="Arial"/>
              <a:cs typeface="DIN Next LT Arabic"/>
            </a:endParaRPr>
          </a:p>
        </p:txBody>
      </p:sp>
      <p:sp>
        <p:nvSpPr>
          <p:cNvPr id="403" name="Freeform 402"/>
          <p:cNvSpPr>
            <a:spLocks/>
          </p:cNvSpPr>
          <p:nvPr/>
        </p:nvSpPr>
        <p:spPr bwMode="auto">
          <a:xfrm>
            <a:off x="7647207" y="3629794"/>
            <a:ext cx="293866" cy="302299"/>
          </a:xfrm>
          <a:custGeom>
            <a:avLst/>
            <a:gdLst>
              <a:gd name="connsiteX0" fmla="*/ 189015 w 931448"/>
              <a:gd name="connsiteY0" fmla="*/ 777 h 970477"/>
              <a:gd name="connsiteX1" fmla="*/ 194858 w 931448"/>
              <a:gd name="connsiteY1" fmla="*/ 8026 h 970477"/>
              <a:gd name="connsiteX2" fmla="*/ 255296 w 931448"/>
              <a:gd name="connsiteY2" fmla="*/ 26885 h 970477"/>
              <a:gd name="connsiteX3" fmla="*/ 451720 w 931448"/>
              <a:gd name="connsiteY3" fmla="*/ 57059 h 970477"/>
              <a:gd name="connsiteX4" fmla="*/ 648144 w 931448"/>
              <a:gd name="connsiteY4" fmla="*/ 155125 h 970477"/>
              <a:gd name="connsiteX5" fmla="*/ 931448 w 931448"/>
              <a:gd name="connsiteY5" fmla="*/ 158897 h 970477"/>
              <a:gd name="connsiteX6" fmla="*/ 878565 w 931448"/>
              <a:gd name="connsiteY6" fmla="*/ 471953 h 970477"/>
              <a:gd name="connsiteX7" fmla="*/ 871010 w 931448"/>
              <a:gd name="connsiteY7" fmla="*/ 498355 h 970477"/>
              <a:gd name="connsiteX8" fmla="*/ 708582 w 931448"/>
              <a:gd name="connsiteY8" fmla="*/ 622823 h 970477"/>
              <a:gd name="connsiteX9" fmla="*/ 512158 w 931448"/>
              <a:gd name="connsiteY9" fmla="*/ 554932 h 970477"/>
              <a:gd name="connsiteX10" fmla="*/ 334621 w 931448"/>
              <a:gd name="connsiteY10" fmla="*/ 468181 h 970477"/>
              <a:gd name="connsiteX11" fmla="*/ 240187 w 931448"/>
              <a:gd name="connsiteY11" fmla="*/ 453094 h 970477"/>
              <a:gd name="connsiteX12" fmla="*/ 111756 w 931448"/>
              <a:gd name="connsiteY12" fmla="*/ 562475 h 970477"/>
              <a:gd name="connsiteX13" fmla="*/ 39114 w 931448"/>
              <a:gd name="connsiteY13" fmla="*/ 970477 h 970477"/>
              <a:gd name="connsiteX14" fmla="*/ 0 w 931448"/>
              <a:gd name="connsiteY14" fmla="*/ 938205 h 970477"/>
              <a:gd name="connsiteX15" fmla="*/ 149529 w 931448"/>
              <a:gd name="connsiteY15" fmla="*/ 79690 h 970477"/>
              <a:gd name="connsiteX16" fmla="*/ 160862 w 931448"/>
              <a:gd name="connsiteY16" fmla="*/ 19341 h 970477"/>
              <a:gd name="connsiteX17" fmla="*/ 189015 w 931448"/>
              <a:gd name="connsiteY17" fmla="*/ 777 h 9704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931448" h="970477">
                <a:moveTo>
                  <a:pt x="189015" y="777"/>
                </a:moveTo>
                <a:cubicBezTo>
                  <a:pt x="191789" y="1897"/>
                  <a:pt x="193914" y="4254"/>
                  <a:pt x="194858" y="8026"/>
                </a:cubicBezTo>
                <a:cubicBezTo>
                  <a:pt x="206190" y="57059"/>
                  <a:pt x="232632" y="30657"/>
                  <a:pt x="255296" y="26885"/>
                </a:cubicBezTo>
                <a:cubicBezTo>
                  <a:pt x="323289" y="15570"/>
                  <a:pt x="391282" y="26885"/>
                  <a:pt x="451720" y="57059"/>
                </a:cubicBezTo>
                <a:cubicBezTo>
                  <a:pt x="519713" y="87233"/>
                  <a:pt x="583929" y="124951"/>
                  <a:pt x="648144" y="155125"/>
                </a:cubicBezTo>
                <a:cubicBezTo>
                  <a:pt x="738802" y="196614"/>
                  <a:pt x="829459" y="211701"/>
                  <a:pt x="931448" y="158897"/>
                </a:cubicBezTo>
                <a:cubicBezTo>
                  <a:pt x="912561" y="268278"/>
                  <a:pt x="893674" y="370115"/>
                  <a:pt x="878565" y="471953"/>
                </a:cubicBezTo>
                <a:cubicBezTo>
                  <a:pt x="874787" y="479496"/>
                  <a:pt x="874787" y="490812"/>
                  <a:pt x="871010" y="498355"/>
                </a:cubicBezTo>
                <a:cubicBezTo>
                  <a:pt x="855900" y="600193"/>
                  <a:pt x="814349" y="630367"/>
                  <a:pt x="708582" y="622823"/>
                </a:cubicBezTo>
                <a:cubicBezTo>
                  <a:pt x="640589" y="615280"/>
                  <a:pt x="576374" y="588877"/>
                  <a:pt x="512158" y="554932"/>
                </a:cubicBezTo>
                <a:cubicBezTo>
                  <a:pt x="455498" y="524757"/>
                  <a:pt x="398837" y="490812"/>
                  <a:pt x="334621" y="468181"/>
                </a:cubicBezTo>
                <a:cubicBezTo>
                  <a:pt x="304402" y="460637"/>
                  <a:pt x="274183" y="453094"/>
                  <a:pt x="240187" y="453094"/>
                </a:cubicBezTo>
                <a:cubicBezTo>
                  <a:pt x="145752" y="449322"/>
                  <a:pt x="126865" y="464409"/>
                  <a:pt x="111756" y="562475"/>
                </a:cubicBezTo>
                <a:lnTo>
                  <a:pt x="39114" y="970477"/>
                </a:lnTo>
                <a:lnTo>
                  <a:pt x="0" y="938205"/>
                </a:lnTo>
                <a:lnTo>
                  <a:pt x="149529" y="79690"/>
                </a:lnTo>
                <a:cubicBezTo>
                  <a:pt x="153307" y="60831"/>
                  <a:pt x="153307" y="38200"/>
                  <a:pt x="160862" y="19341"/>
                </a:cubicBezTo>
                <a:cubicBezTo>
                  <a:pt x="166528" y="5198"/>
                  <a:pt x="180693" y="-2582"/>
                  <a:pt x="189015" y="777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Autofit/>
          </a:bodyPr>
          <a:lstStyle/>
          <a:p>
            <a:pPr defTabSz="914391"/>
            <a:endParaRPr lang="en-US" sz="2533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5" name="Freeform 404"/>
          <p:cNvSpPr>
            <a:spLocks/>
          </p:cNvSpPr>
          <p:nvPr/>
        </p:nvSpPr>
        <p:spPr bwMode="auto">
          <a:xfrm flipH="1">
            <a:off x="11685154" y="3703426"/>
            <a:ext cx="293869" cy="302299"/>
          </a:xfrm>
          <a:custGeom>
            <a:avLst/>
            <a:gdLst>
              <a:gd name="connsiteX0" fmla="*/ 189015 w 931448"/>
              <a:gd name="connsiteY0" fmla="*/ 777 h 970477"/>
              <a:gd name="connsiteX1" fmla="*/ 194858 w 931448"/>
              <a:gd name="connsiteY1" fmla="*/ 8026 h 970477"/>
              <a:gd name="connsiteX2" fmla="*/ 255296 w 931448"/>
              <a:gd name="connsiteY2" fmla="*/ 26885 h 970477"/>
              <a:gd name="connsiteX3" fmla="*/ 451720 w 931448"/>
              <a:gd name="connsiteY3" fmla="*/ 57059 h 970477"/>
              <a:gd name="connsiteX4" fmla="*/ 648144 w 931448"/>
              <a:gd name="connsiteY4" fmla="*/ 155125 h 970477"/>
              <a:gd name="connsiteX5" fmla="*/ 931448 w 931448"/>
              <a:gd name="connsiteY5" fmla="*/ 158897 h 970477"/>
              <a:gd name="connsiteX6" fmla="*/ 878565 w 931448"/>
              <a:gd name="connsiteY6" fmla="*/ 471953 h 970477"/>
              <a:gd name="connsiteX7" fmla="*/ 871010 w 931448"/>
              <a:gd name="connsiteY7" fmla="*/ 498355 h 970477"/>
              <a:gd name="connsiteX8" fmla="*/ 708582 w 931448"/>
              <a:gd name="connsiteY8" fmla="*/ 622823 h 970477"/>
              <a:gd name="connsiteX9" fmla="*/ 512158 w 931448"/>
              <a:gd name="connsiteY9" fmla="*/ 554932 h 970477"/>
              <a:gd name="connsiteX10" fmla="*/ 334621 w 931448"/>
              <a:gd name="connsiteY10" fmla="*/ 468181 h 970477"/>
              <a:gd name="connsiteX11" fmla="*/ 240187 w 931448"/>
              <a:gd name="connsiteY11" fmla="*/ 453094 h 970477"/>
              <a:gd name="connsiteX12" fmla="*/ 111756 w 931448"/>
              <a:gd name="connsiteY12" fmla="*/ 562475 h 970477"/>
              <a:gd name="connsiteX13" fmla="*/ 39114 w 931448"/>
              <a:gd name="connsiteY13" fmla="*/ 970477 h 970477"/>
              <a:gd name="connsiteX14" fmla="*/ 0 w 931448"/>
              <a:gd name="connsiteY14" fmla="*/ 938205 h 970477"/>
              <a:gd name="connsiteX15" fmla="*/ 149529 w 931448"/>
              <a:gd name="connsiteY15" fmla="*/ 79690 h 970477"/>
              <a:gd name="connsiteX16" fmla="*/ 160862 w 931448"/>
              <a:gd name="connsiteY16" fmla="*/ 19341 h 970477"/>
              <a:gd name="connsiteX17" fmla="*/ 189015 w 931448"/>
              <a:gd name="connsiteY17" fmla="*/ 777 h 9704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931448" h="970477">
                <a:moveTo>
                  <a:pt x="189015" y="777"/>
                </a:moveTo>
                <a:cubicBezTo>
                  <a:pt x="191789" y="1897"/>
                  <a:pt x="193914" y="4254"/>
                  <a:pt x="194858" y="8026"/>
                </a:cubicBezTo>
                <a:cubicBezTo>
                  <a:pt x="206190" y="57059"/>
                  <a:pt x="232632" y="30657"/>
                  <a:pt x="255296" y="26885"/>
                </a:cubicBezTo>
                <a:cubicBezTo>
                  <a:pt x="323289" y="15570"/>
                  <a:pt x="391282" y="26885"/>
                  <a:pt x="451720" y="57059"/>
                </a:cubicBezTo>
                <a:cubicBezTo>
                  <a:pt x="519713" y="87233"/>
                  <a:pt x="583929" y="124951"/>
                  <a:pt x="648144" y="155125"/>
                </a:cubicBezTo>
                <a:cubicBezTo>
                  <a:pt x="738802" y="196614"/>
                  <a:pt x="829459" y="211701"/>
                  <a:pt x="931448" y="158897"/>
                </a:cubicBezTo>
                <a:cubicBezTo>
                  <a:pt x="912561" y="268278"/>
                  <a:pt x="893674" y="370115"/>
                  <a:pt x="878565" y="471953"/>
                </a:cubicBezTo>
                <a:cubicBezTo>
                  <a:pt x="874787" y="479496"/>
                  <a:pt x="874787" y="490812"/>
                  <a:pt x="871010" y="498355"/>
                </a:cubicBezTo>
                <a:cubicBezTo>
                  <a:pt x="855900" y="600193"/>
                  <a:pt x="814349" y="630367"/>
                  <a:pt x="708582" y="622823"/>
                </a:cubicBezTo>
                <a:cubicBezTo>
                  <a:pt x="640589" y="615280"/>
                  <a:pt x="576374" y="588877"/>
                  <a:pt x="512158" y="554932"/>
                </a:cubicBezTo>
                <a:cubicBezTo>
                  <a:pt x="455498" y="524757"/>
                  <a:pt x="398837" y="490812"/>
                  <a:pt x="334621" y="468181"/>
                </a:cubicBezTo>
                <a:cubicBezTo>
                  <a:pt x="304402" y="460637"/>
                  <a:pt x="274183" y="453094"/>
                  <a:pt x="240187" y="453094"/>
                </a:cubicBezTo>
                <a:cubicBezTo>
                  <a:pt x="145752" y="449322"/>
                  <a:pt x="126865" y="464409"/>
                  <a:pt x="111756" y="562475"/>
                </a:cubicBezTo>
                <a:lnTo>
                  <a:pt x="39114" y="970477"/>
                </a:lnTo>
                <a:lnTo>
                  <a:pt x="0" y="938205"/>
                </a:lnTo>
                <a:lnTo>
                  <a:pt x="149529" y="79690"/>
                </a:lnTo>
                <a:cubicBezTo>
                  <a:pt x="153307" y="60831"/>
                  <a:pt x="153307" y="38200"/>
                  <a:pt x="160862" y="19341"/>
                </a:cubicBezTo>
                <a:cubicBezTo>
                  <a:pt x="166528" y="5198"/>
                  <a:pt x="180693" y="-2582"/>
                  <a:pt x="189015" y="777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Autofit/>
          </a:bodyPr>
          <a:lstStyle/>
          <a:p>
            <a:pPr defTabSz="914391"/>
            <a:endParaRPr lang="en-US" sz="2533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10591584" y="3450103"/>
            <a:ext cx="95070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127"/>
            <a:r>
              <a:rPr lang="en-US" sz="1200">
                <a:solidFill>
                  <a:prstClr val="white">
                    <a:lumMod val="50000"/>
                  </a:prstClr>
                </a:solidFill>
                <a:latin typeface="Arial"/>
                <a:cs typeface="Arial" panose="020B0604020202020204" pitchFamily="34" charset="0"/>
              </a:rPr>
              <a:t>END DATE</a:t>
            </a:r>
          </a:p>
        </p:txBody>
      </p:sp>
      <p:sp>
        <p:nvSpPr>
          <p:cNvPr id="406" name="Rectangle 405"/>
          <p:cNvSpPr/>
          <p:nvPr/>
        </p:nvSpPr>
        <p:spPr>
          <a:xfrm>
            <a:off x="10581190" y="3687170"/>
            <a:ext cx="87556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127"/>
            <a:r>
              <a:rPr lang="en-US" sz="1200" b="1" dirty="0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July 2022</a:t>
            </a:r>
          </a:p>
        </p:txBody>
      </p:sp>
      <p:sp>
        <p:nvSpPr>
          <p:cNvPr id="408" name="Rectangle 407"/>
          <p:cNvSpPr/>
          <p:nvPr/>
        </p:nvSpPr>
        <p:spPr>
          <a:xfrm>
            <a:off x="7898338" y="3450103"/>
            <a:ext cx="111492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127"/>
            <a:r>
              <a:rPr lang="en-US" sz="1200">
                <a:solidFill>
                  <a:prstClr val="white">
                    <a:lumMod val="50000"/>
                  </a:prstClr>
                </a:solidFill>
                <a:latin typeface="Arial"/>
                <a:cs typeface="Arial" panose="020B0604020202020204" pitchFamily="34" charset="0"/>
              </a:rPr>
              <a:t>START DATE</a:t>
            </a:r>
          </a:p>
        </p:txBody>
      </p:sp>
      <p:sp>
        <p:nvSpPr>
          <p:cNvPr id="409" name="Rectangle 408"/>
          <p:cNvSpPr/>
          <p:nvPr/>
        </p:nvSpPr>
        <p:spPr>
          <a:xfrm>
            <a:off x="7898340" y="3687170"/>
            <a:ext cx="83227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127"/>
            <a:r>
              <a:rPr lang="en-US" sz="1200" b="1" dirty="0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Jan 2022</a:t>
            </a:r>
          </a:p>
        </p:txBody>
      </p:sp>
      <p:sp>
        <p:nvSpPr>
          <p:cNvPr id="410" name="Round Same Side Corner Rectangle 409"/>
          <p:cNvSpPr/>
          <p:nvPr/>
        </p:nvSpPr>
        <p:spPr>
          <a:xfrm>
            <a:off x="7592024" y="4294033"/>
            <a:ext cx="4443494" cy="290140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chemeClr val="tx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</a:gradFill>
          <a:ln>
            <a:solidFill>
              <a:schemeClr val="accent3"/>
            </a:solidFill>
          </a:ln>
        </p:spPr>
        <p:txBody>
          <a:bodyPr wrap="square" lIns="121920">
            <a:noAutofit/>
          </a:bodyPr>
          <a:lstStyle/>
          <a:p>
            <a:pPr defTabSz="1058286"/>
            <a:endParaRPr lang="en-US" sz="1400" b="1">
              <a:solidFill>
                <a:prstClr val="white"/>
              </a:solidFill>
              <a:latin typeface="Arial"/>
              <a:cs typeface="DIN Next LT Arabic"/>
            </a:endParaRPr>
          </a:p>
        </p:txBody>
      </p:sp>
      <p:graphicFrame>
        <p:nvGraphicFramePr>
          <p:cNvPr id="44" name="Table 43"/>
          <p:cNvGraphicFramePr>
            <a:graphicFrameLocks noGrp="1"/>
          </p:cNvGraphicFramePr>
          <p:nvPr/>
        </p:nvGraphicFramePr>
        <p:xfrm>
          <a:off x="7595578" y="4312867"/>
          <a:ext cx="4439944" cy="2773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42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71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71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77333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Apr</a:t>
                      </a:r>
                    </a:p>
                  </a:txBody>
                  <a:tcPr marL="18000" marR="18000" marT="54000" marB="54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May</a:t>
                      </a:r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Jun</a:t>
                      </a:r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Jul.</a:t>
                      </a:r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Aug</a:t>
                      </a:r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Sep</a:t>
                      </a:r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Oct</a:t>
                      </a:r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427" name="Table 426"/>
          <p:cNvGraphicFramePr>
            <a:graphicFrameLocks noGrp="1"/>
          </p:cNvGraphicFramePr>
          <p:nvPr/>
        </p:nvGraphicFramePr>
        <p:xfrm>
          <a:off x="7595578" y="4583797"/>
          <a:ext cx="4439944" cy="17735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42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71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71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1773579">
                <a:tc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 dirty="0"/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16" name="Rounded Rectangle 415"/>
          <p:cNvSpPr/>
          <p:nvPr/>
        </p:nvSpPr>
        <p:spPr>
          <a:xfrm>
            <a:off x="7853699" y="4683626"/>
            <a:ext cx="1038687" cy="18442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 w="10172">
            <a:noFill/>
          </a:ln>
        </p:spPr>
        <p:txBody>
          <a:bodyPr wrap="square" lIns="121920" tIns="121920" rIns="121920" bIns="121920" rtlCol="0" anchor="ctr"/>
          <a:lstStyle/>
          <a:p>
            <a:pPr algn="ctr" defTabSz="1219176"/>
            <a:r>
              <a:rPr lang="en-US" sz="889" b="1">
                <a:solidFill>
                  <a:schemeClr val="bg1"/>
                </a:solidFill>
                <a:latin typeface="Arial"/>
                <a:ea typeface="Univers for KPMG Light" charset="0"/>
                <a:cs typeface="Univers for KPMG Light" charset="0"/>
              </a:rPr>
              <a:t>Activity 1</a:t>
            </a:r>
          </a:p>
        </p:txBody>
      </p:sp>
      <p:sp>
        <p:nvSpPr>
          <p:cNvPr id="418" name="Rounded Rectangle 417"/>
          <p:cNvSpPr/>
          <p:nvPr/>
        </p:nvSpPr>
        <p:spPr>
          <a:xfrm>
            <a:off x="8712458" y="5082583"/>
            <a:ext cx="939542" cy="18442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0172">
            <a:noFill/>
          </a:ln>
        </p:spPr>
        <p:txBody>
          <a:bodyPr wrap="square" lIns="121920" tIns="121920" rIns="121920" bIns="121920" rtlCol="0" anchor="ctr"/>
          <a:lstStyle/>
          <a:p>
            <a:pPr algn="ctr" defTabSz="1219176">
              <a:defRPr/>
            </a:pPr>
            <a:r>
              <a:rPr lang="en-US" sz="889" b="1">
                <a:solidFill>
                  <a:schemeClr val="bg1"/>
                </a:solidFill>
                <a:latin typeface="Arial"/>
                <a:ea typeface="Univers for KPMG Light" charset="0"/>
                <a:cs typeface="Univers for KPMG Light" charset="0"/>
              </a:rPr>
              <a:t>Activity 2</a:t>
            </a:r>
          </a:p>
        </p:txBody>
      </p:sp>
      <p:sp>
        <p:nvSpPr>
          <p:cNvPr id="420" name="Rounded Rectangle 419"/>
          <p:cNvSpPr/>
          <p:nvPr/>
        </p:nvSpPr>
        <p:spPr>
          <a:xfrm>
            <a:off x="9067706" y="5422530"/>
            <a:ext cx="1884777" cy="18442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10172">
            <a:noFill/>
          </a:ln>
        </p:spPr>
        <p:txBody>
          <a:bodyPr wrap="square" lIns="121920" tIns="121920" rIns="121920" bIns="121920" rtlCol="0" anchor="ctr"/>
          <a:lstStyle/>
          <a:p>
            <a:pPr algn="ctr" defTabSz="1219176">
              <a:defRPr/>
            </a:pPr>
            <a:r>
              <a:rPr lang="en-US" sz="889" b="1">
                <a:solidFill>
                  <a:schemeClr val="bg1"/>
                </a:solidFill>
                <a:latin typeface="Arial"/>
                <a:ea typeface="Univers for KPMG Light" charset="0"/>
                <a:cs typeface="Univers for KPMG Light" charset="0"/>
              </a:rPr>
              <a:t>Activity 3</a:t>
            </a:r>
          </a:p>
        </p:txBody>
      </p:sp>
      <p:grpSp>
        <p:nvGrpSpPr>
          <p:cNvPr id="132" name="Group 131"/>
          <p:cNvGrpSpPr/>
          <p:nvPr/>
        </p:nvGrpSpPr>
        <p:grpSpPr>
          <a:xfrm>
            <a:off x="7527930" y="3097452"/>
            <a:ext cx="4558976" cy="135133"/>
            <a:chOff x="5645947" y="4054307"/>
            <a:chExt cx="3419232" cy="146922"/>
          </a:xfrm>
        </p:grpSpPr>
        <p:sp>
          <p:nvSpPr>
            <p:cNvPr id="435" name="Right Triangle 434"/>
            <p:cNvSpPr/>
            <p:nvPr/>
          </p:nvSpPr>
          <p:spPr>
            <a:xfrm flipH="1" flipV="1">
              <a:off x="5650903" y="4054307"/>
              <a:ext cx="3414276" cy="146922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436" name="Right Triangle 435"/>
            <p:cNvSpPr/>
            <p:nvPr/>
          </p:nvSpPr>
          <p:spPr>
            <a:xfrm flipV="1">
              <a:off x="5645947" y="4054307"/>
              <a:ext cx="3414276" cy="146922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</p:grpSp>
      <p:sp>
        <p:nvSpPr>
          <p:cNvPr id="437" name="Rectangle 436"/>
          <p:cNvSpPr/>
          <p:nvPr/>
        </p:nvSpPr>
        <p:spPr>
          <a:xfrm>
            <a:off x="7518400" y="1127265"/>
            <a:ext cx="4579204" cy="13745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defTabSz="1058286"/>
            <a:endParaRPr lang="en-US" sz="1500" err="1">
              <a:solidFill>
                <a:prstClr val="white"/>
              </a:solidFill>
              <a:latin typeface="Arial"/>
            </a:endParaRPr>
          </a:p>
        </p:txBody>
      </p:sp>
      <p:sp>
        <p:nvSpPr>
          <p:cNvPr id="439" name="Rectangle 438"/>
          <p:cNvSpPr/>
          <p:nvPr/>
        </p:nvSpPr>
        <p:spPr>
          <a:xfrm>
            <a:off x="7829747" y="1158904"/>
            <a:ext cx="1335622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27"/>
            <a:r>
              <a:rPr lang="en-US" sz="1333" b="1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Project Health</a:t>
            </a:r>
          </a:p>
        </p:txBody>
      </p:sp>
      <p:sp>
        <p:nvSpPr>
          <p:cNvPr id="440" name="Rectangle 439"/>
          <p:cNvSpPr/>
          <p:nvPr/>
        </p:nvSpPr>
        <p:spPr>
          <a:xfrm>
            <a:off x="10403346" y="1158904"/>
            <a:ext cx="925253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27"/>
            <a:r>
              <a:rPr lang="en-US" sz="1333" b="1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Progress</a:t>
            </a:r>
          </a:p>
        </p:txBody>
      </p:sp>
      <p:cxnSp>
        <p:nvCxnSpPr>
          <p:cNvPr id="444" name="Straight Connector 443"/>
          <p:cNvCxnSpPr/>
          <p:nvPr/>
        </p:nvCxnSpPr>
        <p:spPr>
          <a:xfrm>
            <a:off x="10152800" y="2452170"/>
            <a:ext cx="1426344" cy="0"/>
          </a:xfrm>
          <a:prstGeom prst="line">
            <a:avLst/>
          </a:prstGeom>
          <a:ln w="3175">
            <a:solidFill>
              <a:schemeClr val="bg1">
                <a:alpha val="2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7" name="Oval 446"/>
          <p:cNvSpPr/>
          <p:nvPr/>
        </p:nvSpPr>
        <p:spPr>
          <a:xfrm>
            <a:off x="10190609" y="1699559"/>
            <a:ext cx="1264898" cy="1264896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91"/>
            <a:endParaRPr lang="en-IN" sz="2154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57" name="Straight Connector 56"/>
          <p:cNvCxnSpPr/>
          <p:nvPr/>
        </p:nvCxnSpPr>
        <p:spPr>
          <a:xfrm>
            <a:off x="7661463" y="1451278"/>
            <a:ext cx="167219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8" name="Straight Connector 447"/>
          <p:cNvCxnSpPr/>
          <p:nvPr/>
        </p:nvCxnSpPr>
        <p:spPr>
          <a:xfrm>
            <a:off x="9910209" y="1451278"/>
            <a:ext cx="197021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0" name="Group 449"/>
          <p:cNvGrpSpPr/>
          <p:nvPr/>
        </p:nvGrpSpPr>
        <p:grpSpPr>
          <a:xfrm>
            <a:off x="8249017" y="1724075"/>
            <a:ext cx="605435" cy="944212"/>
            <a:chOff x="722757" y="906549"/>
            <a:chExt cx="553599" cy="863372"/>
          </a:xfrm>
        </p:grpSpPr>
        <p:grpSp>
          <p:nvGrpSpPr>
            <p:cNvPr id="451" name="Group 450"/>
            <p:cNvGrpSpPr/>
            <p:nvPr/>
          </p:nvGrpSpPr>
          <p:grpSpPr>
            <a:xfrm>
              <a:off x="722757" y="906549"/>
              <a:ext cx="553599" cy="863372"/>
              <a:chOff x="5997254" y="2460747"/>
              <a:chExt cx="1616607" cy="2521202"/>
            </a:xfrm>
          </p:grpSpPr>
          <p:sp>
            <p:nvSpPr>
              <p:cNvPr id="470" name="Rectangle 469"/>
              <p:cNvSpPr/>
              <p:nvPr/>
            </p:nvSpPr>
            <p:spPr>
              <a:xfrm>
                <a:off x="6718885" y="4188898"/>
                <a:ext cx="177760" cy="793051"/>
              </a:xfrm>
              <a:prstGeom prst="rect">
                <a:avLst/>
              </a:prstGeom>
              <a:gradFill>
                <a:gsLst>
                  <a:gs pos="0">
                    <a:sysClr val="windowText" lastClr="000000">
                      <a:lumMod val="75000"/>
                      <a:lumOff val="25000"/>
                      <a:shade val="30000"/>
                      <a:satMod val="115000"/>
                    </a:sysClr>
                  </a:gs>
                  <a:gs pos="50000">
                    <a:sysClr val="window" lastClr="FFFFFF"/>
                  </a:gs>
                  <a:gs pos="100000">
                    <a:sysClr val="windowText" lastClr="000000">
                      <a:lumMod val="75000"/>
                      <a:lumOff val="25000"/>
                      <a:shade val="100000"/>
                      <a:satMod val="115000"/>
                    </a:sysClr>
                  </a:gs>
                </a:gsLst>
                <a:lin ang="0" scaled="0"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060737">
                  <a:defRPr/>
                </a:pPr>
                <a:endParaRPr lang="en-US" sz="2088" kern="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471" name="Freeform 26"/>
              <p:cNvSpPr>
                <a:spLocks noEditPoints="1"/>
              </p:cNvSpPr>
              <p:nvPr/>
            </p:nvSpPr>
            <p:spPr bwMode="auto">
              <a:xfrm>
                <a:off x="5997254" y="2460747"/>
                <a:ext cx="1616607" cy="1618702"/>
              </a:xfrm>
              <a:custGeom>
                <a:avLst/>
                <a:gdLst>
                  <a:gd name="T0" fmla="*/ 323 w 326"/>
                  <a:gd name="T1" fmla="*/ 157 h 326"/>
                  <a:gd name="T2" fmla="*/ 169 w 326"/>
                  <a:gd name="T3" fmla="*/ 2 h 326"/>
                  <a:gd name="T4" fmla="*/ 163 w 326"/>
                  <a:gd name="T5" fmla="*/ 0 h 326"/>
                  <a:gd name="T6" fmla="*/ 157 w 326"/>
                  <a:gd name="T7" fmla="*/ 2 h 326"/>
                  <a:gd name="T8" fmla="*/ 3 w 326"/>
                  <a:gd name="T9" fmla="*/ 157 h 326"/>
                  <a:gd name="T10" fmla="*/ 0 w 326"/>
                  <a:gd name="T11" fmla="*/ 163 h 326"/>
                  <a:gd name="T12" fmla="*/ 3 w 326"/>
                  <a:gd name="T13" fmla="*/ 169 h 326"/>
                  <a:gd name="T14" fmla="*/ 157 w 326"/>
                  <a:gd name="T15" fmla="*/ 323 h 326"/>
                  <a:gd name="T16" fmla="*/ 163 w 326"/>
                  <a:gd name="T17" fmla="*/ 326 h 326"/>
                  <a:gd name="T18" fmla="*/ 169 w 326"/>
                  <a:gd name="T19" fmla="*/ 323 h 326"/>
                  <a:gd name="T20" fmla="*/ 323 w 326"/>
                  <a:gd name="T21" fmla="*/ 169 h 326"/>
                  <a:gd name="T22" fmla="*/ 326 w 326"/>
                  <a:gd name="T23" fmla="*/ 163 h 326"/>
                  <a:gd name="T24" fmla="*/ 323 w 326"/>
                  <a:gd name="T25" fmla="*/ 157 h 326"/>
                  <a:gd name="T26" fmla="*/ 306 w 326"/>
                  <a:gd name="T27" fmla="*/ 168 h 326"/>
                  <a:gd name="T28" fmla="*/ 168 w 326"/>
                  <a:gd name="T29" fmla="*/ 306 h 326"/>
                  <a:gd name="T30" fmla="*/ 163 w 326"/>
                  <a:gd name="T31" fmla="*/ 308 h 326"/>
                  <a:gd name="T32" fmla="*/ 157 w 326"/>
                  <a:gd name="T33" fmla="*/ 306 h 326"/>
                  <a:gd name="T34" fmla="*/ 20 w 326"/>
                  <a:gd name="T35" fmla="*/ 168 h 326"/>
                  <a:gd name="T36" fmla="*/ 17 w 326"/>
                  <a:gd name="T37" fmla="*/ 163 h 326"/>
                  <a:gd name="T38" fmla="*/ 20 w 326"/>
                  <a:gd name="T39" fmla="*/ 157 h 326"/>
                  <a:gd name="T40" fmla="*/ 157 w 326"/>
                  <a:gd name="T41" fmla="*/ 19 h 326"/>
                  <a:gd name="T42" fmla="*/ 163 w 326"/>
                  <a:gd name="T43" fmla="*/ 17 h 326"/>
                  <a:gd name="T44" fmla="*/ 168 w 326"/>
                  <a:gd name="T45" fmla="*/ 19 h 326"/>
                  <a:gd name="T46" fmla="*/ 306 w 326"/>
                  <a:gd name="T47" fmla="*/ 157 h 326"/>
                  <a:gd name="T48" fmla="*/ 309 w 326"/>
                  <a:gd name="T49" fmla="*/ 163 h 326"/>
                  <a:gd name="T50" fmla="*/ 306 w 326"/>
                  <a:gd name="T51" fmla="*/ 168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6" h="326">
                    <a:moveTo>
                      <a:pt x="323" y="157"/>
                    </a:moveTo>
                    <a:cubicBezTo>
                      <a:pt x="169" y="2"/>
                      <a:pt x="169" y="2"/>
                      <a:pt x="169" y="2"/>
                    </a:cubicBezTo>
                    <a:cubicBezTo>
                      <a:pt x="167" y="0"/>
                      <a:pt x="164" y="0"/>
                      <a:pt x="163" y="0"/>
                    </a:cubicBezTo>
                    <a:cubicBezTo>
                      <a:pt x="162" y="0"/>
                      <a:pt x="159" y="0"/>
                      <a:pt x="157" y="2"/>
                    </a:cubicBezTo>
                    <a:cubicBezTo>
                      <a:pt x="3" y="157"/>
                      <a:pt x="3" y="157"/>
                      <a:pt x="3" y="157"/>
                    </a:cubicBezTo>
                    <a:cubicBezTo>
                      <a:pt x="1" y="158"/>
                      <a:pt x="0" y="160"/>
                      <a:pt x="0" y="163"/>
                    </a:cubicBezTo>
                    <a:cubicBezTo>
                      <a:pt x="0" y="165"/>
                      <a:pt x="1" y="167"/>
                      <a:pt x="3" y="169"/>
                    </a:cubicBezTo>
                    <a:cubicBezTo>
                      <a:pt x="157" y="323"/>
                      <a:pt x="157" y="323"/>
                      <a:pt x="157" y="323"/>
                    </a:cubicBezTo>
                    <a:cubicBezTo>
                      <a:pt x="159" y="325"/>
                      <a:pt x="162" y="326"/>
                      <a:pt x="163" y="326"/>
                    </a:cubicBezTo>
                    <a:cubicBezTo>
                      <a:pt x="164" y="326"/>
                      <a:pt x="167" y="325"/>
                      <a:pt x="169" y="323"/>
                    </a:cubicBezTo>
                    <a:cubicBezTo>
                      <a:pt x="323" y="169"/>
                      <a:pt x="323" y="169"/>
                      <a:pt x="323" y="169"/>
                    </a:cubicBezTo>
                    <a:cubicBezTo>
                      <a:pt x="325" y="167"/>
                      <a:pt x="326" y="164"/>
                      <a:pt x="326" y="163"/>
                    </a:cubicBezTo>
                    <a:cubicBezTo>
                      <a:pt x="326" y="161"/>
                      <a:pt x="325" y="159"/>
                      <a:pt x="323" y="157"/>
                    </a:cubicBezTo>
                    <a:close/>
                    <a:moveTo>
                      <a:pt x="306" y="168"/>
                    </a:moveTo>
                    <a:cubicBezTo>
                      <a:pt x="168" y="306"/>
                      <a:pt x="168" y="306"/>
                      <a:pt x="168" y="306"/>
                    </a:cubicBezTo>
                    <a:cubicBezTo>
                      <a:pt x="167" y="308"/>
                      <a:pt x="164" y="308"/>
                      <a:pt x="163" y="308"/>
                    </a:cubicBezTo>
                    <a:cubicBezTo>
                      <a:pt x="162" y="308"/>
                      <a:pt x="159" y="308"/>
                      <a:pt x="157" y="306"/>
                    </a:cubicBezTo>
                    <a:cubicBezTo>
                      <a:pt x="20" y="168"/>
                      <a:pt x="20" y="168"/>
                      <a:pt x="20" y="168"/>
                    </a:cubicBezTo>
                    <a:cubicBezTo>
                      <a:pt x="18" y="167"/>
                      <a:pt x="17" y="165"/>
                      <a:pt x="17" y="163"/>
                    </a:cubicBezTo>
                    <a:cubicBezTo>
                      <a:pt x="17" y="161"/>
                      <a:pt x="18" y="159"/>
                      <a:pt x="20" y="157"/>
                    </a:cubicBezTo>
                    <a:cubicBezTo>
                      <a:pt x="157" y="19"/>
                      <a:pt x="157" y="19"/>
                      <a:pt x="157" y="19"/>
                    </a:cubicBezTo>
                    <a:cubicBezTo>
                      <a:pt x="159" y="17"/>
                      <a:pt x="162" y="17"/>
                      <a:pt x="163" y="17"/>
                    </a:cubicBezTo>
                    <a:cubicBezTo>
                      <a:pt x="164" y="17"/>
                      <a:pt x="167" y="17"/>
                      <a:pt x="168" y="19"/>
                    </a:cubicBezTo>
                    <a:cubicBezTo>
                      <a:pt x="306" y="157"/>
                      <a:pt x="306" y="157"/>
                      <a:pt x="306" y="157"/>
                    </a:cubicBezTo>
                    <a:cubicBezTo>
                      <a:pt x="308" y="159"/>
                      <a:pt x="309" y="161"/>
                      <a:pt x="309" y="163"/>
                    </a:cubicBezTo>
                    <a:cubicBezTo>
                      <a:pt x="309" y="164"/>
                      <a:pt x="308" y="166"/>
                      <a:pt x="306" y="16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106072" tIns="53034" rIns="106072" bIns="53034" numCol="1" anchor="t" anchorCtr="0" compatLnSpc="1">
                <a:prstTxWarp prst="textNoShape">
                  <a:avLst/>
                </a:prstTxWarp>
              </a:bodyPr>
              <a:lstStyle/>
              <a:p>
                <a:pPr defTabSz="1060737">
                  <a:defRPr/>
                </a:pPr>
                <a:endParaRPr lang="en-US" sz="2088" kern="0">
                  <a:solidFill>
                    <a:prstClr val="black"/>
                  </a:solidFill>
                  <a:latin typeface="Arial"/>
                </a:endParaRPr>
              </a:p>
            </p:txBody>
          </p:sp>
        </p:grpSp>
        <p:grpSp>
          <p:nvGrpSpPr>
            <p:cNvPr id="452" name="Group 37"/>
            <p:cNvGrpSpPr/>
            <p:nvPr/>
          </p:nvGrpSpPr>
          <p:grpSpPr>
            <a:xfrm>
              <a:off x="758944" y="928520"/>
              <a:ext cx="476130" cy="740410"/>
              <a:chOff x="1903412" y="1676400"/>
              <a:chExt cx="1776606" cy="2835299"/>
            </a:xfrm>
          </p:grpSpPr>
          <p:sp>
            <p:nvSpPr>
              <p:cNvPr id="453" name="Freeform 7"/>
              <p:cNvSpPr>
                <a:spLocks/>
              </p:cNvSpPr>
              <p:nvPr/>
            </p:nvSpPr>
            <p:spPr bwMode="auto">
              <a:xfrm>
                <a:off x="2239650" y="1690031"/>
                <a:ext cx="1114733" cy="2809552"/>
              </a:xfrm>
              <a:custGeom>
                <a:avLst/>
                <a:gdLst/>
                <a:ahLst/>
                <a:cxnLst>
                  <a:cxn ang="0">
                    <a:pos x="79" y="0"/>
                  </a:cxn>
                  <a:cxn ang="0">
                    <a:pos x="657" y="0"/>
                  </a:cxn>
                  <a:cxn ang="0">
                    <a:pos x="675" y="2"/>
                  </a:cxn>
                  <a:cxn ang="0">
                    <a:pos x="691" y="8"/>
                  </a:cxn>
                  <a:cxn ang="0">
                    <a:pos x="706" y="17"/>
                  </a:cxn>
                  <a:cxn ang="0">
                    <a:pos x="718" y="29"/>
                  </a:cxn>
                  <a:cxn ang="0">
                    <a:pos x="728" y="44"/>
                  </a:cxn>
                  <a:cxn ang="0">
                    <a:pos x="733" y="60"/>
                  </a:cxn>
                  <a:cxn ang="0">
                    <a:pos x="736" y="79"/>
                  </a:cxn>
                  <a:cxn ang="0">
                    <a:pos x="736" y="1776"/>
                  </a:cxn>
                  <a:cxn ang="0">
                    <a:pos x="733" y="1794"/>
                  </a:cxn>
                  <a:cxn ang="0">
                    <a:pos x="728" y="1811"/>
                  </a:cxn>
                  <a:cxn ang="0">
                    <a:pos x="718" y="1825"/>
                  </a:cxn>
                  <a:cxn ang="0">
                    <a:pos x="706" y="1838"/>
                  </a:cxn>
                  <a:cxn ang="0">
                    <a:pos x="691" y="1847"/>
                  </a:cxn>
                  <a:cxn ang="0">
                    <a:pos x="675" y="1853"/>
                  </a:cxn>
                  <a:cxn ang="0">
                    <a:pos x="657" y="1855"/>
                  </a:cxn>
                  <a:cxn ang="0">
                    <a:pos x="79" y="1855"/>
                  </a:cxn>
                  <a:cxn ang="0">
                    <a:pos x="61" y="1853"/>
                  </a:cxn>
                  <a:cxn ang="0">
                    <a:pos x="44" y="1847"/>
                  </a:cxn>
                  <a:cxn ang="0">
                    <a:pos x="30" y="1838"/>
                  </a:cxn>
                  <a:cxn ang="0">
                    <a:pos x="17" y="1825"/>
                  </a:cxn>
                  <a:cxn ang="0">
                    <a:pos x="8" y="1811"/>
                  </a:cxn>
                  <a:cxn ang="0">
                    <a:pos x="2" y="1794"/>
                  </a:cxn>
                  <a:cxn ang="0">
                    <a:pos x="0" y="1776"/>
                  </a:cxn>
                  <a:cxn ang="0">
                    <a:pos x="0" y="79"/>
                  </a:cxn>
                  <a:cxn ang="0">
                    <a:pos x="2" y="60"/>
                  </a:cxn>
                  <a:cxn ang="0">
                    <a:pos x="8" y="44"/>
                  </a:cxn>
                  <a:cxn ang="0">
                    <a:pos x="17" y="29"/>
                  </a:cxn>
                  <a:cxn ang="0">
                    <a:pos x="30" y="17"/>
                  </a:cxn>
                  <a:cxn ang="0">
                    <a:pos x="44" y="8"/>
                  </a:cxn>
                  <a:cxn ang="0">
                    <a:pos x="61" y="2"/>
                  </a:cxn>
                  <a:cxn ang="0">
                    <a:pos x="79" y="0"/>
                  </a:cxn>
                </a:cxnLst>
                <a:rect l="0" t="0" r="r" b="b"/>
                <a:pathLst>
                  <a:path w="736" h="1855">
                    <a:moveTo>
                      <a:pt x="79" y="0"/>
                    </a:moveTo>
                    <a:lnTo>
                      <a:pt x="657" y="0"/>
                    </a:lnTo>
                    <a:lnTo>
                      <a:pt x="675" y="2"/>
                    </a:lnTo>
                    <a:lnTo>
                      <a:pt x="691" y="8"/>
                    </a:lnTo>
                    <a:lnTo>
                      <a:pt x="706" y="17"/>
                    </a:lnTo>
                    <a:lnTo>
                      <a:pt x="718" y="29"/>
                    </a:lnTo>
                    <a:lnTo>
                      <a:pt x="728" y="44"/>
                    </a:lnTo>
                    <a:lnTo>
                      <a:pt x="733" y="60"/>
                    </a:lnTo>
                    <a:lnTo>
                      <a:pt x="736" y="79"/>
                    </a:lnTo>
                    <a:lnTo>
                      <a:pt x="736" y="1776"/>
                    </a:lnTo>
                    <a:lnTo>
                      <a:pt x="733" y="1794"/>
                    </a:lnTo>
                    <a:lnTo>
                      <a:pt x="728" y="1811"/>
                    </a:lnTo>
                    <a:lnTo>
                      <a:pt x="718" y="1825"/>
                    </a:lnTo>
                    <a:lnTo>
                      <a:pt x="706" y="1838"/>
                    </a:lnTo>
                    <a:lnTo>
                      <a:pt x="691" y="1847"/>
                    </a:lnTo>
                    <a:lnTo>
                      <a:pt x="675" y="1853"/>
                    </a:lnTo>
                    <a:lnTo>
                      <a:pt x="657" y="1855"/>
                    </a:lnTo>
                    <a:lnTo>
                      <a:pt x="79" y="1855"/>
                    </a:lnTo>
                    <a:lnTo>
                      <a:pt x="61" y="1853"/>
                    </a:lnTo>
                    <a:lnTo>
                      <a:pt x="44" y="1847"/>
                    </a:lnTo>
                    <a:lnTo>
                      <a:pt x="30" y="1838"/>
                    </a:lnTo>
                    <a:lnTo>
                      <a:pt x="17" y="1825"/>
                    </a:lnTo>
                    <a:lnTo>
                      <a:pt x="8" y="1811"/>
                    </a:lnTo>
                    <a:lnTo>
                      <a:pt x="2" y="1794"/>
                    </a:lnTo>
                    <a:lnTo>
                      <a:pt x="0" y="1776"/>
                    </a:lnTo>
                    <a:lnTo>
                      <a:pt x="0" y="79"/>
                    </a:lnTo>
                    <a:lnTo>
                      <a:pt x="2" y="60"/>
                    </a:lnTo>
                    <a:lnTo>
                      <a:pt x="8" y="44"/>
                    </a:lnTo>
                    <a:lnTo>
                      <a:pt x="17" y="29"/>
                    </a:lnTo>
                    <a:lnTo>
                      <a:pt x="30" y="17"/>
                    </a:lnTo>
                    <a:lnTo>
                      <a:pt x="44" y="8"/>
                    </a:lnTo>
                    <a:lnTo>
                      <a:pt x="61" y="2"/>
                    </a:lnTo>
                    <a:lnTo>
                      <a:pt x="79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95000"/>
                      <a:lumOff val="5000"/>
                    </a:schemeClr>
                  </a:gs>
                  <a:gs pos="100000">
                    <a:schemeClr val="tx1">
                      <a:lumMod val="75000"/>
                      <a:lumOff val="2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4" name="Freeform 8"/>
              <p:cNvSpPr>
                <a:spLocks noEditPoints="1"/>
              </p:cNvSpPr>
              <p:nvPr/>
            </p:nvSpPr>
            <p:spPr bwMode="auto">
              <a:xfrm>
                <a:off x="2226018" y="1676400"/>
                <a:ext cx="1140482" cy="2835299"/>
              </a:xfrm>
              <a:custGeom>
                <a:avLst/>
                <a:gdLst/>
                <a:ahLst/>
                <a:cxnLst>
                  <a:cxn ang="0">
                    <a:pos x="72" y="19"/>
                  </a:cxn>
                  <a:cxn ang="0">
                    <a:pos x="44" y="33"/>
                  </a:cxn>
                  <a:cxn ang="0">
                    <a:pos x="25" y="56"/>
                  </a:cxn>
                  <a:cxn ang="0">
                    <a:pos x="18" y="88"/>
                  </a:cxn>
                  <a:cxn ang="0">
                    <a:pos x="20" y="1801"/>
                  </a:cxn>
                  <a:cxn ang="0">
                    <a:pos x="33" y="1829"/>
                  </a:cxn>
                  <a:cxn ang="0">
                    <a:pos x="57" y="1848"/>
                  </a:cxn>
                  <a:cxn ang="0">
                    <a:pos x="88" y="1855"/>
                  </a:cxn>
                  <a:cxn ang="0">
                    <a:pos x="682" y="1853"/>
                  </a:cxn>
                  <a:cxn ang="0">
                    <a:pos x="709" y="1840"/>
                  </a:cxn>
                  <a:cxn ang="0">
                    <a:pos x="729" y="1816"/>
                  </a:cxn>
                  <a:cxn ang="0">
                    <a:pos x="735" y="1785"/>
                  </a:cxn>
                  <a:cxn ang="0">
                    <a:pos x="734" y="72"/>
                  </a:cxn>
                  <a:cxn ang="0">
                    <a:pos x="720" y="44"/>
                  </a:cxn>
                  <a:cxn ang="0">
                    <a:pos x="697" y="25"/>
                  </a:cxn>
                  <a:cxn ang="0">
                    <a:pos x="666" y="18"/>
                  </a:cxn>
                  <a:cxn ang="0">
                    <a:pos x="88" y="0"/>
                  </a:cxn>
                  <a:cxn ang="0">
                    <a:pos x="686" y="3"/>
                  </a:cxn>
                  <a:cxn ang="0">
                    <a:pos x="720" y="19"/>
                  </a:cxn>
                  <a:cxn ang="0">
                    <a:pos x="744" y="49"/>
                  </a:cxn>
                  <a:cxn ang="0">
                    <a:pos x="753" y="88"/>
                  </a:cxn>
                  <a:cxn ang="0">
                    <a:pos x="751" y="1805"/>
                  </a:cxn>
                  <a:cxn ang="0">
                    <a:pos x="734" y="1840"/>
                  </a:cxn>
                  <a:cxn ang="0">
                    <a:pos x="704" y="1863"/>
                  </a:cxn>
                  <a:cxn ang="0">
                    <a:pos x="666" y="1872"/>
                  </a:cxn>
                  <a:cxn ang="0">
                    <a:pos x="68" y="1870"/>
                  </a:cxn>
                  <a:cxn ang="0">
                    <a:pos x="33" y="1853"/>
                  </a:cxn>
                  <a:cxn ang="0">
                    <a:pos x="10" y="1824"/>
                  </a:cxn>
                  <a:cxn ang="0">
                    <a:pos x="0" y="1785"/>
                  </a:cxn>
                  <a:cxn ang="0">
                    <a:pos x="3" y="67"/>
                  </a:cxn>
                  <a:cxn ang="0">
                    <a:pos x="20" y="33"/>
                  </a:cxn>
                  <a:cxn ang="0">
                    <a:pos x="50" y="9"/>
                  </a:cxn>
                  <a:cxn ang="0">
                    <a:pos x="88" y="0"/>
                  </a:cxn>
                </a:cxnLst>
                <a:rect l="0" t="0" r="r" b="b"/>
                <a:pathLst>
                  <a:path w="753" h="1872">
                    <a:moveTo>
                      <a:pt x="88" y="18"/>
                    </a:moveTo>
                    <a:lnTo>
                      <a:pt x="72" y="19"/>
                    </a:lnTo>
                    <a:lnTo>
                      <a:pt x="57" y="25"/>
                    </a:lnTo>
                    <a:lnTo>
                      <a:pt x="44" y="33"/>
                    </a:lnTo>
                    <a:lnTo>
                      <a:pt x="33" y="44"/>
                    </a:lnTo>
                    <a:lnTo>
                      <a:pt x="25" y="56"/>
                    </a:lnTo>
                    <a:lnTo>
                      <a:pt x="20" y="72"/>
                    </a:lnTo>
                    <a:lnTo>
                      <a:pt x="18" y="88"/>
                    </a:lnTo>
                    <a:lnTo>
                      <a:pt x="18" y="1785"/>
                    </a:lnTo>
                    <a:lnTo>
                      <a:pt x="20" y="1801"/>
                    </a:lnTo>
                    <a:lnTo>
                      <a:pt x="25" y="1816"/>
                    </a:lnTo>
                    <a:lnTo>
                      <a:pt x="33" y="1829"/>
                    </a:lnTo>
                    <a:lnTo>
                      <a:pt x="44" y="1840"/>
                    </a:lnTo>
                    <a:lnTo>
                      <a:pt x="57" y="1848"/>
                    </a:lnTo>
                    <a:lnTo>
                      <a:pt x="72" y="1853"/>
                    </a:lnTo>
                    <a:lnTo>
                      <a:pt x="88" y="1855"/>
                    </a:lnTo>
                    <a:lnTo>
                      <a:pt x="666" y="1855"/>
                    </a:lnTo>
                    <a:lnTo>
                      <a:pt x="682" y="1853"/>
                    </a:lnTo>
                    <a:lnTo>
                      <a:pt x="697" y="1848"/>
                    </a:lnTo>
                    <a:lnTo>
                      <a:pt x="709" y="1840"/>
                    </a:lnTo>
                    <a:lnTo>
                      <a:pt x="720" y="1829"/>
                    </a:lnTo>
                    <a:lnTo>
                      <a:pt x="729" y="1816"/>
                    </a:lnTo>
                    <a:lnTo>
                      <a:pt x="734" y="1801"/>
                    </a:lnTo>
                    <a:lnTo>
                      <a:pt x="735" y="1785"/>
                    </a:lnTo>
                    <a:lnTo>
                      <a:pt x="735" y="88"/>
                    </a:lnTo>
                    <a:lnTo>
                      <a:pt x="734" y="72"/>
                    </a:lnTo>
                    <a:lnTo>
                      <a:pt x="729" y="56"/>
                    </a:lnTo>
                    <a:lnTo>
                      <a:pt x="720" y="44"/>
                    </a:lnTo>
                    <a:lnTo>
                      <a:pt x="709" y="33"/>
                    </a:lnTo>
                    <a:lnTo>
                      <a:pt x="697" y="25"/>
                    </a:lnTo>
                    <a:lnTo>
                      <a:pt x="682" y="19"/>
                    </a:lnTo>
                    <a:lnTo>
                      <a:pt x="666" y="18"/>
                    </a:lnTo>
                    <a:lnTo>
                      <a:pt x="88" y="18"/>
                    </a:lnTo>
                    <a:close/>
                    <a:moveTo>
                      <a:pt x="88" y="0"/>
                    </a:moveTo>
                    <a:lnTo>
                      <a:pt x="666" y="0"/>
                    </a:lnTo>
                    <a:lnTo>
                      <a:pt x="686" y="3"/>
                    </a:lnTo>
                    <a:lnTo>
                      <a:pt x="704" y="9"/>
                    </a:lnTo>
                    <a:lnTo>
                      <a:pt x="720" y="19"/>
                    </a:lnTo>
                    <a:lnTo>
                      <a:pt x="734" y="33"/>
                    </a:lnTo>
                    <a:lnTo>
                      <a:pt x="744" y="49"/>
                    </a:lnTo>
                    <a:lnTo>
                      <a:pt x="751" y="67"/>
                    </a:lnTo>
                    <a:lnTo>
                      <a:pt x="753" y="88"/>
                    </a:lnTo>
                    <a:lnTo>
                      <a:pt x="753" y="1785"/>
                    </a:lnTo>
                    <a:lnTo>
                      <a:pt x="751" y="1805"/>
                    </a:lnTo>
                    <a:lnTo>
                      <a:pt x="744" y="1824"/>
                    </a:lnTo>
                    <a:lnTo>
                      <a:pt x="734" y="1840"/>
                    </a:lnTo>
                    <a:lnTo>
                      <a:pt x="720" y="1853"/>
                    </a:lnTo>
                    <a:lnTo>
                      <a:pt x="704" y="1863"/>
                    </a:lnTo>
                    <a:lnTo>
                      <a:pt x="686" y="1870"/>
                    </a:lnTo>
                    <a:lnTo>
                      <a:pt x="666" y="1872"/>
                    </a:lnTo>
                    <a:lnTo>
                      <a:pt x="88" y="1872"/>
                    </a:lnTo>
                    <a:lnTo>
                      <a:pt x="68" y="1870"/>
                    </a:lnTo>
                    <a:lnTo>
                      <a:pt x="50" y="1863"/>
                    </a:lnTo>
                    <a:lnTo>
                      <a:pt x="33" y="1853"/>
                    </a:lnTo>
                    <a:lnTo>
                      <a:pt x="20" y="1840"/>
                    </a:lnTo>
                    <a:lnTo>
                      <a:pt x="10" y="1824"/>
                    </a:lnTo>
                    <a:lnTo>
                      <a:pt x="3" y="1805"/>
                    </a:lnTo>
                    <a:lnTo>
                      <a:pt x="0" y="1785"/>
                    </a:lnTo>
                    <a:lnTo>
                      <a:pt x="0" y="88"/>
                    </a:lnTo>
                    <a:lnTo>
                      <a:pt x="3" y="67"/>
                    </a:lnTo>
                    <a:lnTo>
                      <a:pt x="10" y="49"/>
                    </a:lnTo>
                    <a:lnTo>
                      <a:pt x="20" y="33"/>
                    </a:lnTo>
                    <a:lnTo>
                      <a:pt x="33" y="19"/>
                    </a:lnTo>
                    <a:lnTo>
                      <a:pt x="50" y="9"/>
                    </a:lnTo>
                    <a:lnTo>
                      <a:pt x="68" y="3"/>
                    </a:lnTo>
                    <a:lnTo>
                      <a:pt x="88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  <a:shade val="30000"/>
                      <a:satMod val="115000"/>
                    </a:schemeClr>
                  </a:gs>
                  <a:gs pos="50000">
                    <a:schemeClr val="tx1">
                      <a:lumMod val="75000"/>
                      <a:lumOff val="25000"/>
                      <a:shade val="67500"/>
                      <a:satMod val="115000"/>
                    </a:schemeClr>
                  </a:gs>
                  <a:gs pos="100000">
                    <a:schemeClr val="tx1">
                      <a:lumMod val="75000"/>
                      <a:lumOff val="2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5" name="Freeform 24"/>
              <p:cNvSpPr>
                <a:spLocks/>
              </p:cNvSpPr>
              <p:nvPr/>
            </p:nvSpPr>
            <p:spPr bwMode="auto">
              <a:xfrm>
                <a:off x="1903412" y="1853606"/>
                <a:ext cx="322607" cy="75880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3" y="0"/>
                  </a:cxn>
                  <a:cxn ang="0">
                    <a:pos x="213" y="501"/>
                  </a:cxn>
                  <a:cxn ang="0">
                    <a:pos x="163" y="501"/>
                  </a:cxn>
                  <a:cxn ang="0">
                    <a:pos x="163" y="250"/>
                  </a:cxn>
                  <a:cxn ang="0">
                    <a:pos x="0" y="0"/>
                  </a:cxn>
                </a:cxnLst>
                <a:rect l="0" t="0" r="r" b="b"/>
                <a:pathLst>
                  <a:path w="213" h="501">
                    <a:moveTo>
                      <a:pt x="0" y="0"/>
                    </a:moveTo>
                    <a:lnTo>
                      <a:pt x="213" y="0"/>
                    </a:lnTo>
                    <a:lnTo>
                      <a:pt x="213" y="501"/>
                    </a:lnTo>
                    <a:lnTo>
                      <a:pt x="163" y="501"/>
                    </a:lnTo>
                    <a:lnTo>
                      <a:pt x="163" y="25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6" name="Freeform 25"/>
              <p:cNvSpPr>
                <a:spLocks/>
              </p:cNvSpPr>
              <p:nvPr/>
            </p:nvSpPr>
            <p:spPr bwMode="auto">
              <a:xfrm>
                <a:off x="1903412" y="2724491"/>
                <a:ext cx="322607" cy="75880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3" y="0"/>
                  </a:cxn>
                  <a:cxn ang="0">
                    <a:pos x="213" y="501"/>
                  </a:cxn>
                  <a:cxn ang="0">
                    <a:pos x="163" y="501"/>
                  </a:cxn>
                  <a:cxn ang="0">
                    <a:pos x="163" y="250"/>
                  </a:cxn>
                  <a:cxn ang="0">
                    <a:pos x="0" y="0"/>
                  </a:cxn>
                </a:cxnLst>
                <a:rect l="0" t="0" r="r" b="b"/>
                <a:pathLst>
                  <a:path w="213" h="501">
                    <a:moveTo>
                      <a:pt x="0" y="0"/>
                    </a:moveTo>
                    <a:lnTo>
                      <a:pt x="213" y="0"/>
                    </a:lnTo>
                    <a:lnTo>
                      <a:pt x="213" y="501"/>
                    </a:lnTo>
                    <a:lnTo>
                      <a:pt x="163" y="501"/>
                    </a:lnTo>
                    <a:lnTo>
                      <a:pt x="163" y="25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7" name="Freeform 26"/>
              <p:cNvSpPr>
                <a:spLocks/>
              </p:cNvSpPr>
              <p:nvPr/>
            </p:nvSpPr>
            <p:spPr bwMode="auto">
              <a:xfrm>
                <a:off x="1903412" y="3554483"/>
                <a:ext cx="322607" cy="75729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3" y="0"/>
                  </a:cxn>
                  <a:cxn ang="0">
                    <a:pos x="213" y="500"/>
                  </a:cxn>
                  <a:cxn ang="0">
                    <a:pos x="163" y="500"/>
                  </a:cxn>
                  <a:cxn ang="0">
                    <a:pos x="163" y="250"/>
                  </a:cxn>
                  <a:cxn ang="0">
                    <a:pos x="0" y="0"/>
                  </a:cxn>
                </a:cxnLst>
                <a:rect l="0" t="0" r="r" b="b"/>
                <a:pathLst>
                  <a:path w="213" h="500">
                    <a:moveTo>
                      <a:pt x="0" y="0"/>
                    </a:moveTo>
                    <a:lnTo>
                      <a:pt x="213" y="0"/>
                    </a:lnTo>
                    <a:lnTo>
                      <a:pt x="213" y="500"/>
                    </a:lnTo>
                    <a:lnTo>
                      <a:pt x="163" y="500"/>
                    </a:lnTo>
                    <a:lnTo>
                      <a:pt x="163" y="25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8" name="Freeform 27"/>
              <p:cNvSpPr>
                <a:spLocks/>
              </p:cNvSpPr>
              <p:nvPr/>
            </p:nvSpPr>
            <p:spPr bwMode="auto">
              <a:xfrm>
                <a:off x="3358926" y="1853606"/>
                <a:ext cx="321092" cy="75880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2" y="0"/>
                  </a:cxn>
                  <a:cxn ang="0">
                    <a:pos x="50" y="250"/>
                  </a:cxn>
                  <a:cxn ang="0">
                    <a:pos x="50" y="501"/>
                  </a:cxn>
                  <a:cxn ang="0">
                    <a:pos x="0" y="501"/>
                  </a:cxn>
                  <a:cxn ang="0">
                    <a:pos x="0" y="0"/>
                  </a:cxn>
                </a:cxnLst>
                <a:rect l="0" t="0" r="r" b="b"/>
                <a:pathLst>
                  <a:path w="212" h="501">
                    <a:moveTo>
                      <a:pt x="0" y="0"/>
                    </a:moveTo>
                    <a:lnTo>
                      <a:pt x="212" y="0"/>
                    </a:lnTo>
                    <a:lnTo>
                      <a:pt x="50" y="250"/>
                    </a:lnTo>
                    <a:lnTo>
                      <a:pt x="50" y="501"/>
                    </a:lnTo>
                    <a:lnTo>
                      <a:pt x="0" y="501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9" name="Freeform 28"/>
              <p:cNvSpPr>
                <a:spLocks/>
              </p:cNvSpPr>
              <p:nvPr/>
            </p:nvSpPr>
            <p:spPr bwMode="auto">
              <a:xfrm>
                <a:off x="3358926" y="2724491"/>
                <a:ext cx="321092" cy="75880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2" y="0"/>
                  </a:cxn>
                  <a:cxn ang="0">
                    <a:pos x="50" y="250"/>
                  </a:cxn>
                  <a:cxn ang="0">
                    <a:pos x="50" y="501"/>
                  </a:cxn>
                  <a:cxn ang="0">
                    <a:pos x="0" y="501"/>
                  </a:cxn>
                  <a:cxn ang="0">
                    <a:pos x="0" y="0"/>
                  </a:cxn>
                </a:cxnLst>
                <a:rect l="0" t="0" r="r" b="b"/>
                <a:pathLst>
                  <a:path w="212" h="501">
                    <a:moveTo>
                      <a:pt x="0" y="0"/>
                    </a:moveTo>
                    <a:lnTo>
                      <a:pt x="212" y="0"/>
                    </a:lnTo>
                    <a:lnTo>
                      <a:pt x="50" y="250"/>
                    </a:lnTo>
                    <a:lnTo>
                      <a:pt x="50" y="501"/>
                    </a:lnTo>
                    <a:lnTo>
                      <a:pt x="0" y="501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60" name="Freeform 29"/>
              <p:cNvSpPr>
                <a:spLocks/>
              </p:cNvSpPr>
              <p:nvPr/>
            </p:nvSpPr>
            <p:spPr bwMode="auto">
              <a:xfrm>
                <a:off x="3358926" y="3554483"/>
                <a:ext cx="321092" cy="75729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2" y="0"/>
                  </a:cxn>
                  <a:cxn ang="0">
                    <a:pos x="50" y="250"/>
                  </a:cxn>
                  <a:cxn ang="0">
                    <a:pos x="50" y="500"/>
                  </a:cxn>
                  <a:cxn ang="0">
                    <a:pos x="0" y="500"/>
                  </a:cxn>
                  <a:cxn ang="0">
                    <a:pos x="0" y="0"/>
                  </a:cxn>
                </a:cxnLst>
                <a:rect l="0" t="0" r="r" b="b"/>
                <a:pathLst>
                  <a:path w="212" h="500">
                    <a:moveTo>
                      <a:pt x="0" y="0"/>
                    </a:moveTo>
                    <a:lnTo>
                      <a:pt x="212" y="0"/>
                    </a:lnTo>
                    <a:lnTo>
                      <a:pt x="50" y="250"/>
                    </a:lnTo>
                    <a:lnTo>
                      <a:pt x="50" y="500"/>
                    </a:lnTo>
                    <a:lnTo>
                      <a:pt x="0" y="50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grpSp>
            <p:nvGrpSpPr>
              <p:cNvPr id="461" name="Group 33"/>
              <p:cNvGrpSpPr/>
              <p:nvPr/>
            </p:nvGrpSpPr>
            <p:grpSpPr>
              <a:xfrm>
                <a:off x="2442604" y="1894500"/>
                <a:ext cx="708825" cy="707311"/>
                <a:chOff x="5722938" y="1676401"/>
                <a:chExt cx="742950" cy="741363"/>
              </a:xfrm>
              <a:effectLst>
                <a:outerShdw blurRad="38100" dist="63500" dir="2700000" algn="tl" rotWithShape="0">
                  <a:prstClr val="black">
                    <a:alpha val="99000"/>
                  </a:prstClr>
                </a:outerShdw>
              </a:effectLst>
            </p:grpSpPr>
            <p:sp>
              <p:nvSpPr>
                <p:cNvPr id="468" name="Freeform 17"/>
                <p:cNvSpPr>
                  <a:spLocks/>
                </p:cNvSpPr>
                <p:nvPr/>
              </p:nvSpPr>
              <p:spPr bwMode="auto">
                <a:xfrm>
                  <a:off x="5722938" y="1676401"/>
                  <a:ext cx="742950" cy="741363"/>
                </a:xfrm>
                <a:custGeom>
                  <a:avLst/>
                  <a:gdLst/>
                  <a:ahLst/>
                  <a:cxnLst>
                    <a:cxn ang="0">
                      <a:pos x="234" y="0"/>
                    </a:cxn>
                    <a:cxn ang="0">
                      <a:pos x="266" y="2"/>
                    </a:cxn>
                    <a:cxn ang="0">
                      <a:pos x="296" y="8"/>
                    </a:cxn>
                    <a:cxn ang="0">
                      <a:pos x="325" y="18"/>
                    </a:cxn>
                    <a:cxn ang="0">
                      <a:pos x="352" y="32"/>
                    </a:cxn>
                    <a:cxn ang="0">
                      <a:pos x="377" y="48"/>
                    </a:cxn>
                    <a:cxn ang="0">
                      <a:pos x="400" y="68"/>
                    </a:cxn>
                    <a:cxn ang="0">
                      <a:pos x="420" y="90"/>
                    </a:cxn>
                    <a:cxn ang="0">
                      <a:pos x="436" y="115"/>
                    </a:cxn>
                    <a:cxn ang="0">
                      <a:pos x="450" y="142"/>
                    </a:cxn>
                    <a:cxn ang="0">
                      <a:pos x="460" y="171"/>
                    </a:cxn>
                    <a:cxn ang="0">
                      <a:pos x="466" y="201"/>
                    </a:cxn>
                    <a:cxn ang="0">
                      <a:pos x="468" y="233"/>
                    </a:cxn>
                    <a:cxn ang="0">
                      <a:pos x="466" y="265"/>
                    </a:cxn>
                    <a:cxn ang="0">
                      <a:pos x="460" y="295"/>
                    </a:cxn>
                    <a:cxn ang="0">
                      <a:pos x="450" y="324"/>
                    </a:cxn>
                    <a:cxn ang="0">
                      <a:pos x="436" y="351"/>
                    </a:cxn>
                    <a:cxn ang="0">
                      <a:pos x="420" y="376"/>
                    </a:cxn>
                    <a:cxn ang="0">
                      <a:pos x="400" y="399"/>
                    </a:cxn>
                    <a:cxn ang="0">
                      <a:pos x="377" y="418"/>
                    </a:cxn>
                    <a:cxn ang="0">
                      <a:pos x="352" y="435"/>
                    </a:cxn>
                    <a:cxn ang="0">
                      <a:pos x="325" y="449"/>
                    </a:cxn>
                    <a:cxn ang="0">
                      <a:pos x="296" y="459"/>
                    </a:cxn>
                    <a:cxn ang="0">
                      <a:pos x="266" y="465"/>
                    </a:cxn>
                    <a:cxn ang="0">
                      <a:pos x="234" y="467"/>
                    </a:cxn>
                    <a:cxn ang="0">
                      <a:pos x="202" y="465"/>
                    </a:cxn>
                    <a:cxn ang="0">
                      <a:pos x="171" y="459"/>
                    </a:cxn>
                    <a:cxn ang="0">
                      <a:pos x="142" y="449"/>
                    </a:cxn>
                    <a:cxn ang="0">
                      <a:pos x="116" y="435"/>
                    </a:cxn>
                    <a:cxn ang="0">
                      <a:pos x="91" y="418"/>
                    </a:cxn>
                    <a:cxn ang="0">
                      <a:pos x="68" y="399"/>
                    </a:cxn>
                    <a:cxn ang="0">
                      <a:pos x="49" y="376"/>
                    </a:cxn>
                    <a:cxn ang="0">
                      <a:pos x="32" y="351"/>
                    </a:cxn>
                    <a:cxn ang="0">
                      <a:pos x="18" y="324"/>
                    </a:cxn>
                    <a:cxn ang="0">
                      <a:pos x="8" y="295"/>
                    </a:cxn>
                    <a:cxn ang="0">
                      <a:pos x="2" y="265"/>
                    </a:cxn>
                    <a:cxn ang="0">
                      <a:pos x="0" y="233"/>
                    </a:cxn>
                    <a:cxn ang="0">
                      <a:pos x="2" y="201"/>
                    </a:cxn>
                    <a:cxn ang="0">
                      <a:pos x="8" y="171"/>
                    </a:cxn>
                    <a:cxn ang="0">
                      <a:pos x="18" y="142"/>
                    </a:cxn>
                    <a:cxn ang="0">
                      <a:pos x="32" y="115"/>
                    </a:cxn>
                    <a:cxn ang="0">
                      <a:pos x="49" y="90"/>
                    </a:cxn>
                    <a:cxn ang="0">
                      <a:pos x="68" y="68"/>
                    </a:cxn>
                    <a:cxn ang="0">
                      <a:pos x="91" y="48"/>
                    </a:cxn>
                    <a:cxn ang="0">
                      <a:pos x="116" y="32"/>
                    </a:cxn>
                    <a:cxn ang="0">
                      <a:pos x="142" y="18"/>
                    </a:cxn>
                    <a:cxn ang="0">
                      <a:pos x="171" y="8"/>
                    </a:cxn>
                    <a:cxn ang="0">
                      <a:pos x="202" y="2"/>
                    </a:cxn>
                    <a:cxn ang="0">
                      <a:pos x="234" y="0"/>
                    </a:cxn>
                  </a:cxnLst>
                  <a:rect l="0" t="0" r="r" b="b"/>
                  <a:pathLst>
                    <a:path w="468" h="467">
                      <a:moveTo>
                        <a:pt x="234" y="0"/>
                      </a:moveTo>
                      <a:lnTo>
                        <a:pt x="266" y="2"/>
                      </a:lnTo>
                      <a:lnTo>
                        <a:pt x="296" y="8"/>
                      </a:lnTo>
                      <a:lnTo>
                        <a:pt x="325" y="18"/>
                      </a:lnTo>
                      <a:lnTo>
                        <a:pt x="352" y="32"/>
                      </a:lnTo>
                      <a:lnTo>
                        <a:pt x="377" y="48"/>
                      </a:lnTo>
                      <a:lnTo>
                        <a:pt x="400" y="68"/>
                      </a:lnTo>
                      <a:lnTo>
                        <a:pt x="420" y="90"/>
                      </a:lnTo>
                      <a:lnTo>
                        <a:pt x="436" y="115"/>
                      </a:lnTo>
                      <a:lnTo>
                        <a:pt x="450" y="142"/>
                      </a:lnTo>
                      <a:lnTo>
                        <a:pt x="460" y="171"/>
                      </a:lnTo>
                      <a:lnTo>
                        <a:pt x="466" y="201"/>
                      </a:lnTo>
                      <a:lnTo>
                        <a:pt x="468" y="233"/>
                      </a:lnTo>
                      <a:lnTo>
                        <a:pt x="466" y="265"/>
                      </a:lnTo>
                      <a:lnTo>
                        <a:pt x="460" y="295"/>
                      </a:lnTo>
                      <a:lnTo>
                        <a:pt x="450" y="324"/>
                      </a:lnTo>
                      <a:lnTo>
                        <a:pt x="436" y="351"/>
                      </a:lnTo>
                      <a:lnTo>
                        <a:pt x="420" y="376"/>
                      </a:lnTo>
                      <a:lnTo>
                        <a:pt x="400" y="399"/>
                      </a:lnTo>
                      <a:lnTo>
                        <a:pt x="377" y="418"/>
                      </a:lnTo>
                      <a:lnTo>
                        <a:pt x="352" y="435"/>
                      </a:lnTo>
                      <a:lnTo>
                        <a:pt x="325" y="449"/>
                      </a:lnTo>
                      <a:lnTo>
                        <a:pt x="296" y="459"/>
                      </a:lnTo>
                      <a:lnTo>
                        <a:pt x="266" y="465"/>
                      </a:lnTo>
                      <a:lnTo>
                        <a:pt x="234" y="467"/>
                      </a:lnTo>
                      <a:lnTo>
                        <a:pt x="202" y="465"/>
                      </a:lnTo>
                      <a:lnTo>
                        <a:pt x="171" y="459"/>
                      </a:lnTo>
                      <a:lnTo>
                        <a:pt x="142" y="449"/>
                      </a:lnTo>
                      <a:lnTo>
                        <a:pt x="116" y="435"/>
                      </a:lnTo>
                      <a:lnTo>
                        <a:pt x="91" y="418"/>
                      </a:lnTo>
                      <a:lnTo>
                        <a:pt x="68" y="399"/>
                      </a:lnTo>
                      <a:lnTo>
                        <a:pt x="49" y="376"/>
                      </a:lnTo>
                      <a:lnTo>
                        <a:pt x="32" y="351"/>
                      </a:lnTo>
                      <a:lnTo>
                        <a:pt x="18" y="324"/>
                      </a:lnTo>
                      <a:lnTo>
                        <a:pt x="8" y="295"/>
                      </a:lnTo>
                      <a:lnTo>
                        <a:pt x="2" y="265"/>
                      </a:lnTo>
                      <a:lnTo>
                        <a:pt x="0" y="233"/>
                      </a:lnTo>
                      <a:lnTo>
                        <a:pt x="2" y="201"/>
                      </a:lnTo>
                      <a:lnTo>
                        <a:pt x="8" y="171"/>
                      </a:lnTo>
                      <a:lnTo>
                        <a:pt x="18" y="142"/>
                      </a:lnTo>
                      <a:lnTo>
                        <a:pt x="32" y="115"/>
                      </a:lnTo>
                      <a:lnTo>
                        <a:pt x="49" y="90"/>
                      </a:lnTo>
                      <a:lnTo>
                        <a:pt x="68" y="68"/>
                      </a:lnTo>
                      <a:lnTo>
                        <a:pt x="91" y="48"/>
                      </a:lnTo>
                      <a:lnTo>
                        <a:pt x="116" y="32"/>
                      </a:lnTo>
                      <a:lnTo>
                        <a:pt x="142" y="18"/>
                      </a:lnTo>
                      <a:lnTo>
                        <a:pt x="171" y="8"/>
                      </a:lnTo>
                      <a:lnTo>
                        <a:pt x="202" y="2"/>
                      </a:lnTo>
                      <a:lnTo>
                        <a:pt x="234" y="0"/>
                      </a:lnTo>
                      <a:close/>
                    </a:path>
                  </a:pathLst>
                </a:custGeom>
                <a:noFill/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128302" tIns="64151" rIns="128302" bIns="6415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710448"/>
                  <a:endParaRPr lang="en-US" sz="3368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469" name="Freeform 18"/>
                <p:cNvSpPr>
                  <a:spLocks/>
                </p:cNvSpPr>
                <p:nvPr/>
              </p:nvSpPr>
              <p:spPr bwMode="auto">
                <a:xfrm>
                  <a:off x="5746750" y="2032001"/>
                  <a:ext cx="695325" cy="36036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" y="31"/>
                    </a:cxn>
                    <a:cxn ang="0">
                      <a:pos x="12" y="61"/>
                    </a:cxn>
                    <a:cxn ang="0">
                      <a:pos x="23" y="89"/>
                    </a:cxn>
                    <a:cxn ang="0">
                      <a:pos x="38" y="115"/>
                    </a:cxn>
                    <a:cxn ang="0">
                      <a:pos x="56" y="138"/>
                    </a:cxn>
                    <a:cxn ang="0">
                      <a:pos x="78" y="159"/>
                    </a:cxn>
                    <a:cxn ang="0">
                      <a:pos x="102" y="176"/>
                    </a:cxn>
                    <a:cxn ang="0">
                      <a:pos x="128" y="190"/>
                    </a:cxn>
                    <a:cxn ang="0">
                      <a:pos x="157" y="200"/>
                    </a:cxn>
                    <a:cxn ang="0">
                      <a:pos x="187" y="207"/>
                    </a:cxn>
                    <a:cxn ang="0">
                      <a:pos x="219" y="209"/>
                    </a:cxn>
                    <a:cxn ang="0">
                      <a:pos x="250" y="207"/>
                    </a:cxn>
                    <a:cxn ang="0">
                      <a:pos x="280" y="200"/>
                    </a:cxn>
                    <a:cxn ang="0">
                      <a:pos x="309" y="190"/>
                    </a:cxn>
                    <a:cxn ang="0">
                      <a:pos x="335" y="176"/>
                    </a:cxn>
                    <a:cxn ang="0">
                      <a:pos x="360" y="159"/>
                    </a:cxn>
                    <a:cxn ang="0">
                      <a:pos x="381" y="138"/>
                    </a:cxn>
                    <a:cxn ang="0">
                      <a:pos x="399" y="115"/>
                    </a:cxn>
                    <a:cxn ang="0">
                      <a:pos x="414" y="89"/>
                    </a:cxn>
                    <a:cxn ang="0">
                      <a:pos x="426" y="61"/>
                    </a:cxn>
                    <a:cxn ang="0">
                      <a:pos x="433" y="31"/>
                    </a:cxn>
                    <a:cxn ang="0">
                      <a:pos x="437" y="0"/>
                    </a:cxn>
                    <a:cxn ang="0">
                      <a:pos x="437" y="3"/>
                    </a:cxn>
                    <a:cxn ang="0">
                      <a:pos x="438" y="6"/>
                    </a:cxn>
                    <a:cxn ang="0">
                      <a:pos x="438" y="8"/>
                    </a:cxn>
                    <a:cxn ang="0">
                      <a:pos x="436" y="41"/>
                    </a:cxn>
                    <a:cxn ang="0">
                      <a:pos x="429" y="71"/>
                    </a:cxn>
                    <a:cxn ang="0">
                      <a:pos x="417" y="100"/>
                    </a:cxn>
                    <a:cxn ang="0">
                      <a:pos x="403" y="127"/>
                    </a:cxn>
                    <a:cxn ang="0">
                      <a:pos x="384" y="152"/>
                    </a:cxn>
                    <a:cxn ang="0">
                      <a:pos x="363" y="173"/>
                    </a:cxn>
                    <a:cxn ang="0">
                      <a:pos x="338" y="192"/>
                    </a:cxn>
                    <a:cxn ang="0">
                      <a:pos x="311" y="206"/>
                    </a:cxn>
                    <a:cxn ang="0">
                      <a:pos x="282" y="218"/>
                    </a:cxn>
                    <a:cxn ang="0">
                      <a:pos x="251" y="225"/>
                    </a:cxn>
                    <a:cxn ang="0">
                      <a:pos x="219" y="227"/>
                    </a:cxn>
                    <a:cxn ang="0">
                      <a:pos x="186" y="225"/>
                    </a:cxn>
                    <a:cxn ang="0">
                      <a:pos x="155" y="218"/>
                    </a:cxn>
                    <a:cxn ang="0">
                      <a:pos x="127" y="206"/>
                    </a:cxn>
                    <a:cxn ang="0">
                      <a:pos x="100" y="192"/>
                    </a:cxn>
                    <a:cxn ang="0">
                      <a:pos x="76" y="173"/>
                    </a:cxn>
                    <a:cxn ang="0">
                      <a:pos x="53" y="152"/>
                    </a:cxn>
                    <a:cxn ang="0">
                      <a:pos x="35" y="127"/>
                    </a:cxn>
                    <a:cxn ang="0">
                      <a:pos x="21" y="100"/>
                    </a:cxn>
                    <a:cxn ang="0">
                      <a:pos x="9" y="71"/>
                    </a:cxn>
                    <a:cxn ang="0">
                      <a:pos x="2" y="41"/>
                    </a:cxn>
                    <a:cxn ang="0">
                      <a:pos x="0" y="8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38" h="227">
                      <a:moveTo>
                        <a:pt x="0" y="0"/>
                      </a:moveTo>
                      <a:lnTo>
                        <a:pt x="4" y="31"/>
                      </a:lnTo>
                      <a:lnTo>
                        <a:pt x="12" y="61"/>
                      </a:lnTo>
                      <a:lnTo>
                        <a:pt x="23" y="89"/>
                      </a:lnTo>
                      <a:lnTo>
                        <a:pt x="38" y="115"/>
                      </a:lnTo>
                      <a:lnTo>
                        <a:pt x="56" y="138"/>
                      </a:lnTo>
                      <a:lnTo>
                        <a:pt x="78" y="159"/>
                      </a:lnTo>
                      <a:lnTo>
                        <a:pt x="102" y="176"/>
                      </a:lnTo>
                      <a:lnTo>
                        <a:pt x="128" y="190"/>
                      </a:lnTo>
                      <a:lnTo>
                        <a:pt x="157" y="200"/>
                      </a:lnTo>
                      <a:lnTo>
                        <a:pt x="187" y="207"/>
                      </a:lnTo>
                      <a:lnTo>
                        <a:pt x="219" y="209"/>
                      </a:lnTo>
                      <a:lnTo>
                        <a:pt x="250" y="207"/>
                      </a:lnTo>
                      <a:lnTo>
                        <a:pt x="280" y="200"/>
                      </a:lnTo>
                      <a:lnTo>
                        <a:pt x="309" y="190"/>
                      </a:lnTo>
                      <a:lnTo>
                        <a:pt x="335" y="176"/>
                      </a:lnTo>
                      <a:lnTo>
                        <a:pt x="360" y="159"/>
                      </a:lnTo>
                      <a:lnTo>
                        <a:pt x="381" y="138"/>
                      </a:lnTo>
                      <a:lnTo>
                        <a:pt x="399" y="115"/>
                      </a:lnTo>
                      <a:lnTo>
                        <a:pt x="414" y="89"/>
                      </a:lnTo>
                      <a:lnTo>
                        <a:pt x="426" y="61"/>
                      </a:lnTo>
                      <a:lnTo>
                        <a:pt x="433" y="31"/>
                      </a:lnTo>
                      <a:lnTo>
                        <a:pt x="437" y="0"/>
                      </a:lnTo>
                      <a:lnTo>
                        <a:pt x="437" y="3"/>
                      </a:lnTo>
                      <a:lnTo>
                        <a:pt x="438" y="6"/>
                      </a:lnTo>
                      <a:lnTo>
                        <a:pt x="438" y="8"/>
                      </a:lnTo>
                      <a:lnTo>
                        <a:pt x="436" y="41"/>
                      </a:lnTo>
                      <a:lnTo>
                        <a:pt x="429" y="71"/>
                      </a:lnTo>
                      <a:lnTo>
                        <a:pt x="417" y="100"/>
                      </a:lnTo>
                      <a:lnTo>
                        <a:pt x="403" y="127"/>
                      </a:lnTo>
                      <a:lnTo>
                        <a:pt x="384" y="152"/>
                      </a:lnTo>
                      <a:lnTo>
                        <a:pt x="363" y="173"/>
                      </a:lnTo>
                      <a:lnTo>
                        <a:pt x="338" y="192"/>
                      </a:lnTo>
                      <a:lnTo>
                        <a:pt x="311" y="206"/>
                      </a:lnTo>
                      <a:lnTo>
                        <a:pt x="282" y="218"/>
                      </a:lnTo>
                      <a:lnTo>
                        <a:pt x="251" y="225"/>
                      </a:lnTo>
                      <a:lnTo>
                        <a:pt x="219" y="227"/>
                      </a:lnTo>
                      <a:lnTo>
                        <a:pt x="186" y="225"/>
                      </a:lnTo>
                      <a:lnTo>
                        <a:pt x="155" y="218"/>
                      </a:lnTo>
                      <a:lnTo>
                        <a:pt x="127" y="206"/>
                      </a:lnTo>
                      <a:lnTo>
                        <a:pt x="100" y="192"/>
                      </a:lnTo>
                      <a:lnTo>
                        <a:pt x="76" y="173"/>
                      </a:lnTo>
                      <a:lnTo>
                        <a:pt x="53" y="152"/>
                      </a:lnTo>
                      <a:lnTo>
                        <a:pt x="35" y="127"/>
                      </a:lnTo>
                      <a:lnTo>
                        <a:pt x="21" y="100"/>
                      </a:lnTo>
                      <a:lnTo>
                        <a:pt x="9" y="71"/>
                      </a:lnTo>
                      <a:lnTo>
                        <a:pt x="2" y="41"/>
                      </a:ln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>
                    <a:alpha val="33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128302" tIns="64151" rIns="128302" bIns="6415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710448"/>
                  <a:endParaRPr lang="en-US" sz="3368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462" name="Group 34"/>
              <p:cNvGrpSpPr/>
              <p:nvPr/>
            </p:nvGrpSpPr>
            <p:grpSpPr>
              <a:xfrm>
                <a:off x="2442610" y="2692699"/>
                <a:ext cx="708826" cy="746682"/>
                <a:chOff x="5722937" y="2513024"/>
                <a:chExt cx="742950" cy="782627"/>
              </a:xfrm>
              <a:effectLst>
                <a:outerShdw blurRad="38100" dist="63500" dir="2700000" algn="tl" rotWithShape="0">
                  <a:prstClr val="black">
                    <a:alpha val="99000"/>
                  </a:prstClr>
                </a:outerShdw>
              </a:effectLst>
            </p:grpSpPr>
            <p:sp>
              <p:nvSpPr>
                <p:cNvPr id="466" name="Freeform 13"/>
                <p:cNvSpPr>
                  <a:spLocks/>
                </p:cNvSpPr>
                <p:nvPr/>
              </p:nvSpPr>
              <p:spPr bwMode="auto">
                <a:xfrm>
                  <a:off x="5722937" y="2513024"/>
                  <a:ext cx="742950" cy="741364"/>
                </a:xfrm>
                <a:custGeom>
                  <a:avLst/>
                  <a:gdLst/>
                  <a:ahLst/>
                  <a:cxnLst>
                    <a:cxn ang="0">
                      <a:pos x="234" y="0"/>
                    </a:cxn>
                    <a:cxn ang="0">
                      <a:pos x="266" y="2"/>
                    </a:cxn>
                    <a:cxn ang="0">
                      <a:pos x="296" y="8"/>
                    </a:cxn>
                    <a:cxn ang="0">
                      <a:pos x="325" y="18"/>
                    </a:cxn>
                    <a:cxn ang="0">
                      <a:pos x="352" y="32"/>
                    </a:cxn>
                    <a:cxn ang="0">
                      <a:pos x="377" y="48"/>
                    </a:cxn>
                    <a:cxn ang="0">
                      <a:pos x="400" y="68"/>
                    </a:cxn>
                    <a:cxn ang="0">
                      <a:pos x="420" y="90"/>
                    </a:cxn>
                    <a:cxn ang="0">
                      <a:pos x="436" y="115"/>
                    </a:cxn>
                    <a:cxn ang="0">
                      <a:pos x="450" y="142"/>
                    </a:cxn>
                    <a:cxn ang="0">
                      <a:pos x="460" y="171"/>
                    </a:cxn>
                    <a:cxn ang="0">
                      <a:pos x="466" y="201"/>
                    </a:cxn>
                    <a:cxn ang="0">
                      <a:pos x="468" y="233"/>
                    </a:cxn>
                    <a:cxn ang="0">
                      <a:pos x="466" y="265"/>
                    </a:cxn>
                    <a:cxn ang="0">
                      <a:pos x="460" y="295"/>
                    </a:cxn>
                    <a:cxn ang="0">
                      <a:pos x="450" y="324"/>
                    </a:cxn>
                    <a:cxn ang="0">
                      <a:pos x="436" y="351"/>
                    </a:cxn>
                    <a:cxn ang="0">
                      <a:pos x="420" y="376"/>
                    </a:cxn>
                    <a:cxn ang="0">
                      <a:pos x="400" y="398"/>
                    </a:cxn>
                    <a:cxn ang="0">
                      <a:pos x="377" y="418"/>
                    </a:cxn>
                    <a:cxn ang="0">
                      <a:pos x="352" y="435"/>
                    </a:cxn>
                    <a:cxn ang="0">
                      <a:pos x="325" y="448"/>
                    </a:cxn>
                    <a:cxn ang="0">
                      <a:pos x="296" y="458"/>
                    </a:cxn>
                    <a:cxn ang="0">
                      <a:pos x="266" y="464"/>
                    </a:cxn>
                    <a:cxn ang="0">
                      <a:pos x="234" y="467"/>
                    </a:cxn>
                    <a:cxn ang="0">
                      <a:pos x="202" y="464"/>
                    </a:cxn>
                    <a:cxn ang="0">
                      <a:pos x="171" y="458"/>
                    </a:cxn>
                    <a:cxn ang="0">
                      <a:pos x="142" y="448"/>
                    </a:cxn>
                    <a:cxn ang="0">
                      <a:pos x="116" y="435"/>
                    </a:cxn>
                    <a:cxn ang="0">
                      <a:pos x="91" y="418"/>
                    </a:cxn>
                    <a:cxn ang="0">
                      <a:pos x="68" y="398"/>
                    </a:cxn>
                    <a:cxn ang="0">
                      <a:pos x="49" y="376"/>
                    </a:cxn>
                    <a:cxn ang="0">
                      <a:pos x="32" y="351"/>
                    </a:cxn>
                    <a:cxn ang="0">
                      <a:pos x="18" y="324"/>
                    </a:cxn>
                    <a:cxn ang="0">
                      <a:pos x="8" y="295"/>
                    </a:cxn>
                    <a:cxn ang="0">
                      <a:pos x="2" y="265"/>
                    </a:cxn>
                    <a:cxn ang="0">
                      <a:pos x="0" y="233"/>
                    </a:cxn>
                    <a:cxn ang="0">
                      <a:pos x="2" y="201"/>
                    </a:cxn>
                    <a:cxn ang="0">
                      <a:pos x="8" y="171"/>
                    </a:cxn>
                    <a:cxn ang="0">
                      <a:pos x="18" y="142"/>
                    </a:cxn>
                    <a:cxn ang="0">
                      <a:pos x="32" y="115"/>
                    </a:cxn>
                    <a:cxn ang="0">
                      <a:pos x="49" y="90"/>
                    </a:cxn>
                    <a:cxn ang="0">
                      <a:pos x="68" y="68"/>
                    </a:cxn>
                    <a:cxn ang="0">
                      <a:pos x="91" y="48"/>
                    </a:cxn>
                    <a:cxn ang="0">
                      <a:pos x="116" y="32"/>
                    </a:cxn>
                    <a:cxn ang="0">
                      <a:pos x="142" y="18"/>
                    </a:cxn>
                    <a:cxn ang="0">
                      <a:pos x="171" y="8"/>
                    </a:cxn>
                    <a:cxn ang="0">
                      <a:pos x="202" y="2"/>
                    </a:cxn>
                    <a:cxn ang="0">
                      <a:pos x="234" y="0"/>
                    </a:cxn>
                  </a:cxnLst>
                  <a:rect l="0" t="0" r="r" b="b"/>
                  <a:pathLst>
                    <a:path w="468" h="467">
                      <a:moveTo>
                        <a:pt x="234" y="0"/>
                      </a:moveTo>
                      <a:lnTo>
                        <a:pt x="266" y="2"/>
                      </a:lnTo>
                      <a:lnTo>
                        <a:pt x="296" y="8"/>
                      </a:lnTo>
                      <a:lnTo>
                        <a:pt x="325" y="18"/>
                      </a:lnTo>
                      <a:lnTo>
                        <a:pt x="352" y="32"/>
                      </a:lnTo>
                      <a:lnTo>
                        <a:pt x="377" y="48"/>
                      </a:lnTo>
                      <a:lnTo>
                        <a:pt x="400" y="68"/>
                      </a:lnTo>
                      <a:lnTo>
                        <a:pt x="420" y="90"/>
                      </a:lnTo>
                      <a:lnTo>
                        <a:pt x="436" y="115"/>
                      </a:lnTo>
                      <a:lnTo>
                        <a:pt x="450" y="142"/>
                      </a:lnTo>
                      <a:lnTo>
                        <a:pt x="460" y="171"/>
                      </a:lnTo>
                      <a:lnTo>
                        <a:pt x="466" y="201"/>
                      </a:lnTo>
                      <a:lnTo>
                        <a:pt x="468" y="233"/>
                      </a:lnTo>
                      <a:lnTo>
                        <a:pt x="466" y="265"/>
                      </a:lnTo>
                      <a:lnTo>
                        <a:pt x="460" y="295"/>
                      </a:lnTo>
                      <a:lnTo>
                        <a:pt x="450" y="324"/>
                      </a:lnTo>
                      <a:lnTo>
                        <a:pt x="436" y="351"/>
                      </a:lnTo>
                      <a:lnTo>
                        <a:pt x="420" y="376"/>
                      </a:lnTo>
                      <a:lnTo>
                        <a:pt x="400" y="398"/>
                      </a:lnTo>
                      <a:lnTo>
                        <a:pt x="377" y="418"/>
                      </a:lnTo>
                      <a:lnTo>
                        <a:pt x="352" y="435"/>
                      </a:lnTo>
                      <a:lnTo>
                        <a:pt x="325" y="448"/>
                      </a:lnTo>
                      <a:lnTo>
                        <a:pt x="296" y="458"/>
                      </a:lnTo>
                      <a:lnTo>
                        <a:pt x="266" y="464"/>
                      </a:lnTo>
                      <a:lnTo>
                        <a:pt x="234" y="467"/>
                      </a:lnTo>
                      <a:lnTo>
                        <a:pt x="202" y="464"/>
                      </a:lnTo>
                      <a:lnTo>
                        <a:pt x="171" y="458"/>
                      </a:lnTo>
                      <a:lnTo>
                        <a:pt x="142" y="448"/>
                      </a:lnTo>
                      <a:lnTo>
                        <a:pt x="116" y="435"/>
                      </a:lnTo>
                      <a:lnTo>
                        <a:pt x="91" y="418"/>
                      </a:lnTo>
                      <a:lnTo>
                        <a:pt x="68" y="398"/>
                      </a:lnTo>
                      <a:lnTo>
                        <a:pt x="49" y="376"/>
                      </a:lnTo>
                      <a:lnTo>
                        <a:pt x="32" y="351"/>
                      </a:lnTo>
                      <a:lnTo>
                        <a:pt x="18" y="324"/>
                      </a:lnTo>
                      <a:lnTo>
                        <a:pt x="8" y="295"/>
                      </a:lnTo>
                      <a:lnTo>
                        <a:pt x="2" y="265"/>
                      </a:lnTo>
                      <a:lnTo>
                        <a:pt x="0" y="233"/>
                      </a:lnTo>
                      <a:lnTo>
                        <a:pt x="2" y="201"/>
                      </a:lnTo>
                      <a:lnTo>
                        <a:pt x="8" y="171"/>
                      </a:lnTo>
                      <a:lnTo>
                        <a:pt x="18" y="142"/>
                      </a:lnTo>
                      <a:lnTo>
                        <a:pt x="32" y="115"/>
                      </a:lnTo>
                      <a:lnTo>
                        <a:pt x="49" y="90"/>
                      </a:lnTo>
                      <a:lnTo>
                        <a:pt x="68" y="68"/>
                      </a:lnTo>
                      <a:lnTo>
                        <a:pt x="91" y="48"/>
                      </a:lnTo>
                      <a:lnTo>
                        <a:pt x="116" y="32"/>
                      </a:lnTo>
                      <a:lnTo>
                        <a:pt x="142" y="18"/>
                      </a:lnTo>
                      <a:lnTo>
                        <a:pt x="171" y="8"/>
                      </a:lnTo>
                      <a:lnTo>
                        <a:pt x="202" y="2"/>
                      </a:lnTo>
                      <a:lnTo>
                        <a:pt x="234" y="0"/>
                      </a:lnTo>
                      <a:close/>
                    </a:path>
                  </a:pathLst>
                </a:custGeom>
                <a:solidFill>
                  <a:srgbClr val="FFC000"/>
                </a:solidFill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128302" tIns="64151" rIns="128302" bIns="6415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710448"/>
                  <a:endParaRPr lang="en-US" sz="3368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467" name="Freeform 14"/>
                <p:cNvSpPr>
                  <a:spLocks/>
                </p:cNvSpPr>
                <p:nvPr/>
              </p:nvSpPr>
              <p:spPr bwMode="auto">
                <a:xfrm>
                  <a:off x="5746750" y="2935288"/>
                  <a:ext cx="695325" cy="36036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" y="31"/>
                    </a:cxn>
                    <a:cxn ang="0">
                      <a:pos x="12" y="60"/>
                    </a:cxn>
                    <a:cxn ang="0">
                      <a:pos x="23" y="89"/>
                    </a:cxn>
                    <a:cxn ang="0">
                      <a:pos x="38" y="114"/>
                    </a:cxn>
                    <a:cxn ang="0">
                      <a:pos x="56" y="137"/>
                    </a:cxn>
                    <a:cxn ang="0">
                      <a:pos x="78" y="158"/>
                    </a:cxn>
                    <a:cxn ang="0">
                      <a:pos x="102" y="176"/>
                    </a:cxn>
                    <a:cxn ang="0">
                      <a:pos x="128" y="190"/>
                    </a:cxn>
                    <a:cxn ang="0">
                      <a:pos x="157" y="200"/>
                    </a:cxn>
                    <a:cxn ang="0">
                      <a:pos x="187" y="207"/>
                    </a:cxn>
                    <a:cxn ang="0">
                      <a:pos x="219" y="209"/>
                    </a:cxn>
                    <a:cxn ang="0">
                      <a:pos x="250" y="207"/>
                    </a:cxn>
                    <a:cxn ang="0">
                      <a:pos x="280" y="200"/>
                    </a:cxn>
                    <a:cxn ang="0">
                      <a:pos x="309" y="190"/>
                    </a:cxn>
                    <a:cxn ang="0">
                      <a:pos x="335" y="176"/>
                    </a:cxn>
                    <a:cxn ang="0">
                      <a:pos x="360" y="158"/>
                    </a:cxn>
                    <a:cxn ang="0">
                      <a:pos x="381" y="137"/>
                    </a:cxn>
                    <a:cxn ang="0">
                      <a:pos x="399" y="114"/>
                    </a:cxn>
                    <a:cxn ang="0">
                      <a:pos x="414" y="89"/>
                    </a:cxn>
                    <a:cxn ang="0">
                      <a:pos x="426" y="60"/>
                    </a:cxn>
                    <a:cxn ang="0">
                      <a:pos x="433" y="31"/>
                    </a:cxn>
                    <a:cxn ang="0">
                      <a:pos x="437" y="0"/>
                    </a:cxn>
                    <a:cxn ang="0">
                      <a:pos x="437" y="3"/>
                    </a:cxn>
                    <a:cxn ang="0">
                      <a:pos x="438" y="5"/>
                    </a:cxn>
                    <a:cxn ang="0">
                      <a:pos x="438" y="8"/>
                    </a:cxn>
                    <a:cxn ang="0">
                      <a:pos x="436" y="41"/>
                    </a:cxn>
                    <a:cxn ang="0">
                      <a:pos x="429" y="71"/>
                    </a:cxn>
                    <a:cxn ang="0">
                      <a:pos x="417" y="100"/>
                    </a:cxn>
                    <a:cxn ang="0">
                      <a:pos x="403" y="127"/>
                    </a:cxn>
                    <a:cxn ang="0">
                      <a:pos x="384" y="152"/>
                    </a:cxn>
                    <a:cxn ang="0">
                      <a:pos x="363" y="173"/>
                    </a:cxn>
                    <a:cxn ang="0">
                      <a:pos x="338" y="192"/>
                    </a:cxn>
                    <a:cxn ang="0">
                      <a:pos x="311" y="206"/>
                    </a:cxn>
                    <a:cxn ang="0">
                      <a:pos x="282" y="218"/>
                    </a:cxn>
                    <a:cxn ang="0">
                      <a:pos x="251" y="224"/>
                    </a:cxn>
                    <a:cxn ang="0">
                      <a:pos x="219" y="227"/>
                    </a:cxn>
                    <a:cxn ang="0">
                      <a:pos x="186" y="224"/>
                    </a:cxn>
                    <a:cxn ang="0">
                      <a:pos x="155" y="218"/>
                    </a:cxn>
                    <a:cxn ang="0">
                      <a:pos x="127" y="206"/>
                    </a:cxn>
                    <a:cxn ang="0">
                      <a:pos x="100" y="192"/>
                    </a:cxn>
                    <a:cxn ang="0">
                      <a:pos x="76" y="173"/>
                    </a:cxn>
                    <a:cxn ang="0">
                      <a:pos x="53" y="152"/>
                    </a:cxn>
                    <a:cxn ang="0">
                      <a:pos x="35" y="127"/>
                    </a:cxn>
                    <a:cxn ang="0">
                      <a:pos x="21" y="100"/>
                    </a:cxn>
                    <a:cxn ang="0">
                      <a:pos x="9" y="71"/>
                    </a:cxn>
                    <a:cxn ang="0">
                      <a:pos x="2" y="41"/>
                    </a:cxn>
                    <a:cxn ang="0">
                      <a:pos x="0" y="8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38" h="227">
                      <a:moveTo>
                        <a:pt x="0" y="0"/>
                      </a:moveTo>
                      <a:lnTo>
                        <a:pt x="4" y="31"/>
                      </a:lnTo>
                      <a:lnTo>
                        <a:pt x="12" y="60"/>
                      </a:lnTo>
                      <a:lnTo>
                        <a:pt x="23" y="89"/>
                      </a:lnTo>
                      <a:lnTo>
                        <a:pt x="38" y="114"/>
                      </a:lnTo>
                      <a:lnTo>
                        <a:pt x="56" y="137"/>
                      </a:lnTo>
                      <a:lnTo>
                        <a:pt x="78" y="158"/>
                      </a:lnTo>
                      <a:lnTo>
                        <a:pt x="102" y="176"/>
                      </a:lnTo>
                      <a:lnTo>
                        <a:pt x="128" y="190"/>
                      </a:lnTo>
                      <a:lnTo>
                        <a:pt x="157" y="200"/>
                      </a:lnTo>
                      <a:lnTo>
                        <a:pt x="187" y="207"/>
                      </a:lnTo>
                      <a:lnTo>
                        <a:pt x="219" y="209"/>
                      </a:lnTo>
                      <a:lnTo>
                        <a:pt x="250" y="207"/>
                      </a:lnTo>
                      <a:lnTo>
                        <a:pt x="280" y="200"/>
                      </a:lnTo>
                      <a:lnTo>
                        <a:pt x="309" y="190"/>
                      </a:lnTo>
                      <a:lnTo>
                        <a:pt x="335" y="176"/>
                      </a:lnTo>
                      <a:lnTo>
                        <a:pt x="360" y="158"/>
                      </a:lnTo>
                      <a:lnTo>
                        <a:pt x="381" y="137"/>
                      </a:lnTo>
                      <a:lnTo>
                        <a:pt x="399" y="114"/>
                      </a:lnTo>
                      <a:lnTo>
                        <a:pt x="414" y="89"/>
                      </a:lnTo>
                      <a:lnTo>
                        <a:pt x="426" y="60"/>
                      </a:lnTo>
                      <a:lnTo>
                        <a:pt x="433" y="31"/>
                      </a:lnTo>
                      <a:lnTo>
                        <a:pt x="437" y="0"/>
                      </a:lnTo>
                      <a:lnTo>
                        <a:pt x="437" y="3"/>
                      </a:lnTo>
                      <a:lnTo>
                        <a:pt x="438" y="5"/>
                      </a:lnTo>
                      <a:lnTo>
                        <a:pt x="438" y="8"/>
                      </a:lnTo>
                      <a:lnTo>
                        <a:pt x="436" y="41"/>
                      </a:lnTo>
                      <a:lnTo>
                        <a:pt x="429" y="71"/>
                      </a:lnTo>
                      <a:lnTo>
                        <a:pt x="417" y="100"/>
                      </a:lnTo>
                      <a:lnTo>
                        <a:pt x="403" y="127"/>
                      </a:lnTo>
                      <a:lnTo>
                        <a:pt x="384" y="152"/>
                      </a:lnTo>
                      <a:lnTo>
                        <a:pt x="363" y="173"/>
                      </a:lnTo>
                      <a:lnTo>
                        <a:pt x="338" y="192"/>
                      </a:lnTo>
                      <a:lnTo>
                        <a:pt x="311" y="206"/>
                      </a:lnTo>
                      <a:lnTo>
                        <a:pt x="282" y="218"/>
                      </a:lnTo>
                      <a:lnTo>
                        <a:pt x="251" y="224"/>
                      </a:lnTo>
                      <a:lnTo>
                        <a:pt x="219" y="227"/>
                      </a:lnTo>
                      <a:lnTo>
                        <a:pt x="186" y="224"/>
                      </a:lnTo>
                      <a:lnTo>
                        <a:pt x="155" y="218"/>
                      </a:lnTo>
                      <a:lnTo>
                        <a:pt x="127" y="206"/>
                      </a:lnTo>
                      <a:lnTo>
                        <a:pt x="100" y="192"/>
                      </a:lnTo>
                      <a:lnTo>
                        <a:pt x="76" y="173"/>
                      </a:lnTo>
                      <a:lnTo>
                        <a:pt x="53" y="152"/>
                      </a:lnTo>
                      <a:lnTo>
                        <a:pt x="35" y="127"/>
                      </a:lnTo>
                      <a:lnTo>
                        <a:pt x="21" y="100"/>
                      </a:lnTo>
                      <a:lnTo>
                        <a:pt x="9" y="71"/>
                      </a:lnTo>
                      <a:lnTo>
                        <a:pt x="2" y="41"/>
                      </a:ln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>
                    <a:alpha val="33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128302" tIns="64151" rIns="128302" bIns="6415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710448"/>
                  <a:endParaRPr lang="en-US" sz="3368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463" name="Group 35"/>
              <p:cNvGrpSpPr/>
              <p:nvPr/>
            </p:nvGrpSpPr>
            <p:grpSpPr>
              <a:xfrm>
                <a:off x="2442609" y="3616581"/>
                <a:ext cx="708825" cy="708825"/>
                <a:chOff x="5722943" y="3481390"/>
                <a:chExt cx="742950" cy="742950"/>
              </a:xfrm>
              <a:effectLst>
                <a:outerShdw blurRad="38100" dist="63500" dir="2700000" algn="tl" rotWithShape="0">
                  <a:prstClr val="black">
                    <a:alpha val="99000"/>
                  </a:prstClr>
                </a:outerShdw>
              </a:effectLst>
            </p:grpSpPr>
            <p:sp>
              <p:nvSpPr>
                <p:cNvPr id="464" name="Freeform 9"/>
                <p:cNvSpPr>
                  <a:spLocks/>
                </p:cNvSpPr>
                <p:nvPr/>
              </p:nvSpPr>
              <p:spPr bwMode="auto">
                <a:xfrm>
                  <a:off x="5722943" y="3481390"/>
                  <a:ext cx="742950" cy="742950"/>
                </a:xfrm>
                <a:custGeom>
                  <a:avLst/>
                  <a:gdLst/>
                  <a:ahLst/>
                  <a:cxnLst>
                    <a:cxn ang="0">
                      <a:pos x="234" y="0"/>
                    </a:cxn>
                    <a:cxn ang="0">
                      <a:pos x="266" y="3"/>
                    </a:cxn>
                    <a:cxn ang="0">
                      <a:pos x="296" y="9"/>
                    </a:cxn>
                    <a:cxn ang="0">
                      <a:pos x="325" y="19"/>
                    </a:cxn>
                    <a:cxn ang="0">
                      <a:pos x="352" y="32"/>
                    </a:cxn>
                    <a:cxn ang="0">
                      <a:pos x="377" y="49"/>
                    </a:cxn>
                    <a:cxn ang="0">
                      <a:pos x="400" y="69"/>
                    </a:cxn>
                    <a:cxn ang="0">
                      <a:pos x="420" y="91"/>
                    </a:cxn>
                    <a:cxn ang="0">
                      <a:pos x="436" y="116"/>
                    </a:cxn>
                    <a:cxn ang="0">
                      <a:pos x="450" y="142"/>
                    </a:cxn>
                    <a:cxn ang="0">
                      <a:pos x="460" y="171"/>
                    </a:cxn>
                    <a:cxn ang="0">
                      <a:pos x="466" y="202"/>
                    </a:cxn>
                    <a:cxn ang="0">
                      <a:pos x="468" y="234"/>
                    </a:cxn>
                    <a:cxn ang="0">
                      <a:pos x="466" y="266"/>
                    </a:cxn>
                    <a:cxn ang="0">
                      <a:pos x="460" y="296"/>
                    </a:cxn>
                    <a:cxn ang="0">
                      <a:pos x="450" y="325"/>
                    </a:cxn>
                    <a:cxn ang="0">
                      <a:pos x="436" y="351"/>
                    </a:cxn>
                    <a:cxn ang="0">
                      <a:pos x="420" y="376"/>
                    </a:cxn>
                    <a:cxn ang="0">
                      <a:pos x="400" y="399"/>
                    </a:cxn>
                    <a:cxn ang="0">
                      <a:pos x="377" y="419"/>
                    </a:cxn>
                    <a:cxn ang="0">
                      <a:pos x="352" y="436"/>
                    </a:cxn>
                    <a:cxn ang="0">
                      <a:pos x="325" y="449"/>
                    </a:cxn>
                    <a:cxn ang="0">
                      <a:pos x="296" y="459"/>
                    </a:cxn>
                    <a:cxn ang="0">
                      <a:pos x="266" y="465"/>
                    </a:cxn>
                    <a:cxn ang="0">
                      <a:pos x="234" y="468"/>
                    </a:cxn>
                    <a:cxn ang="0">
                      <a:pos x="202" y="465"/>
                    </a:cxn>
                    <a:cxn ang="0">
                      <a:pos x="171" y="459"/>
                    </a:cxn>
                    <a:cxn ang="0">
                      <a:pos x="142" y="449"/>
                    </a:cxn>
                    <a:cxn ang="0">
                      <a:pos x="116" y="436"/>
                    </a:cxn>
                    <a:cxn ang="0">
                      <a:pos x="91" y="419"/>
                    </a:cxn>
                    <a:cxn ang="0">
                      <a:pos x="68" y="399"/>
                    </a:cxn>
                    <a:cxn ang="0">
                      <a:pos x="49" y="376"/>
                    </a:cxn>
                    <a:cxn ang="0">
                      <a:pos x="32" y="351"/>
                    </a:cxn>
                    <a:cxn ang="0">
                      <a:pos x="18" y="325"/>
                    </a:cxn>
                    <a:cxn ang="0">
                      <a:pos x="8" y="296"/>
                    </a:cxn>
                    <a:cxn ang="0">
                      <a:pos x="2" y="266"/>
                    </a:cxn>
                    <a:cxn ang="0">
                      <a:pos x="0" y="234"/>
                    </a:cxn>
                    <a:cxn ang="0">
                      <a:pos x="2" y="202"/>
                    </a:cxn>
                    <a:cxn ang="0">
                      <a:pos x="8" y="171"/>
                    </a:cxn>
                    <a:cxn ang="0">
                      <a:pos x="18" y="142"/>
                    </a:cxn>
                    <a:cxn ang="0">
                      <a:pos x="32" y="116"/>
                    </a:cxn>
                    <a:cxn ang="0">
                      <a:pos x="49" y="91"/>
                    </a:cxn>
                    <a:cxn ang="0">
                      <a:pos x="68" y="69"/>
                    </a:cxn>
                    <a:cxn ang="0">
                      <a:pos x="91" y="49"/>
                    </a:cxn>
                    <a:cxn ang="0">
                      <a:pos x="116" y="32"/>
                    </a:cxn>
                    <a:cxn ang="0">
                      <a:pos x="142" y="19"/>
                    </a:cxn>
                    <a:cxn ang="0">
                      <a:pos x="171" y="9"/>
                    </a:cxn>
                    <a:cxn ang="0">
                      <a:pos x="202" y="3"/>
                    </a:cxn>
                    <a:cxn ang="0">
                      <a:pos x="234" y="0"/>
                    </a:cxn>
                  </a:cxnLst>
                  <a:rect l="0" t="0" r="r" b="b"/>
                  <a:pathLst>
                    <a:path w="468" h="468">
                      <a:moveTo>
                        <a:pt x="234" y="0"/>
                      </a:moveTo>
                      <a:lnTo>
                        <a:pt x="266" y="3"/>
                      </a:lnTo>
                      <a:lnTo>
                        <a:pt x="296" y="9"/>
                      </a:lnTo>
                      <a:lnTo>
                        <a:pt x="325" y="19"/>
                      </a:lnTo>
                      <a:lnTo>
                        <a:pt x="352" y="32"/>
                      </a:lnTo>
                      <a:lnTo>
                        <a:pt x="377" y="49"/>
                      </a:lnTo>
                      <a:lnTo>
                        <a:pt x="400" y="69"/>
                      </a:lnTo>
                      <a:lnTo>
                        <a:pt x="420" y="91"/>
                      </a:lnTo>
                      <a:lnTo>
                        <a:pt x="436" y="116"/>
                      </a:lnTo>
                      <a:lnTo>
                        <a:pt x="450" y="142"/>
                      </a:lnTo>
                      <a:lnTo>
                        <a:pt x="460" y="171"/>
                      </a:lnTo>
                      <a:lnTo>
                        <a:pt x="466" y="202"/>
                      </a:lnTo>
                      <a:lnTo>
                        <a:pt x="468" y="234"/>
                      </a:lnTo>
                      <a:lnTo>
                        <a:pt x="466" y="266"/>
                      </a:lnTo>
                      <a:lnTo>
                        <a:pt x="460" y="296"/>
                      </a:lnTo>
                      <a:lnTo>
                        <a:pt x="450" y="325"/>
                      </a:lnTo>
                      <a:lnTo>
                        <a:pt x="436" y="351"/>
                      </a:lnTo>
                      <a:lnTo>
                        <a:pt x="420" y="376"/>
                      </a:lnTo>
                      <a:lnTo>
                        <a:pt x="400" y="399"/>
                      </a:lnTo>
                      <a:lnTo>
                        <a:pt x="377" y="419"/>
                      </a:lnTo>
                      <a:lnTo>
                        <a:pt x="352" y="436"/>
                      </a:lnTo>
                      <a:lnTo>
                        <a:pt x="325" y="449"/>
                      </a:lnTo>
                      <a:lnTo>
                        <a:pt x="296" y="459"/>
                      </a:lnTo>
                      <a:lnTo>
                        <a:pt x="266" y="465"/>
                      </a:lnTo>
                      <a:lnTo>
                        <a:pt x="234" y="468"/>
                      </a:lnTo>
                      <a:lnTo>
                        <a:pt x="202" y="465"/>
                      </a:lnTo>
                      <a:lnTo>
                        <a:pt x="171" y="459"/>
                      </a:lnTo>
                      <a:lnTo>
                        <a:pt x="142" y="449"/>
                      </a:lnTo>
                      <a:lnTo>
                        <a:pt x="116" y="436"/>
                      </a:lnTo>
                      <a:lnTo>
                        <a:pt x="91" y="419"/>
                      </a:lnTo>
                      <a:lnTo>
                        <a:pt x="68" y="399"/>
                      </a:lnTo>
                      <a:lnTo>
                        <a:pt x="49" y="376"/>
                      </a:lnTo>
                      <a:lnTo>
                        <a:pt x="32" y="351"/>
                      </a:lnTo>
                      <a:lnTo>
                        <a:pt x="18" y="325"/>
                      </a:lnTo>
                      <a:lnTo>
                        <a:pt x="8" y="296"/>
                      </a:lnTo>
                      <a:lnTo>
                        <a:pt x="2" y="266"/>
                      </a:lnTo>
                      <a:lnTo>
                        <a:pt x="0" y="234"/>
                      </a:lnTo>
                      <a:lnTo>
                        <a:pt x="2" y="202"/>
                      </a:lnTo>
                      <a:lnTo>
                        <a:pt x="8" y="171"/>
                      </a:lnTo>
                      <a:lnTo>
                        <a:pt x="18" y="142"/>
                      </a:lnTo>
                      <a:lnTo>
                        <a:pt x="32" y="116"/>
                      </a:lnTo>
                      <a:lnTo>
                        <a:pt x="49" y="91"/>
                      </a:lnTo>
                      <a:lnTo>
                        <a:pt x="68" y="69"/>
                      </a:lnTo>
                      <a:lnTo>
                        <a:pt x="91" y="49"/>
                      </a:lnTo>
                      <a:lnTo>
                        <a:pt x="116" y="32"/>
                      </a:lnTo>
                      <a:lnTo>
                        <a:pt x="142" y="19"/>
                      </a:lnTo>
                      <a:lnTo>
                        <a:pt x="171" y="9"/>
                      </a:lnTo>
                      <a:lnTo>
                        <a:pt x="202" y="3"/>
                      </a:lnTo>
                      <a:lnTo>
                        <a:pt x="234" y="0"/>
                      </a:lnTo>
                      <a:close/>
                    </a:path>
                  </a:pathLst>
                </a:custGeom>
                <a:noFill/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128302" tIns="64151" rIns="128302" bIns="6415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710448"/>
                  <a:endParaRPr lang="en-US" sz="3368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465" name="Freeform 12"/>
                <p:cNvSpPr>
                  <a:spLocks/>
                </p:cNvSpPr>
                <p:nvPr/>
              </p:nvSpPr>
              <p:spPr bwMode="auto">
                <a:xfrm>
                  <a:off x="5746750" y="3838576"/>
                  <a:ext cx="695325" cy="36036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" y="31"/>
                    </a:cxn>
                    <a:cxn ang="0">
                      <a:pos x="12" y="60"/>
                    </a:cxn>
                    <a:cxn ang="0">
                      <a:pos x="23" y="88"/>
                    </a:cxn>
                    <a:cxn ang="0">
                      <a:pos x="38" y="114"/>
                    </a:cxn>
                    <a:cxn ang="0">
                      <a:pos x="56" y="137"/>
                    </a:cxn>
                    <a:cxn ang="0">
                      <a:pos x="78" y="157"/>
                    </a:cxn>
                    <a:cxn ang="0">
                      <a:pos x="102" y="176"/>
                    </a:cxn>
                    <a:cxn ang="0">
                      <a:pos x="128" y="189"/>
                    </a:cxn>
                    <a:cxn ang="0">
                      <a:pos x="157" y="200"/>
                    </a:cxn>
                    <a:cxn ang="0">
                      <a:pos x="187" y="207"/>
                    </a:cxn>
                    <a:cxn ang="0">
                      <a:pos x="219" y="209"/>
                    </a:cxn>
                    <a:cxn ang="0">
                      <a:pos x="250" y="207"/>
                    </a:cxn>
                    <a:cxn ang="0">
                      <a:pos x="280" y="200"/>
                    </a:cxn>
                    <a:cxn ang="0">
                      <a:pos x="309" y="189"/>
                    </a:cxn>
                    <a:cxn ang="0">
                      <a:pos x="335" y="176"/>
                    </a:cxn>
                    <a:cxn ang="0">
                      <a:pos x="360" y="157"/>
                    </a:cxn>
                    <a:cxn ang="0">
                      <a:pos x="381" y="137"/>
                    </a:cxn>
                    <a:cxn ang="0">
                      <a:pos x="399" y="114"/>
                    </a:cxn>
                    <a:cxn ang="0">
                      <a:pos x="414" y="88"/>
                    </a:cxn>
                    <a:cxn ang="0">
                      <a:pos x="426" y="60"/>
                    </a:cxn>
                    <a:cxn ang="0">
                      <a:pos x="433" y="31"/>
                    </a:cxn>
                    <a:cxn ang="0">
                      <a:pos x="437" y="0"/>
                    </a:cxn>
                    <a:cxn ang="0">
                      <a:pos x="437" y="3"/>
                    </a:cxn>
                    <a:cxn ang="0">
                      <a:pos x="438" y="5"/>
                    </a:cxn>
                    <a:cxn ang="0">
                      <a:pos x="438" y="8"/>
                    </a:cxn>
                    <a:cxn ang="0">
                      <a:pos x="436" y="41"/>
                    </a:cxn>
                    <a:cxn ang="0">
                      <a:pos x="429" y="71"/>
                    </a:cxn>
                    <a:cxn ang="0">
                      <a:pos x="417" y="100"/>
                    </a:cxn>
                    <a:cxn ang="0">
                      <a:pos x="403" y="127"/>
                    </a:cxn>
                    <a:cxn ang="0">
                      <a:pos x="384" y="151"/>
                    </a:cxn>
                    <a:cxn ang="0">
                      <a:pos x="363" y="173"/>
                    </a:cxn>
                    <a:cxn ang="0">
                      <a:pos x="338" y="192"/>
                    </a:cxn>
                    <a:cxn ang="0">
                      <a:pos x="311" y="206"/>
                    </a:cxn>
                    <a:cxn ang="0">
                      <a:pos x="282" y="217"/>
                    </a:cxn>
                    <a:cxn ang="0">
                      <a:pos x="251" y="224"/>
                    </a:cxn>
                    <a:cxn ang="0">
                      <a:pos x="219" y="227"/>
                    </a:cxn>
                    <a:cxn ang="0">
                      <a:pos x="186" y="224"/>
                    </a:cxn>
                    <a:cxn ang="0">
                      <a:pos x="155" y="217"/>
                    </a:cxn>
                    <a:cxn ang="0">
                      <a:pos x="127" y="206"/>
                    </a:cxn>
                    <a:cxn ang="0">
                      <a:pos x="100" y="192"/>
                    </a:cxn>
                    <a:cxn ang="0">
                      <a:pos x="76" y="173"/>
                    </a:cxn>
                    <a:cxn ang="0">
                      <a:pos x="53" y="151"/>
                    </a:cxn>
                    <a:cxn ang="0">
                      <a:pos x="35" y="127"/>
                    </a:cxn>
                    <a:cxn ang="0">
                      <a:pos x="21" y="100"/>
                    </a:cxn>
                    <a:cxn ang="0">
                      <a:pos x="9" y="71"/>
                    </a:cxn>
                    <a:cxn ang="0">
                      <a:pos x="2" y="41"/>
                    </a:cxn>
                    <a:cxn ang="0">
                      <a:pos x="0" y="8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38" h="227">
                      <a:moveTo>
                        <a:pt x="0" y="0"/>
                      </a:moveTo>
                      <a:lnTo>
                        <a:pt x="4" y="31"/>
                      </a:lnTo>
                      <a:lnTo>
                        <a:pt x="12" y="60"/>
                      </a:lnTo>
                      <a:lnTo>
                        <a:pt x="23" y="88"/>
                      </a:lnTo>
                      <a:lnTo>
                        <a:pt x="38" y="114"/>
                      </a:lnTo>
                      <a:lnTo>
                        <a:pt x="56" y="137"/>
                      </a:lnTo>
                      <a:lnTo>
                        <a:pt x="78" y="157"/>
                      </a:lnTo>
                      <a:lnTo>
                        <a:pt x="102" y="176"/>
                      </a:lnTo>
                      <a:lnTo>
                        <a:pt x="128" y="189"/>
                      </a:lnTo>
                      <a:lnTo>
                        <a:pt x="157" y="200"/>
                      </a:lnTo>
                      <a:lnTo>
                        <a:pt x="187" y="207"/>
                      </a:lnTo>
                      <a:lnTo>
                        <a:pt x="219" y="209"/>
                      </a:lnTo>
                      <a:lnTo>
                        <a:pt x="250" y="207"/>
                      </a:lnTo>
                      <a:lnTo>
                        <a:pt x="280" y="200"/>
                      </a:lnTo>
                      <a:lnTo>
                        <a:pt x="309" y="189"/>
                      </a:lnTo>
                      <a:lnTo>
                        <a:pt x="335" y="176"/>
                      </a:lnTo>
                      <a:lnTo>
                        <a:pt x="360" y="157"/>
                      </a:lnTo>
                      <a:lnTo>
                        <a:pt x="381" y="137"/>
                      </a:lnTo>
                      <a:lnTo>
                        <a:pt x="399" y="114"/>
                      </a:lnTo>
                      <a:lnTo>
                        <a:pt x="414" y="88"/>
                      </a:lnTo>
                      <a:lnTo>
                        <a:pt x="426" y="60"/>
                      </a:lnTo>
                      <a:lnTo>
                        <a:pt x="433" y="31"/>
                      </a:lnTo>
                      <a:lnTo>
                        <a:pt x="437" y="0"/>
                      </a:lnTo>
                      <a:lnTo>
                        <a:pt x="437" y="3"/>
                      </a:lnTo>
                      <a:lnTo>
                        <a:pt x="438" y="5"/>
                      </a:lnTo>
                      <a:lnTo>
                        <a:pt x="438" y="8"/>
                      </a:lnTo>
                      <a:lnTo>
                        <a:pt x="436" y="41"/>
                      </a:lnTo>
                      <a:lnTo>
                        <a:pt x="429" y="71"/>
                      </a:lnTo>
                      <a:lnTo>
                        <a:pt x="417" y="100"/>
                      </a:lnTo>
                      <a:lnTo>
                        <a:pt x="403" y="127"/>
                      </a:lnTo>
                      <a:lnTo>
                        <a:pt x="384" y="151"/>
                      </a:lnTo>
                      <a:lnTo>
                        <a:pt x="363" y="173"/>
                      </a:lnTo>
                      <a:lnTo>
                        <a:pt x="338" y="192"/>
                      </a:lnTo>
                      <a:lnTo>
                        <a:pt x="311" y="206"/>
                      </a:lnTo>
                      <a:lnTo>
                        <a:pt x="282" y="217"/>
                      </a:lnTo>
                      <a:lnTo>
                        <a:pt x="251" y="224"/>
                      </a:lnTo>
                      <a:lnTo>
                        <a:pt x="219" y="227"/>
                      </a:lnTo>
                      <a:lnTo>
                        <a:pt x="186" y="224"/>
                      </a:lnTo>
                      <a:lnTo>
                        <a:pt x="155" y="217"/>
                      </a:lnTo>
                      <a:lnTo>
                        <a:pt x="127" y="206"/>
                      </a:lnTo>
                      <a:lnTo>
                        <a:pt x="100" y="192"/>
                      </a:lnTo>
                      <a:lnTo>
                        <a:pt x="76" y="173"/>
                      </a:lnTo>
                      <a:lnTo>
                        <a:pt x="53" y="151"/>
                      </a:lnTo>
                      <a:lnTo>
                        <a:pt x="35" y="127"/>
                      </a:lnTo>
                      <a:lnTo>
                        <a:pt x="21" y="100"/>
                      </a:lnTo>
                      <a:lnTo>
                        <a:pt x="9" y="71"/>
                      </a:lnTo>
                      <a:lnTo>
                        <a:pt x="2" y="41"/>
                      </a:ln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>
                    <a:alpha val="33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128302" tIns="64151" rIns="128302" bIns="6415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710448"/>
                  <a:endParaRPr lang="en-US" sz="3368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</p:grpSp>
        </p:grpSp>
      </p:grpSp>
      <p:sp>
        <p:nvSpPr>
          <p:cNvPr id="480" name="Rectangle 479"/>
          <p:cNvSpPr/>
          <p:nvPr/>
        </p:nvSpPr>
        <p:spPr>
          <a:xfrm>
            <a:off x="3652575" y="4610013"/>
            <a:ext cx="1717707" cy="2070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121920" rIns="54611" bIns="54611" rtlCol="0" anchor="t"/>
          <a:lstStyle/>
          <a:p>
            <a:pPr marL="228595" indent="-228595" defTabSz="1058286">
              <a:buFont typeface="Arial" panose="020B0604020202020204" pitchFamily="34" charset="0"/>
              <a:buChar char="•"/>
            </a:pPr>
            <a:r>
              <a:rPr lang="en-US" sz="1200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None Noted</a:t>
            </a:r>
            <a:endParaRPr lang="en-US" sz="1500">
              <a:solidFill>
                <a:prstClr val="white"/>
              </a:solidFill>
              <a:latin typeface="Arial"/>
            </a:endParaRPr>
          </a:p>
        </p:txBody>
      </p:sp>
      <p:sp>
        <p:nvSpPr>
          <p:cNvPr id="481" name="Round Same Side Corner Rectangle 480"/>
          <p:cNvSpPr/>
          <p:nvPr/>
        </p:nvSpPr>
        <p:spPr>
          <a:xfrm>
            <a:off x="3652575" y="4305118"/>
            <a:ext cx="1717707" cy="331382"/>
          </a:xfrm>
          <a:prstGeom prst="round2Same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</p:spPr>
        <p:txBody>
          <a:bodyPr wrap="square" lIns="121920" tIns="0" bIns="60960" anchor="ctr">
            <a:noAutofit/>
          </a:bodyPr>
          <a:lstStyle/>
          <a:p>
            <a:pPr defTabSz="1058286"/>
            <a:r>
              <a:rPr lang="en-US" sz="1400" b="1">
                <a:solidFill>
                  <a:prstClr val="white"/>
                </a:solidFill>
                <a:latin typeface="Arial"/>
                <a:cs typeface="DIN Next LT Arabic"/>
              </a:rPr>
              <a:t>Dependency </a:t>
            </a:r>
          </a:p>
        </p:txBody>
      </p:sp>
      <p:grpSp>
        <p:nvGrpSpPr>
          <p:cNvPr id="482" name="Group 481"/>
          <p:cNvGrpSpPr/>
          <p:nvPr/>
        </p:nvGrpSpPr>
        <p:grpSpPr>
          <a:xfrm>
            <a:off x="3662317" y="6624523"/>
            <a:ext cx="1707969" cy="104129"/>
            <a:chOff x="170119" y="2637607"/>
            <a:chExt cx="2373357" cy="130724"/>
          </a:xfrm>
        </p:grpSpPr>
        <p:sp>
          <p:nvSpPr>
            <p:cNvPr id="483" name="Right Triangle 482"/>
            <p:cNvSpPr/>
            <p:nvPr/>
          </p:nvSpPr>
          <p:spPr>
            <a:xfrm flipH="1" flipV="1">
              <a:off x="173559" y="2637607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484" name="Right Triangle 483"/>
            <p:cNvSpPr/>
            <p:nvPr/>
          </p:nvSpPr>
          <p:spPr>
            <a:xfrm flipV="1">
              <a:off x="170119" y="2637607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</p:grpSp>
      <p:sp>
        <p:nvSpPr>
          <p:cNvPr id="523" name="Rectangle 522"/>
          <p:cNvSpPr/>
          <p:nvPr/>
        </p:nvSpPr>
        <p:spPr>
          <a:xfrm>
            <a:off x="5502664" y="4610013"/>
            <a:ext cx="1717707" cy="2070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121920" rIns="54611" bIns="54611" rtlCol="0" anchor="t"/>
          <a:lstStyle/>
          <a:p>
            <a:pPr marL="228595" indent="-228595" defTabSz="1058286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Delay on invoice sign-off</a:t>
            </a:r>
          </a:p>
        </p:txBody>
      </p:sp>
      <p:sp>
        <p:nvSpPr>
          <p:cNvPr id="524" name="Round Same Side Corner Rectangle 523"/>
          <p:cNvSpPr/>
          <p:nvPr/>
        </p:nvSpPr>
        <p:spPr>
          <a:xfrm>
            <a:off x="5502664" y="4305118"/>
            <a:ext cx="1717707" cy="331382"/>
          </a:xfrm>
          <a:prstGeom prst="round2Same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</p:spPr>
        <p:txBody>
          <a:bodyPr wrap="square" lIns="121920" tIns="0" bIns="60960" anchor="ctr">
            <a:noAutofit/>
          </a:bodyPr>
          <a:lstStyle/>
          <a:p>
            <a:pPr defTabSz="1058286"/>
            <a:r>
              <a:rPr lang="en-US" sz="1400" b="1">
                <a:solidFill>
                  <a:prstClr val="white"/>
                </a:solidFill>
                <a:latin typeface="Arial"/>
                <a:cs typeface="DIN Next LT Arabic"/>
              </a:rPr>
              <a:t>Risk</a:t>
            </a:r>
          </a:p>
        </p:txBody>
      </p:sp>
      <p:grpSp>
        <p:nvGrpSpPr>
          <p:cNvPr id="525" name="Group 524"/>
          <p:cNvGrpSpPr/>
          <p:nvPr/>
        </p:nvGrpSpPr>
        <p:grpSpPr>
          <a:xfrm>
            <a:off x="5512403" y="6624523"/>
            <a:ext cx="1707969" cy="104129"/>
            <a:chOff x="170119" y="2637607"/>
            <a:chExt cx="2373357" cy="130724"/>
          </a:xfrm>
        </p:grpSpPr>
        <p:sp>
          <p:nvSpPr>
            <p:cNvPr id="526" name="Right Triangle 525"/>
            <p:cNvSpPr/>
            <p:nvPr/>
          </p:nvSpPr>
          <p:spPr>
            <a:xfrm flipH="1" flipV="1">
              <a:off x="173559" y="2637607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527" name="Right Triangle 526"/>
            <p:cNvSpPr/>
            <p:nvPr/>
          </p:nvSpPr>
          <p:spPr>
            <a:xfrm flipV="1">
              <a:off x="170119" y="2637607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</p:grpSp>
      <p:grpSp>
        <p:nvGrpSpPr>
          <p:cNvPr id="534" name="Group 84"/>
          <p:cNvGrpSpPr>
            <a:grpSpLocks noChangeAspect="1"/>
          </p:cNvGrpSpPr>
          <p:nvPr/>
        </p:nvGrpSpPr>
        <p:grpSpPr bwMode="auto">
          <a:xfrm>
            <a:off x="6855887" y="4334996"/>
            <a:ext cx="310301" cy="267459"/>
            <a:chOff x="3333" y="1722"/>
            <a:chExt cx="1014" cy="874"/>
          </a:xfrm>
          <a:solidFill>
            <a:schemeClr val="bg1"/>
          </a:solidFill>
        </p:grpSpPr>
        <p:sp>
          <p:nvSpPr>
            <p:cNvPr id="535" name="Freeform 85"/>
            <p:cNvSpPr>
              <a:spLocks noEditPoints="1"/>
            </p:cNvSpPr>
            <p:nvPr/>
          </p:nvSpPr>
          <p:spPr bwMode="auto">
            <a:xfrm>
              <a:off x="3333" y="1722"/>
              <a:ext cx="1014" cy="874"/>
            </a:xfrm>
            <a:custGeom>
              <a:avLst/>
              <a:gdLst>
                <a:gd name="T0" fmla="*/ 213 w 426"/>
                <a:gd name="T1" fmla="*/ 366 h 367"/>
                <a:gd name="T2" fmla="*/ 36 w 426"/>
                <a:gd name="T3" fmla="*/ 367 h 367"/>
                <a:gd name="T4" fmla="*/ 6 w 426"/>
                <a:gd name="T5" fmla="*/ 351 h 367"/>
                <a:gd name="T6" fmla="*/ 9 w 426"/>
                <a:gd name="T7" fmla="*/ 318 h 367"/>
                <a:gd name="T8" fmla="*/ 183 w 426"/>
                <a:gd name="T9" fmla="*/ 20 h 367"/>
                <a:gd name="T10" fmla="*/ 214 w 426"/>
                <a:gd name="T11" fmla="*/ 0 h 367"/>
                <a:gd name="T12" fmla="*/ 243 w 426"/>
                <a:gd name="T13" fmla="*/ 20 h 367"/>
                <a:gd name="T14" fmla="*/ 417 w 426"/>
                <a:gd name="T15" fmla="*/ 318 h 367"/>
                <a:gd name="T16" fmla="*/ 420 w 426"/>
                <a:gd name="T17" fmla="*/ 351 h 367"/>
                <a:gd name="T18" fmla="*/ 390 w 426"/>
                <a:gd name="T19" fmla="*/ 367 h 367"/>
                <a:gd name="T20" fmla="*/ 213 w 426"/>
                <a:gd name="T21" fmla="*/ 366 h 367"/>
                <a:gd name="T22" fmla="*/ 213 w 426"/>
                <a:gd name="T23" fmla="*/ 336 h 367"/>
                <a:gd name="T24" fmla="*/ 375 w 426"/>
                <a:gd name="T25" fmla="*/ 336 h 367"/>
                <a:gd name="T26" fmla="*/ 384 w 426"/>
                <a:gd name="T27" fmla="*/ 323 h 367"/>
                <a:gd name="T28" fmla="*/ 221 w 426"/>
                <a:gd name="T29" fmla="*/ 46 h 367"/>
                <a:gd name="T30" fmla="*/ 205 w 426"/>
                <a:gd name="T31" fmla="*/ 45 h 367"/>
                <a:gd name="T32" fmla="*/ 44 w 426"/>
                <a:gd name="T33" fmla="*/ 321 h 367"/>
                <a:gd name="T34" fmla="*/ 54 w 426"/>
                <a:gd name="T35" fmla="*/ 336 h 367"/>
                <a:gd name="T36" fmla="*/ 213 w 426"/>
                <a:gd name="T37" fmla="*/ 336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26" h="367">
                  <a:moveTo>
                    <a:pt x="213" y="366"/>
                  </a:moveTo>
                  <a:cubicBezTo>
                    <a:pt x="154" y="366"/>
                    <a:pt x="95" y="366"/>
                    <a:pt x="36" y="367"/>
                  </a:cubicBezTo>
                  <a:cubicBezTo>
                    <a:pt x="23" y="367"/>
                    <a:pt x="12" y="363"/>
                    <a:pt x="6" y="351"/>
                  </a:cubicBezTo>
                  <a:cubicBezTo>
                    <a:pt x="0" y="340"/>
                    <a:pt x="3" y="329"/>
                    <a:pt x="9" y="318"/>
                  </a:cubicBezTo>
                  <a:cubicBezTo>
                    <a:pt x="67" y="219"/>
                    <a:pt x="125" y="119"/>
                    <a:pt x="183" y="20"/>
                  </a:cubicBezTo>
                  <a:cubicBezTo>
                    <a:pt x="190" y="8"/>
                    <a:pt x="199" y="0"/>
                    <a:pt x="214" y="0"/>
                  </a:cubicBezTo>
                  <a:cubicBezTo>
                    <a:pt x="228" y="0"/>
                    <a:pt x="236" y="9"/>
                    <a:pt x="243" y="20"/>
                  </a:cubicBezTo>
                  <a:cubicBezTo>
                    <a:pt x="300" y="120"/>
                    <a:pt x="358" y="219"/>
                    <a:pt x="417" y="318"/>
                  </a:cubicBezTo>
                  <a:cubicBezTo>
                    <a:pt x="423" y="329"/>
                    <a:pt x="426" y="340"/>
                    <a:pt x="420" y="351"/>
                  </a:cubicBezTo>
                  <a:cubicBezTo>
                    <a:pt x="414" y="363"/>
                    <a:pt x="403" y="367"/>
                    <a:pt x="390" y="367"/>
                  </a:cubicBezTo>
                  <a:cubicBezTo>
                    <a:pt x="331" y="366"/>
                    <a:pt x="272" y="366"/>
                    <a:pt x="213" y="366"/>
                  </a:cubicBezTo>
                  <a:close/>
                  <a:moveTo>
                    <a:pt x="213" y="336"/>
                  </a:moveTo>
                  <a:cubicBezTo>
                    <a:pt x="267" y="336"/>
                    <a:pt x="321" y="336"/>
                    <a:pt x="375" y="336"/>
                  </a:cubicBezTo>
                  <a:cubicBezTo>
                    <a:pt x="383" y="336"/>
                    <a:pt x="392" y="336"/>
                    <a:pt x="384" y="323"/>
                  </a:cubicBezTo>
                  <a:cubicBezTo>
                    <a:pt x="330" y="231"/>
                    <a:pt x="275" y="138"/>
                    <a:pt x="221" y="46"/>
                  </a:cubicBezTo>
                  <a:cubicBezTo>
                    <a:pt x="215" y="35"/>
                    <a:pt x="212" y="33"/>
                    <a:pt x="205" y="45"/>
                  </a:cubicBezTo>
                  <a:cubicBezTo>
                    <a:pt x="151" y="137"/>
                    <a:pt x="97" y="229"/>
                    <a:pt x="44" y="321"/>
                  </a:cubicBezTo>
                  <a:cubicBezTo>
                    <a:pt x="35" y="335"/>
                    <a:pt x="36" y="336"/>
                    <a:pt x="54" y="336"/>
                  </a:cubicBezTo>
                  <a:cubicBezTo>
                    <a:pt x="107" y="336"/>
                    <a:pt x="160" y="336"/>
                    <a:pt x="213" y="3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36" name="Freeform 86"/>
            <p:cNvSpPr>
              <a:spLocks/>
            </p:cNvSpPr>
            <p:nvPr/>
          </p:nvSpPr>
          <p:spPr bwMode="auto">
            <a:xfrm>
              <a:off x="3797" y="1943"/>
              <a:ext cx="88" cy="393"/>
            </a:xfrm>
            <a:custGeom>
              <a:avLst/>
              <a:gdLst>
                <a:gd name="T0" fmla="*/ 37 w 37"/>
                <a:gd name="T1" fmla="*/ 41 h 165"/>
                <a:gd name="T2" fmla="*/ 27 w 37"/>
                <a:gd name="T3" fmla="*/ 152 h 165"/>
                <a:gd name="T4" fmla="*/ 18 w 37"/>
                <a:gd name="T5" fmla="*/ 165 h 165"/>
                <a:gd name="T6" fmla="*/ 9 w 37"/>
                <a:gd name="T7" fmla="*/ 153 h 165"/>
                <a:gd name="T8" fmla="*/ 0 w 37"/>
                <a:gd name="T9" fmla="*/ 22 h 165"/>
                <a:gd name="T10" fmla="*/ 1 w 37"/>
                <a:gd name="T11" fmla="*/ 13 h 165"/>
                <a:gd name="T12" fmla="*/ 18 w 37"/>
                <a:gd name="T13" fmla="*/ 0 h 165"/>
                <a:gd name="T14" fmla="*/ 35 w 37"/>
                <a:gd name="T15" fmla="*/ 14 h 165"/>
                <a:gd name="T16" fmla="*/ 35 w 37"/>
                <a:gd name="T17" fmla="*/ 41 h 165"/>
                <a:gd name="T18" fmla="*/ 37 w 37"/>
                <a:gd name="T19" fmla="*/ 41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165">
                  <a:moveTo>
                    <a:pt x="37" y="41"/>
                  </a:moveTo>
                  <a:cubicBezTo>
                    <a:pt x="34" y="78"/>
                    <a:pt x="30" y="115"/>
                    <a:pt x="27" y="152"/>
                  </a:cubicBezTo>
                  <a:cubicBezTo>
                    <a:pt x="27" y="158"/>
                    <a:pt x="26" y="165"/>
                    <a:pt x="18" y="165"/>
                  </a:cubicBezTo>
                  <a:cubicBezTo>
                    <a:pt x="10" y="165"/>
                    <a:pt x="9" y="159"/>
                    <a:pt x="9" y="153"/>
                  </a:cubicBezTo>
                  <a:cubicBezTo>
                    <a:pt x="5" y="110"/>
                    <a:pt x="0" y="66"/>
                    <a:pt x="0" y="22"/>
                  </a:cubicBezTo>
                  <a:cubicBezTo>
                    <a:pt x="0" y="19"/>
                    <a:pt x="0" y="16"/>
                    <a:pt x="1" y="13"/>
                  </a:cubicBezTo>
                  <a:cubicBezTo>
                    <a:pt x="3" y="4"/>
                    <a:pt x="9" y="0"/>
                    <a:pt x="18" y="0"/>
                  </a:cubicBezTo>
                  <a:cubicBezTo>
                    <a:pt x="27" y="0"/>
                    <a:pt x="34" y="5"/>
                    <a:pt x="35" y="14"/>
                  </a:cubicBezTo>
                  <a:cubicBezTo>
                    <a:pt x="36" y="23"/>
                    <a:pt x="35" y="32"/>
                    <a:pt x="35" y="41"/>
                  </a:cubicBezTo>
                  <a:cubicBezTo>
                    <a:pt x="36" y="41"/>
                    <a:pt x="36" y="41"/>
                    <a:pt x="37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37" name="Freeform 87"/>
            <p:cNvSpPr>
              <a:spLocks/>
            </p:cNvSpPr>
            <p:nvPr/>
          </p:nvSpPr>
          <p:spPr bwMode="auto">
            <a:xfrm>
              <a:off x="3790" y="2379"/>
              <a:ext cx="95" cy="93"/>
            </a:xfrm>
            <a:custGeom>
              <a:avLst/>
              <a:gdLst>
                <a:gd name="T0" fmla="*/ 21 w 40"/>
                <a:gd name="T1" fmla="*/ 39 h 39"/>
                <a:gd name="T2" fmla="*/ 1 w 40"/>
                <a:gd name="T3" fmla="*/ 21 h 39"/>
                <a:gd name="T4" fmla="*/ 21 w 40"/>
                <a:gd name="T5" fmla="*/ 1 h 39"/>
                <a:gd name="T6" fmla="*/ 40 w 40"/>
                <a:gd name="T7" fmla="*/ 20 h 39"/>
                <a:gd name="T8" fmla="*/ 21 w 40"/>
                <a:gd name="T9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9">
                  <a:moveTo>
                    <a:pt x="21" y="39"/>
                  </a:moveTo>
                  <a:cubicBezTo>
                    <a:pt x="10" y="38"/>
                    <a:pt x="3" y="32"/>
                    <a:pt x="1" y="21"/>
                  </a:cubicBezTo>
                  <a:cubicBezTo>
                    <a:pt x="0" y="11"/>
                    <a:pt x="11" y="0"/>
                    <a:pt x="21" y="1"/>
                  </a:cubicBezTo>
                  <a:cubicBezTo>
                    <a:pt x="32" y="2"/>
                    <a:pt x="40" y="9"/>
                    <a:pt x="40" y="20"/>
                  </a:cubicBezTo>
                  <a:cubicBezTo>
                    <a:pt x="40" y="31"/>
                    <a:pt x="33" y="38"/>
                    <a:pt x="21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538" name="Group 55"/>
          <p:cNvGrpSpPr>
            <a:grpSpLocks noChangeAspect="1"/>
          </p:cNvGrpSpPr>
          <p:nvPr/>
        </p:nvGrpSpPr>
        <p:grpSpPr bwMode="auto">
          <a:xfrm>
            <a:off x="2982384" y="4305118"/>
            <a:ext cx="295909" cy="295666"/>
            <a:chOff x="2017" y="342"/>
            <a:chExt cx="3641" cy="3638"/>
          </a:xfrm>
          <a:solidFill>
            <a:schemeClr val="bg1"/>
          </a:solidFill>
        </p:grpSpPr>
        <p:sp>
          <p:nvSpPr>
            <p:cNvPr id="539" name="Freeform 56"/>
            <p:cNvSpPr>
              <a:spLocks noEditPoints="1"/>
            </p:cNvSpPr>
            <p:nvPr/>
          </p:nvSpPr>
          <p:spPr bwMode="auto">
            <a:xfrm>
              <a:off x="2017" y="342"/>
              <a:ext cx="3641" cy="3638"/>
            </a:xfrm>
            <a:custGeom>
              <a:avLst/>
              <a:gdLst>
                <a:gd name="T0" fmla="*/ 701 w 1538"/>
                <a:gd name="T1" fmla="*/ 0 h 1537"/>
                <a:gd name="T2" fmla="*/ 839 w 1538"/>
                <a:gd name="T3" fmla="*/ 0 h 1537"/>
                <a:gd name="T4" fmla="*/ 849 w 1538"/>
                <a:gd name="T5" fmla="*/ 4 h 1537"/>
                <a:gd name="T6" fmla="*/ 905 w 1538"/>
                <a:gd name="T7" fmla="*/ 11 h 1537"/>
                <a:gd name="T8" fmla="*/ 1083 w 1538"/>
                <a:gd name="T9" fmla="*/ 66 h 1537"/>
                <a:gd name="T10" fmla="*/ 1279 w 1538"/>
                <a:gd name="T11" fmla="*/ 192 h 1537"/>
                <a:gd name="T12" fmla="*/ 1451 w 1538"/>
                <a:gd name="T13" fmla="*/ 411 h 1537"/>
                <a:gd name="T14" fmla="*/ 1532 w 1538"/>
                <a:gd name="T15" fmla="*/ 666 h 1537"/>
                <a:gd name="T16" fmla="*/ 1538 w 1538"/>
                <a:gd name="T17" fmla="*/ 699 h 1537"/>
                <a:gd name="T18" fmla="*/ 1538 w 1538"/>
                <a:gd name="T19" fmla="*/ 837 h 1537"/>
                <a:gd name="T20" fmla="*/ 1534 w 1538"/>
                <a:gd name="T21" fmla="*/ 845 h 1537"/>
                <a:gd name="T22" fmla="*/ 1527 w 1538"/>
                <a:gd name="T23" fmla="*/ 901 h 1537"/>
                <a:gd name="T24" fmla="*/ 1440 w 1538"/>
                <a:gd name="T25" fmla="*/ 1144 h 1537"/>
                <a:gd name="T26" fmla="*/ 1258 w 1538"/>
                <a:gd name="T27" fmla="*/ 1362 h 1537"/>
                <a:gd name="T28" fmla="*/ 1055 w 1538"/>
                <a:gd name="T29" fmla="*/ 1482 h 1537"/>
                <a:gd name="T30" fmla="*/ 828 w 1538"/>
                <a:gd name="T31" fmla="*/ 1534 h 1537"/>
                <a:gd name="T32" fmla="*/ 695 w 1538"/>
                <a:gd name="T33" fmla="*/ 1533 h 1537"/>
                <a:gd name="T34" fmla="*/ 579 w 1538"/>
                <a:gd name="T35" fmla="*/ 1512 h 1537"/>
                <a:gd name="T36" fmla="*/ 372 w 1538"/>
                <a:gd name="T37" fmla="*/ 1426 h 1537"/>
                <a:gd name="T38" fmla="*/ 191 w 1538"/>
                <a:gd name="T39" fmla="*/ 1274 h 1537"/>
                <a:gd name="T40" fmla="*/ 64 w 1538"/>
                <a:gd name="T41" fmla="*/ 1073 h 1537"/>
                <a:gd name="T42" fmla="*/ 4 w 1538"/>
                <a:gd name="T43" fmla="*/ 827 h 1537"/>
                <a:gd name="T44" fmla="*/ 11 w 1538"/>
                <a:gd name="T45" fmla="*/ 646 h 1537"/>
                <a:gd name="T46" fmla="*/ 75 w 1538"/>
                <a:gd name="T47" fmla="*/ 439 h 1537"/>
                <a:gd name="T48" fmla="*/ 290 w 1538"/>
                <a:gd name="T49" fmla="*/ 168 h 1537"/>
                <a:gd name="T50" fmla="*/ 517 w 1538"/>
                <a:gd name="T51" fmla="*/ 42 h 1537"/>
                <a:gd name="T52" fmla="*/ 669 w 1538"/>
                <a:gd name="T53" fmla="*/ 6 h 1537"/>
                <a:gd name="T54" fmla="*/ 701 w 1538"/>
                <a:gd name="T55" fmla="*/ 0 h 1537"/>
                <a:gd name="T56" fmla="*/ 425 w 1538"/>
                <a:gd name="T57" fmla="*/ 775 h 1537"/>
                <a:gd name="T58" fmla="*/ 424 w 1538"/>
                <a:gd name="T59" fmla="*/ 1232 h 1537"/>
                <a:gd name="T60" fmla="*/ 441 w 1538"/>
                <a:gd name="T61" fmla="*/ 1249 h 1537"/>
                <a:gd name="T62" fmla="*/ 1097 w 1538"/>
                <a:gd name="T63" fmla="*/ 1249 h 1537"/>
                <a:gd name="T64" fmla="*/ 1113 w 1538"/>
                <a:gd name="T65" fmla="*/ 1233 h 1537"/>
                <a:gd name="T66" fmla="*/ 1113 w 1538"/>
                <a:gd name="T67" fmla="*/ 453 h 1537"/>
                <a:gd name="T68" fmla="*/ 1107 w 1538"/>
                <a:gd name="T69" fmla="*/ 432 h 1537"/>
                <a:gd name="T70" fmla="*/ 1035 w 1538"/>
                <a:gd name="T71" fmla="*/ 315 h 1537"/>
                <a:gd name="T72" fmla="*/ 1013 w 1538"/>
                <a:gd name="T73" fmla="*/ 302 h 1537"/>
                <a:gd name="T74" fmla="*/ 442 w 1538"/>
                <a:gd name="T75" fmla="*/ 302 h 1537"/>
                <a:gd name="T76" fmla="*/ 424 w 1538"/>
                <a:gd name="T77" fmla="*/ 319 h 1537"/>
                <a:gd name="T78" fmla="*/ 425 w 1538"/>
                <a:gd name="T79" fmla="*/ 775 h 1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38" h="1537">
                  <a:moveTo>
                    <a:pt x="701" y="0"/>
                  </a:moveTo>
                  <a:cubicBezTo>
                    <a:pt x="747" y="0"/>
                    <a:pt x="793" y="0"/>
                    <a:pt x="839" y="0"/>
                  </a:cubicBezTo>
                  <a:cubicBezTo>
                    <a:pt x="840" y="6"/>
                    <a:pt x="845" y="3"/>
                    <a:pt x="849" y="4"/>
                  </a:cubicBezTo>
                  <a:cubicBezTo>
                    <a:pt x="868" y="6"/>
                    <a:pt x="886" y="7"/>
                    <a:pt x="905" y="11"/>
                  </a:cubicBezTo>
                  <a:cubicBezTo>
                    <a:pt x="966" y="23"/>
                    <a:pt x="1025" y="41"/>
                    <a:pt x="1083" y="66"/>
                  </a:cubicBezTo>
                  <a:cubicBezTo>
                    <a:pt x="1155" y="97"/>
                    <a:pt x="1221" y="140"/>
                    <a:pt x="1279" y="192"/>
                  </a:cubicBezTo>
                  <a:cubicBezTo>
                    <a:pt x="1350" y="255"/>
                    <a:pt x="1407" y="327"/>
                    <a:pt x="1451" y="411"/>
                  </a:cubicBezTo>
                  <a:cubicBezTo>
                    <a:pt x="1492" y="492"/>
                    <a:pt x="1520" y="576"/>
                    <a:pt x="1532" y="666"/>
                  </a:cubicBezTo>
                  <a:cubicBezTo>
                    <a:pt x="1533" y="677"/>
                    <a:pt x="1529" y="689"/>
                    <a:pt x="1538" y="699"/>
                  </a:cubicBezTo>
                  <a:cubicBezTo>
                    <a:pt x="1538" y="745"/>
                    <a:pt x="1538" y="791"/>
                    <a:pt x="1538" y="837"/>
                  </a:cubicBezTo>
                  <a:cubicBezTo>
                    <a:pt x="1533" y="838"/>
                    <a:pt x="1534" y="842"/>
                    <a:pt x="1534" y="845"/>
                  </a:cubicBezTo>
                  <a:cubicBezTo>
                    <a:pt x="1534" y="864"/>
                    <a:pt x="1531" y="883"/>
                    <a:pt x="1527" y="901"/>
                  </a:cubicBezTo>
                  <a:cubicBezTo>
                    <a:pt x="1511" y="987"/>
                    <a:pt x="1483" y="1068"/>
                    <a:pt x="1440" y="1144"/>
                  </a:cubicBezTo>
                  <a:cubicBezTo>
                    <a:pt x="1393" y="1229"/>
                    <a:pt x="1332" y="1301"/>
                    <a:pt x="1258" y="1362"/>
                  </a:cubicBezTo>
                  <a:cubicBezTo>
                    <a:pt x="1197" y="1413"/>
                    <a:pt x="1129" y="1453"/>
                    <a:pt x="1055" y="1482"/>
                  </a:cubicBezTo>
                  <a:cubicBezTo>
                    <a:pt x="982" y="1511"/>
                    <a:pt x="906" y="1530"/>
                    <a:pt x="828" y="1534"/>
                  </a:cubicBezTo>
                  <a:cubicBezTo>
                    <a:pt x="784" y="1537"/>
                    <a:pt x="740" y="1537"/>
                    <a:pt x="695" y="1533"/>
                  </a:cubicBezTo>
                  <a:cubicBezTo>
                    <a:pt x="656" y="1529"/>
                    <a:pt x="617" y="1522"/>
                    <a:pt x="579" y="1512"/>
                  </a:cubicBezTo>
                  <a:cubicBezTo>
                    <a:pt x="505" y="1494"/>
                    <a:pt x="437" y="1464"/>
                    <a:pt x="372" y="1426"/>
                  </a:cubicBezTo>
                  <a:cubicBezTo>
                    <a:pt x="303" y="1384"/>
                    <a:pt x="243" y="1333"/>
                    <a:pt x="191" y="1274"/>
                  </a:cubicBezTo>
                  <a:cubicBezTo>
                    <a:pt x="138" y="1214"/>
                    <a:pt x="96" y="1147"/>
                    <a:pt x="64" y="1073"/>
                  </a:cubicBezTo>
                  <a:cubicBezTo>
                    <a:pt x="31" y="994"/>
                    <a:pt x="9" y="913"/>
                    <a:pt x="4" y="827"/>
                  </a:cubicBezTo>
                  <a:cubicBezTo>
                    <a:pt x="0" y="767"/>
                    <a:pt x="1" y="706"/>
                    <a:pt x="11" y="646"/>
                  </a:cubicBezTo>
                  <a:cubicBezTo>
                    <a:pt x="23" y="574"/>
                    <a:pt x="44" y="504"/>
                    <a:pt x="75" y="439"/>
                  </a:cubicBezTo>
                  <a:cubicBezTo>
                    <a:pt x="126" y="332"/>
                    <a:pt x="198" y="241"/>
                    <a:pt x="290" y="168"/>
                  </a:cubicBezTo>
                  <a:cubicBezTo>
                    <a:pt x="359" y="113"/>
                    <a:pt x="434" y="71"/>
                    <a:pt x="517" y="42"/>
                  </a:cubicBezTo>
                  <a:cubicBezTo>
                    <a:pt x="566" y="25"/>
                    <a:pt x="617" y="13"/>
                    <a:pt x="669" y="6"/>
                  </a:cubicBezTo>
                  <a:cubicBezTo>
                    <a:pt x="679" y="5"/>
                    <a:pt x="692" y="9"/>
                    <a:pt x="701" y="0"/>
                  </a:cubicBezTo>
                  <a:close/>
                  <a:moveTo>
                    <a:pt x="425" y="775"/>
                  </a:moveTo>
                  <a:cubicBezTo>
                    <a:pt x="425" y="927"/>
                    <a:pt x="425" y="1080"/>
                    <a:pt x="424" y="1232"/>
                  </a:cubicBezTo>
                  <a:cubicBezTo>
                    <a:pt x="424" y="1245"/>
                    <a:pt x="427" y="1249"/>
                    <a:pt x="441" y="1249"/>
                  </a:cubicBezTo>
                  <a:cubicBezTo>
                    <a:pt x="659" y="1248"/>
                    <a:pt x="878" y="1248"/>
                    <a:pt x="1097" y="1249"/>
                  </a:cubicBezTo>
                  <a:cubicBezTo>
                    <a:pt x="1110" y="1249"/>
                    <a:pt x="1113" y="1246"/>
                    <a:pt x="1113" y="1233"/>
                  </a:cubicBezTo>
                  <a:cubicBezTo>
                    <a:pt x="1113" y="973"/>
                    <a:pt x="1113" y="713"/>
                    <a:pt x="1113" y="453"/>
                  </a:cubicBezTo>
                  <a:cubicBezTo>
                    <a:pt x="1113" y="445"/>
                    <a:pt x="1111" y="439"/>
                    <a:pt x="1107" y="432"/>
                  </a:cubicBezTo>
                  <a:cubicBezTo>
                    <a:pt x="1083" y="393"/>
                    <a:pt x="1059" y="354"/>
                    <a:pt x="1035" y="315"/>
                  </a:cubicBezTo>
                  <a:cubicBezTo>
                    <a:pt x="1030" y="305"/>
                    <a:pt x="1024" y="302"/>
                    <a:pt x="1013" y="302"/>
                  </a:cubicBezTo>
                  <a:cubicBezTo>
                    <a:pt x="822" y="302"/>
                    <a:pt x="632" y="302"/>
                    <a:pt x="442" y="302"/>
                  </a:cubicBezTo>
                  <a:cubicBezTo>
                    <a:pt x="428" y="302"/>
                    <a:pt x="424" y="305"/>
                    <a:pt x="424" y="319"/>
                  </a:cubicBezTo>
                  <a:cubicBezTo>
                    <a:pt x="425" y="471"/>
                    <a:pt x="424" y="623"/>
                    <a:pt x="425" y="7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0" name="Freeform 57"/>
            <p:cNvSpPr>
              <a:spLocks noEditPoints="1"/>
            </p:cNvSpPr>
            <p:nvPr/>
          </p:nvSpPr>
          <p:spPr bwMode="auto">
            <a:xfrm>
              <a:off x="3187" y="1642"/>
              <a:ext cx="435" cy="291"/>
            </a:xfrm>
            <a:custGeom>
              <a:avLst/>
              <a:gdLst>
                <a:gd name="T0" fmla="*/ 119 w 184"/>
                <a:gd name="T1" fmla="*/ 35 h 123"/>
                <a:gd name="T2" fmla="*/ 163 w 184"/>
                <a:gd name="T3" fmla="*/ 5 h 123"/>
                <a:gd name="T4" fmla="*/ 176 w 184"/>
                <a:gd name="T5" fmla="*/ 8 h 123"/>
                <a:gd name="T6" fmla="*/ 175 w 184"/>
                <a:gd name="T7" fmla="*/ 23 h 123"/>
                <a:gd name="T8" fmla="*/ 128 w 184"/>
                <a:gd name="T9" fmla="*/ 54 h 123"/>
                <a:gd name="T10" fmla="*/ 118 w 184"/>
                <a:gd name="T11" fmla="*/ 73 h 123"/>
                <a:gd name="T12" fmla="*/ 119 w 184"/>
                <a:gd name="T13" fmla="*/ 112 h 123"/>
                <a:gd name="T14" fmla="*/ 107 w 184"/>
                <a:gd name="T15" fmla="*/ 123 h 123"/>
                <a:gd name="T16" fmla="*/ 11 w 184"/>
                <a:gd name="T17" fmla="*/ 123 h 123"/>
                <a:gd name="T18" fmla="*/ 0 w 184"/>
                <a:gd name="T19" fmla="*/ 112 h 123"/>
                <a:gd name="T20" fmla="*/ 0 w 184"/>
                <a:gd name="T21" fmla="*/ 16 h 123"/>
                <a:gd name="T22" fmla="*/ 12 w 184"/>
                <a:gd name="T23" fmla="*/ 3 h 123"/>
                <a:gd name="T24" fmla="*/ 106 w 184"/>
                <a:gd name="T25" fmla="*/ 3 h 123"/>
                <a:gd name="T26" fmla="*/ 119 w 184"/>
                <a:gd name="T27" fmla="*/ 16 h 123"/>
                <a:gd name="T28" fmla="*/ 119 w 184"/>
                <a:gd name="T29" fmla="*/ 35 h 123"/>
                <a:gd name="T30" fmla="*/ 107 w 184"/>
                <a:gd name="T31" fmla="*/ 69 h 123"/>
                <a:gd name="T32" fmla="*/ 85 w 184"/>
                <a:gd name="T33" fmla="*/ 84 h 123"/>
                <a:gd name="T34" fmla="*/ 34 w 184"/>
                <a:gd name="T35" fmla="*/ 80 h 123"/>
                <a:gd name="T36" fmla="*/ 31 w 184"/>
                <a:gd name="T37" fmla="*/ 64 h 123"/>
                <a:gd name="T38" fmla="*/ 49 w 184"/>
                <a:gd name="T39" fmla="*/ 64 h 123"/>
                <a:gd name="T40" fmla="*/ 66 w 184"/>
                <a:gd name="T41" fmla="*/ 71 h 123"/>
                <a:gd name="T42" fmla="*/ 103 w 184"/>
                <a:gd name="T43" fmla="*/ 45 h 123"/>
                <a:gd name="T44" fmla="*/ 108 w 184"/>
                <a:gd name="T45" fmla="*/ 19 h 123"/>
                <a:gd name="T46" fmla="*/ 93 w 184"/>
                <a:gd name="T47" fmla="*/ 15 h 123"/>
                <a:gd name="T48" fmla="*/ 22 w 184"/>
                <a:gd name="T49" fmla="*/ 14 h 123"/>
                <a:gd name="T50" fmla="*/ 9 w 184"/>
                <a:gd name="T51" fmla="*/ 27 h 123"/>
                <a:gd name="T52" fmla="*/ 9 w 184"/>
                <a:gd name="T53" fmla="*/ 101 h 123"/>
                <a:gd name="T54" fmla="*/ 21 w 184"/>
                <a:gd name="T55" fmla="*/ 113 h 123"/>
                <a:gd name="T56" fmla="*/ 71 w 184"/>
                <a:gd name="T57" fmla="*/ 113 h 123"/>
                <a:gd name="T58" fmla="*/ 107 w 184"/>
                <a:gd name="T59" fmla="*/ 69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4" h="123">
                  <a:moveTo>
                    <a:pt x="119" y="35"/>
                  </a:moveTo>
                  <a:cubicBezTo>
                    <a:pt x="135" y="24"/>
                    <a:pt x="150" y="15"/>
                    <a:pt x="163" y="5"/>
                  </a:cubicBezTo>
                  <a:cubicBezTo>
                    <a:pt x="170" y="0"/>
                    <a:pt x="172" y="3"/>
                    <a:pt x="176" y="8"/>
                  </a:cubicBezTo>
                  <a:cubicBezTo>
                    <a:pt x="179" y="13"/>
                    <a:pt x="184" y="18"/>
                    <a:pt x="175" y="23"/>
                  </a:cubicBezTo>
                  <a:cubicBezTo>
                    <a:pt x="159" y="33"/>
                    <a:pt x="144" y="44"/>
                    <a:pt x="128" y="54"/>
                  </a:cubicBezTo>
                  <a:cubicBezTo>
                    <a:pt x="121" y="59"/>
                    <a:pt x="118" y="64"/>
                    <a:pt x="118" y="73"/>
                  </a:cubicBezTo>
                  <a:cubicBezTo>
                    <a:pt x="119" y="86"/>
                    <a:pt x="118" y="99"/>
                    <a:pt x="119" y="112"/>
                  </a:cubicBezTo>
                  <a:cubicBezTo>
                    <a:pt x="119" y="120"/>
                    <a:pt x="116" y="123"/>
                    <a:pt x="107" y="123"/>
                  </a:cubicBezTo>
                  <a:cubicBezTo>
                    <a:pt x="75" y="123"/>
                    <a:pt x="43" y="123"/>
                    <a:pt x="11" y="123"/>
                  </a:cubicBezTo>
                  <a:cubicBezTo>
                    <a:pt x="3" y="123"/>
                    <a:pt x="0" y="120"/>
                    <a:pt x="0" y="112"/>
                  </a:cubicBezTo>
                  <a:cubicBezTo>
                    <a:pt x="0" y="80"/>
                    <a:pt x="0" y="48"/>
                    <a:pt x="0" y="16"/>
                  </a:cubicBezTo>
                  <a:cubicBezTo>
                    <a:pt x="0" y="7"/>
                    <a:pt x="3" y="3"/>
                    <a:pt x="12" y="3"/>
                  </a:cubicBezTo>
                  <a:cubicBezTo>
                    <a:pt x="43" y="4"/>
                    <a:pt x="75" y="4"/>
                    <a:pt x="106" y="3"/>
                  </a:cubicBezTo>
                  <a:cubicBezTo>
                    <a:pt x="115" y="3"/>
                    <a:pt x="119" y="7"/>
                    <a:pt x="119" y="16"/>
                  </a:cubicBezTo>
                  <a:cubicBezTo>
                    <a:pt x="118" y="21"/>
                    <a:pt x="119" y="26"/>
                    <a:pt x="119" y="35"/>
                  </a:cubicBezTo>
                  <a:close/>
                  <a:moveTo>
                    <a:pt x="107" y="69"/>
                  </a:moveTo>
                  <a:cubicBezTo>
                    <a:pt x="98" y="75"/>
                    <a:pt x="91" y="79"/>
                    <a:pt x="85" y="84"/>
                  </a:cubicBezTo>
                  <a:cubicBezTo>
                    <a:pt x="58" y="102"/>
                    <a:pt x="58" y="102"/>
                    <a:pt x="34" y="80"/>
                  </a:cubicBezTo>
                  <a:cubicBezTo>
                    <a:pt x="29" y="75"/>
                    <a:pt x="23" y="72"/>
                    <a:pt x="31" y="64"/>
                  </a:cubicBezTo>
                  <a:cubicBezTo>
                    <a:pt x="38" y="55"/>
                    <a:pt x="43" y="59"/>
                    <a:pt x="49" y="64"/>
                  </a:cubicBezTo>
                  <a:cubicBezTo>
                    <a:pt x="53" y="68"/>
                    <a:pt x="57" y="77"/>
                    <a:pt x="66" y="71"/>
                  </a:cubicBezTo>
                  <a:cubicBezTo>
                    <a:pt x="78" y="62"/>
                    <a:pt x="91" y="54"/>
                    <a:pt x="103" y="45"/>
                  </a:cubicBezTo>
                  <a:cubicBezTo>
                    <a:pt x="113" y="38"/>
                    <a:pt x="109" y="28"/>
                    <a:pt x="108" y="19"/>
                  </a:cubicBezTo>
                  <a:cubicBezTo>
                    <a:pt x="107" y="11"/>
                    <a:pt x="98" y="15"/>
                    <a:pt x="93" y="15"/>
                  </a:cubicBezTo>
                  <a:cubicBezTo>
                    <a:pt x="69" y="14"/>
                    <a:pt x="46" y="15"/>
                    <a:pt x="22" y="14"/>
                  </a:cubicBezTo>
                  <a:cubicBezTo>
                    <a:pt x="12" y="14"/>
                    <a:pt x="9" y="18"/>
                    <a:pt x="9" y="27"/>
                  </a:cubicBezTo>
                  <a:cubicBezTo>
                    <a:pt x="10" y="52"/>
                    <a:pt x="10" y="76"/>
                    <a:pt x="9" y="101"/>
                  </a:cubicBezTo>
                  <a:cubicBezTo>
                    <a:pt x="9" y="109"/>
                    <a:pt x="12" y="113"/>
                    <a:pt x="21" y="113"/>
                  </a:cubicBezTo>
                  <a:cubicBezTo>
                    <a:pt x="38" y="113"/>
                    <a:pt x="54" y="113"/>
                    <a:pt x="71" y="113"/>
                  </a:cubicBezTo>
                  <a:cubicBezTo>
                    <a:pt x="112" y="113"/>
                    <a:pt x="112" y="113"/>
                    <a:pt x="107" y="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1" name="Freeform 58"/>
            <p:cNvSpPr>
              <a:spLocks noEditPoints="1"/>
            </p:cNvSpPr>
            <p:nvPr/>
          </p:nvSpPr>
          <p:spPr bwMode="auto">
            <a:xfrm>
              <a:off x="3187" y="1261"/>
              <a:ext cx="430" cy="288"/>
            </a:xfrm>
            <a:custGeom>
              <a:avLst/>
              <a:gdLst>
                <a:gd name="T0" fmla="*/ 120 w 182"/>
                <a:gd name="T1" fmla="*/ 33 h 122"/>
                <a:gd name="T2" fmla="*/ 162 w 182"/>
                <a:gd name="T3" fmla="*/ 5 h 122"/>
                <a:gd name="T4" fmla="*/ 176 w 182"/>
                <a:gd name="T5" fmla="*/ 7 h 122"/>
                <a:gd name="T6" fmla="*/ 174 w 182"/>
                <a:gd name="T7" fmla="*/ 23 h 122"/>
                <a:gd name="T8" fmla="*/ 129 w 182"/>
                <a:gd name="T9" fmla="*/ 53 h 122"/>
                <a:gd name="T10" fmla="*/ 118 w 182"/>
                <a:gd name="T11" fmla="*/ 72 h 122"/>
                <a:gd name="T12" fmla="*/ 119 w 182"/>
                <a:gd name="T13" fmla="*/ 110 h 122"/>
                <a:gd name="T14" fmla="*/ 106 w 182"/>
                <a:gd name="T15" fmla="*/ 122 h 122"/>
                <a:gd name="T16" fmla="*/ 12 w 182"/>
                <a:gd name="T17" fmla="*/ 122 h 122"/>
                <a:gd name="T18" fmla="*/ 0 w 182"/>
                <a:gd name="T19" fmla="*/ 110 h 122"/>
                <a:gd name="T20" fmla="*/ 0 w 182"/>
                <a:gd name="T21" fmla="*/ 16 h 122"/>
                <a:gd name="T22" fmla="*/ 13 w 182"/>
                <a:gd name="T23" fmla="*/ 3 h 122"/>
                <a:gd name="T24" fmla="*/ 100 w 182"/>
                <a:gd name="T25" fmla="*/ 3 h 122"/>
                <a:gd name="T26" fmla="*/ 119 w 182"/>
                <a:gd name="T27" fmla="*/ 21 h 122"/>
                <a:gd name="T28" fmla="*/ 120 w 182"/>
                <a:gd name="T29" fmla="*/ 33 h 122"/>
                <a:gd name="T30" fmla="*/ 108 w 182"/>
                <a:gd name="T31" fmla="*/ 67 h 122"/>
                <a:gd name="T32" fmla="*/ 84 w 182"/>
                <a:gd name="T33" fmla="*/ 83 h 122"/>
                <a:gd name="T34" fmla="*/ 35 w 182"/>
                <a:gd name="T35" fmla="*/ 80 h 122"/>
                <a:gd name="T36" fmla="*/ 31 w 182"/>
                <a:gd name="T37" fmla="*/ 62 h 122"/>
                <a:gd name="T38" fmla="*/ 49 w 182"/>
                <a:gd name="T39" fmla="*/ 64 h 122"/>
                <a:gd name="T40" fmla="*/ 65 w 182"/>
                <a:gd name="T41" fmla="*/ 71 h 122"/>
                <a:gd name="T42" fmla="*/ 103 w 182"/>
                <a:gd name="T43" fmla="*/ 44 h 122"/>
                <a:gd name="T44" fmla="*/ 108 w 182"/>
                <a:gd name="T45" fmla="*/ 18 h 122"/>
                <a:gd name="T46" fmla="*/ 92 w 182"/>
                <a:gd name="T47" fmla="*/ 14 h 122"/>
                <a:gd name="T48" fmla="*/ 21 w 182"/>
                <a:gd name="T49" fmla="*/ 13 h 122"/>
                <a:gd name="T50" fmla="*/ 9 w 182"/>
                <a:gd name="T51" fmla="*/ 23 h 122"/>
                <a:gd name="T52" fmla="*/ 9 w 182"/>
                <a:gd name="T53" fmla="*/ 103 h 122"/>
                <a:gd name="T54" fmla="*/ 19 w 182"/>
                <a:gd name="T55" fmla="*/ 113 h 122"/>
                <a:gd name="T56" fmla="*/ 100 w 182"/>
                <a:gd name="T57" fmla="*/ 112 h 122"/>
                <a:gd name="T58" fmla="*/ 108 w 182"/>
                <a:gd name="T59" fmla="*/ 104 h 122"/>
                <a:gd name="T60" fmla="*/ 108 w 182"/>
                <a:gd name="T61" fmla="*/ 6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82" h="122">
                  <a:moveTo>
                    <a:pt x="120" y="33"/>
                  </a:moveTo>
                  <a:cubicBezTo>
                    <a:pt x="135" y="23"/>
                    <a:pt x="149" y="15"/>
                    <a:pt x="162" y="5"/>
                  </a:cubicBezTo>
                  <a:cubicBezTo>
                    <a:pt x="168" y="1"/>
                    <a:pt x="172" y="0"/>
                    <a:pt x="176" y="7"/>
                  </a:cubicBezTo>
                  <a:cubicBezTo>
                    <a:pt x="180" y="14"/>
                    <a:pt x="182" y="18"/>
                    <a:pt x="174" y="23"/>
                  </a:cubicBezTo>
                  <a:cubicBezTo>
                    <a:pt x="159" y="33"/>
                    <a:pt x="144" y="43"/>
                    <a:pt x="129" y="53"/>
                  </a:cubicBezTo>
                  <a:cubicBezTo>
                    <a:pt x="121" y="58"/>
                    <a:pt x="118" y="63"/>
                    <a:pt x="118" y="72"/>
                  </a:cubicBezTo>
                  <a:cubicBezTo>
                    <a:pt x="119" y="85"/>
                    <a:pt x="118" y="97"/>
                    <a:pt x="119" y="110"/>
                  </a:cubicBezTo>
                  <a:cubicBezTo>
                    <a:pt x="119" y="119"/>
                    <a:pt x="116" y="122"/>
                    <a:pt x="106" y="122"/>
                  </a:cubicBezTo>
                  <a:cubicBezTo>
                    <a:pt x="75" y="122"/>
                    <a:pt x="43" y="122"/>
                    <a:pt x="12" y="122"/>
                  </a:cubicBezTo>
                  <a:cubicBezTo>
                    <a:pt x="3" y="122"/>
                    <a:pt x="0" y="119"/>
                    <a:pt x="0" y="110"/>
                  </a:cubicBezTo>
                  <a:cubicBezTo>
                    <a:pt x="0" y="79"/>
                    <a:pt x="0" y="47"/>
                    <a:pt x="0" y="16"/>
                  </a:cubicBezTo>
                  <a:cubicBezTo>
                    <a:pt x="0" y="6"/>
                    <a:pt x="3" y="3"/>
                    <a:pt x="13" y="3"/>
                  </a:cubicBezTo>
                  <a:cubicBezTo>
                    <a:pt x="42" y="3"/>
                    <a:pt x="71" y="4"/>
                    <a:pt x="100" y="3"/>
                  </a:cubicBezTo>
                  <a:cubicBezTo>
                    <a:pt x="114" y="2"/>
                    <a:pt x="121" y="6"/>
                    <a:pt x="119" y="21"/>
                  </a:cubicBezTo>
                  <a:cubicBezTo>
                    <a:pt x="118" y="24"/>
                    <a:pt x="119" y="28"/>
                    <a:pt x="120" y="33"/>
                  </a:cubicBezTo>
                  <a:close/>
                  <a:moveTo>
                    <a:pt x="108" y="67"/>
                  </a:moveTo>
                  <a:cubicBezTo>
                    <a:pt x="98" y="74"/>
                    <a:pt x="91" y="79"/>
                    <a:pt x="84" y="83"/>
                  </a:cubicBezTo>
                  <a:cubicBezTo>
                    <a:pt x="58" y="101"/>
                    <a:pt x="58" y="101"/>
                    <a:pt x="35" y="80"/>
                  </a:cubicBezTo>
                  <a:cubicBezTo>
                    <a:pt x="29" y="75"/>
                    <a:pt x="23" y="72"/>
                    <a:pt x="31" y="62"/>
                  </a:cubicBezTo>
                  <a:cubicBezTo>
                    <a:pt x="40" y="53"/>
                    <a:pt x="43" y="60"/>
                    <a:pt x="49" y="64"/>
                  </a:cubicBezTo>
                  <a:cubicBezTo>
                    <a:pt x="54" y="68"/>
                    <a:pt x="57" y="76"/>
                    <a:pt x="65" y="71"/>
                  </a:cubicBezTo>
                  <a:cubicBezTo>
                    <a:pt x="78" y="62"/>
                    <a:pt x="91" y="54"/>
                    <a:pt x="103" y="44"/>
                  </a:cubicBezTo>
                  <a:cubicBezTo>
                    <a:pt x="113" y="37"/>
                    <a:pt x="109" y="27"/>
                    <a:pt x="108" y="18"/>
                  </a:cubicBezTo>
                  <a:cubicBezTo>
                    <a:pt x="107" y="10"/>
                    <a:pt x="98" y="14"/>
                    <a:pt x="92" y="14"/>
                  </a:cubicBezTo>
                  <a:cubicBezTo>
                    <a:pt x="68" y="13"/>
                    <a:pt x="44" y="14"/>
                    <a:pt x="21" y="13"/>
                  </a:cubicBezTo>
                  <a:cubicBezTo>
                    <a:pt x="13" y="13"/>
                    <a:pt x="9" y="15"/>
                    <a:pt x="9" y="23"/>
                  </a:cubicBezTo>
                  <a:cubicBezTo>
                    <a:pt x="10" y="50"/>
                    <a:pt x="10" y="76"/>
                    <a:pt x="9" y="103"/>
                  </a:cubicBezTo>
                  <a:cubicBezTo>
                    <a:pt x="9" y="109"/>
                    <a:pt x="12" y="113"/>
                    <a:pt x="19" y="113"/>
                  </a:cubicBezTo>
                  <a:cubicBezTo>
                    <a:pt x="46" y="112"/>
                    <a:pt x="73" y="112"/>
                    <a:pt x="100" y="112"/>
                  </a:cubicBezTo>
                  <a:cubicBezTo>
                    <a:pt x="106" y="112"/>
                    <a:pt x="108" y="110"/>
                    <a:pt x="108" y="104"/>
                  </a:cubicBezTo>
                  <a:cubicBezTo>
                    <a:pt x="108" y="93"/>
                    <a:pt x="108" y="82"/>
                    <a:pt x="108" y="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2" name="Freeform 59"/>
            <p:cNvSpPr>
              <a:spLocks/>
            </p:cNvSpPr>
            <p:nvPr/>
          </p:nvSpPr>
          <p:spPr bwMode="auto">
            <a:xfrm>
              <a:off x="3606" y="1871"/>
              <a:ext cx="861" cy="55"/>
            </a:xfrm>
            <a:custGeom>
              <a:avLst/>
              <a:gdLst>
                <a:gd name="T0" fmla="*/ 181 w 364"/>
                <a:gd name="T1" fmla="*/ 20 h 23"/>
                <a:gd name="T2" fmla="*/ 13 w 364"/>
                <a:gd name="T3" fmla="*/ 20 h 23"/>
                <a:gd name="T4" fmla="*/ 0 w 364"/>
                <a:gd name="T5" fmla="*/ 12 h 23"/>
                <a:gd name="T6" fmla="*/ 14 w 364"/>
                <a:gd name="T7" fmla="*/ 3 h 23"/>
                <a:gd name="T8" fmla="*/ 351 w 364"/>
                <a:gd name="T9" fmla="*/ 3 h 23"/>
                <a:gd name="T10" fmla="*/ 363 w 364"/>
                <a:gd name="T11" fmla="*/ 11 h 23"/>
                <a:gd name="T12" fmla="*/ 350 w 364"/>
                <a:gd name="T13" fmla="*/ 20 h 23"/>
                <a:gd name="T14" fmla="*/ 181 w 364"/>
                <a:gd name="T15" fmla="*/ 2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4" h="23">
                  <a:moveTo>
                    <a:pt x="181" y="20"/>
                  </a:moveTo>
                  <a:cubicBezTo>
                    <a:pt x="125" y="20"/>
                    <a:pt x="69" y="20"/>
                    <a:pt x="13" y="20"/>
                  </a:cubicBezTo>
                  <a:cubicBezTo>
                    <a:pt x="8" y="20"/>
                    <a:pt x="0" y="23"/>
                    <a:pt x="0" y="12"/>
                  </a:cubicBezTo>
                  <a:cubicBezTo>
                    <a:pt x="0" y="0"/>
                    <a:pt x="8" y="3"/>
                    <a:pt x="14" y="3"/>
                  </a:cubicBezTo>
                  <a:cubicBezTo>
                    <a:pt x="126" y="3"/>
                    <a:pt x="238" y="3"/>
                    <a:pt x="351" y="3"/>
                  </a:cubicBezTo>
                  <a:cubicBezTo>
                    <a:pt x="356" y="3"/>
                    <a:pt x="363" y="1"/>
                    <a:pt x="363" y="11"/>
                  </a:cubicBezTo>
                  <a:cubicBezTo>
                    <a:pt x="364" y="22"/>
                    <a:pt x="356" y="20"/>
                    <a:pt x="350" y="20"/>
                  </a:cubicBezTo>
                  <a:cubicBezTo>
                    <a:pt x="294" y="20"/>
                    <a:pt x="238" y="20"/>
                    <a:pt x="181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3" name="Freeform 60"/>
            <p:cNvSpPr>
              <a:spLocks/>
            </p:cNvSpPr>
            <p:nvPr/>
          </p:nvSpPr>
          <p:spPr bwMode="auto">
            <a:xfrm>
              <a:off x="3603" y="2245"/>
              <a:ext cx="864" cy="57"/>
            </a:xfrm>
            <a:custGeom>
              <a:avLst/>
              <a:gdLst>
                <a:gd name="T0" fmla="*/ 184 w 365"/>
                <a:gd name="T1" fmla="*/ 3 h 24"/>
                <a:gd name="T2" fmla="*/ 350 w 365"/>
                <a:gd name="T3" fmla="*/ 3 h 24"/>
                <a:gd name="T4" fmla="*/ 364 w 365"/>
                <a:gd name="T5" fmla="*/ 11 h 24"/>
                <a:gd name="T6" fmla="*/ 350 w 365"/>
                <a:gd name="T7" fmla="*/ 20 h 24"/>
                <a:gd name="T8" fmla="*/ 16 w 365"/>
                <a:gd name="T9" fmla="*/ 20 h 24"/>
                <a:gd name="T10" fmla="*/ 1 w 365"/>
                <a:gd name="T11" fmla="*/ 14 h 24"/>
                <a:gd name="T12" fmla="*/ 13 w 365"/>
                <a:gd name="T13" fmla="*/ 3 h 24"/>
                <a:gd name="T14" fmla="*/ 184 w 365"/>
                <a:gd name="T15" fmla="*/ 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5" h="24">
                  <a:moveTo>
                    <a:pt x="184" y="3"/>
                  </a:moveTo>
                  <a:cubicBezTo>
                    <a:pt x="240" y="3"/>
                    <a:pt x="295" y="3"/>
                    <a:pt x="350" y="3"/>
                  </a:cubicBezTo>
                  <a:cubicBezTo>
                    <a:pt x="356" y="3"/>
                    <a:pt x="364" y="0"/>
                    <a:pt x="364" y="11"/>
                  </a:cubicBezTo>
                  <a:cubicBezTo>
                    <a:pt x="365" y="23"/>
                    <a:pt x="356" y="20"/>
                    <a:pt x="350" y="20"/>
                  </a:cubicBezTo>
                  <a:cubicBezTo>
                    <a:pt x="239" y="20"/>
                    <a:pt x="127" y="20"/>
                    <a:pt x="16" y="20"/>
                  </a:cubicBezTo>
                  <a:cubicBezTo>
                    <a:pt x="11" y="20"/>
                    <a:pt x="3" y="24"/>
                    <a:pt x="1" y="14"/>
                  </a:cubicBezTo>
                  <a:cubicBezTo>
                    <a:pt x="0" y="5"/>
                    <a:pt x="4" y="3"/>
                    <a:pt x="13" y="3"/>
                  </a:cubicBezTo>
                  <a:cubicBezTo>
                    <a:pt x="70" y="3"/>
                    <a:pt x="127" y="3"/>
                    <a:pt x="18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4" name="Freeform 61"/>
            <p:cNvSpPr>
              <a:spLocks/>
            </p:cNvSpPr>
            <p:nvPr/>
          </p:nvSpPr>
          <p:spPr bwMode="auto">
            <a:xfrm>
              <a:off x="3606" y="3019"/>
              <a:ext cx="861" cy="57"/>
            </a:xfrm>
            <a:custGeom>
              <a:avLst/>
              <a:gdLst>
                <a:gd name="T0" fmla="*/ 183 w 364"/>
                <a:gd name="T1" fmla="*/ 3 h 24"/>
                <a:gd name="T2" fmla="*/ 349 w 364"/>
                <a:gd name="T3" fmla="*/ 3 h 24"/>
                <a:gd name="T4" fmla="*/ 363 w 364"/>
                <a:gd name="T5" fmla="*/ 13 h 24"/>
                <a:gd name="T6" fmla="*/ 349 w 364"/>
                <a:gd name="T7" fmla="*/ 20 h 24"/>
                <a:gd name="T8" fmla="*/ 14 w 364"/>
                <a:gd name="T9" fmla="*/ 21 h 24"/>
                <a:gd name="T10" fmla="*/ 0 w 364"/>
                <a:gd name="T11" fmla="*/ 11 h 24"/>
                <a:gd name="T12" fmla="*/ 14 w 364"/>
                <a:gd name="T13" fmla="*/ 4 h 24"/>
                <a:gd name="T14" fmla="*/ 183 w 364"/>
                <a:gd name="T15" fmla="*/ 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4" h="24">
                  <a:moveTo>
                    <a:pt x="183" y="3"/>
                  </a:moveTo>
                  <a:cubicBezTo>
                    <a:pt x="239" y="3"/>
                    <a:pt x="294" y="3"/>
                    <a:pt x="349" y="3"/>
                  </a:cubicBezTo>
                  <a:cubicBezTo>
                    <a:pt x="356" y="3"/>
                    <a:pt x="364" y="1"/>
                    <a:pt x="363" y="13"/>
                  </a:cubicBezTo>
                  <a:cubicBezTo>
                    <a:pt x="363" y="24"/>
                    <a:pt x="355" y="20"/>
                    <a:pt x="349" y="20"/>
                  </a:cubicBezTo>
                  <a:cubicBezTo>
                    <a:pt x="238" y="21"/>
                    <a:pt x="126" y="21"/>
                    <a:pt x="14" y="21"/>
                  </a:cubicBezTo>
                  <a:cubicBezTo>
                    <a:pt x="8" y="21"/>
                    <a:pt x="0" y="23"/>
                    <a:pt x="0" y="11"/>
                  </a:cubicBezTo>
                  <a:cubicBezTo>
                    <a:pt x="1" y="0"/>
                    <a:pt x="9" y="4"/>
                    <a:pt x="14" y="4"/>
                  </a:cubicBezTo>
                  <a:cubicBezTo>
                    <a:pt x="70" y="3"/>
                    <a:pt x="127" y="3"/>
                    <a:pt x="18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5" name="Freeform 62"/>
            <p:cNvSpPr>
              <a:spLocks/>
            </p:cNvSpPr>
            <p:nvPr/>
          </p:nvSpPr>
          <p:spPr bwMode="auto">
            <a:xfrm>
              <a:off x="3606" y="1462"/>
              <a:ext cx="859" cy="54"/>
            </a:xfrm>
            <a:custGeom>
              <a:avLst/>
              <a:gdLst>
                <a:gd name="T0" fmla="*/ 183 w 363"/>
                <a:gd name="T1" fmla="*/ 3 h 23"/>
                <a:gd name="T2" fmla="*/ 349 w 363"/>
                <a:gd name="T3" fmla="*/ 3 h 23"/>
                <a:gd name="T4" fmla="*/ 363 w 363"/>
                <a:gd name="T5" fmla="*/ 11 h 23"/>
                <a:gd name="T6" fmla="*/ 349 w 363"/>
                <a:gd name="T7" fmla="*/ 19 h 23"/>
                <a:gd name="T8" fmla="*/ 13 w 363"/>
                <a:gd name="T9" fmla="*/ 19 h 23"/>
                <a:gd name="T10" fmla="*/ 0 w 363"/>
                <a:gd name="T11" fmla="*/ 12 h 23"/>
                <a:gd name="T12" fmla="*/ 13 w 363"/>
                <a:gd name="T13" fmla="*/ 3 h 23"/>
                <a:gd name="T14" fmla="*/ 183 w 363"/>
                <a:gd name="T15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3" h="23">
                  <a:moveTo>
                    <a:pt x="183" y="3"/>
                  </a:moveTo>
                  <a:cubicBezTo>
                    <a:pt x="238" y="3"/>
                    <a:pt x="294" y="3"/>
                    <a:pt x="349" y="3"/>
                  </a:cubicBezTo>
                  <a:cubicBezTo>
                    <a:pt x="355" y="3"/>
                    <a:pt x="363" y="0"/>
                    <a:pt x="363" y="11"/>
                  </a:cubicBezTo>
                  <a:cubicBezTo>
                    <a:pt x="363" y="23"/>
                    <a:pt x="355" y="19"/>
                    <a:pt x="349" y="19"/>
                  </a:cubicBezTo>
                  <a:cubicBezTo>
                    <a:pt x="237" y="20"/>
                    <a:pt x="125" y="20"/>
                    <a:pt x="13" y="19"/>
                  </a:cubicBezTo>
                  <a:cubicBezTo>
                    <a:pt x="8" y="19"/>
                    <a:pt x="1" y="22"/>
                    <a:pt x="0" y="12"/>
                  </a:cubicBezTo>
                  <a:cubicBezTo>
                    <a:pt x="0" y="1"/>
                    <a:pt x="8" y="3"/>
                    <a:pt x="13" y="3"/>
                  </a:cubicBezTo>
                  <a:cubicBezTo>
                    <a:pt x="70" y="3"/>
                    <a:pt x="126" y="3"/>
                    <a:pt x="18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6" name="Freeform 63"/>
            <p:cNvSpPr>
              <a:spLocks/>
            </p:cNvSpPr>
            <p:nvPr/>
          </p:nvSpPr>
          <p:spPr bwMode="auto">
            <a:xfrm>
              <a:off x="3606" y="2655"/>
              <a:ext cx="859" cy="52"/>
            </a:xfrm>
            <a:custGeom>
              <a:avLst/>
              <a:gdLst>
                <a:gd name="T0" fmla="*/ 180 w 363"/>
                <a:gd name="T1" fmla="*/ 20 h 22"/>
                <a:gd name="T2" fmla="*/ 18 w 363"/>
                <a:gd name="T3" fmla="*/ 20 h 22"/>
                <a:gd name="T4" fmla="*/ 12 w 363"/>
                <a:gd name="T5" fmla="*/ 20 h 22"/>
                <a:gd name="T6" fmla="*/ 0 w 363"/>
                <a:gd name="T7" fmla="*/ 11 h 22"/>
                <a:gd name="T8" fmla="*/ 12 w 363"/>
                <a:gd name="T9" fmla="*/ 4 h 22"/>
                <a:gd name="T10" fmla="*/ 144 w 363"/>
                <a:gd name="T11" fmla="*/ 4 h 22"/>
                <a:gd name="T12" fmla="*/ 349 w 363"/>
                <a:gd name="T13" fmla="*/ 4 h 22"/>
                <a:gd name="T14" fmla="*/ 363 w 363"/>
                <a:gd name="T15" fmla="*/ 11 h 22"/>
                <a:gd name="T16" fmla="*/ 349 w 363"/>
                <a:gd name="T17" fmla="*/ 20 h 22"/>
                <a:gd name="T18" fmla="*/ 180 w 363"/>
                <a:gd name="T19" fmla="*/ 2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3" h="22">
                  <a:moveTo>
                    <a:pt x="180" y="20"/>
                  </a:moveTo>
                  <a:cubicBezTo>
                    <a:pt x="126" y="20"/>
                    <a:pt x="72" y="20"/>
                    <a:pt x="18" y="20"/>
                  </a:cubicBezTo>
                  <a:cubicBezTo>
                    <a:pt x="16" y="20"/>
                    <a:pt x="14" y="20"/>
                    <a:pt x="12" y="20"/>
                  </a:cubicBezTo>
                  <a:cubicBezTo>
                    <a:pt x="6" y="20"/>
                    <a:pt x="0" y="21"/>
                    <a:pt x="0" y="11"/>
                  </a:cubicBezTo>
                  <a:cubicBezTo>
                    <a:pt x="1" y="2"/>
                    <a:pt x="7" y="4"/>
                    <a:pt x="12" y="4"/>
                  </a:cubicBezTo>
                  <a:cubicBezTo>
                    <a:pt x="56" y="4"/>
                    <a:pt x="100" y="4"/>
                    <a:pt x="144" y="4"/>
                  </a:cubicBezTo>
                  <a:cubicBezTo>
                    <a:pt x="212" y="4"/>
                    <a:pt x="281" y="3"/>
                    <a:pt x="349" y="4"/>
                  </a:cubicBezTo>
                  <a:cubicBezTo>
                    <a:pt x="355" y="4"/>
                    <a:pt x="363" y="0"/>
                    <a:pt x="363" y="11"/>
                  </a:cubicBezTo>
                  <a:cubicBezTo>
                    <a:pt x="363" y="22"/>
                    <a:pt x="355" y="20"/>
                    <a:pt x="349" y="20"/>
                  </a:cubicBezTo>
                  <a:cubicBezTo>
                    <a:pt x="293" y="20"/>
                    <a:pt x="236" y="20"/>
                    <a:pt x="180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7" name="Freeform 64"/>
            <p:cNvSpPr>
              <a:spLocks noEditPoints="1"/>
            </p:cNvSpPr>
            <p:nvPr/>
          </p:nvSpPr>
          <p:spPr bwMode="auto">
            <a:xfrm>
              <a:off x="3187" y="2416"/>
              <a:ext cx="281" cy="284"/>
            </a:xfrm>
            <a:custGeom>
              <a:avLst/>
              <a:gdLst>
                <a:gd name="T0" fmla="*/ 119 w 119"/>
                <a:gd name="T1" fmla="*/ 61 h 120"/>
                <a:gd name="T2" fmla="*/ 119 w 119"/>
                <a:gd name="T3" fmla="*/ 106 h 120"/>
                <a:gd name="T4" fmla="*/ 106 w 119"/>
                <a:gd name="T5" fmla="*/ 120 h 120"/>
                <a:gd name="T6" fmla="*/ 11 w 119"/>
                <a:gd name="T7" fmla="*/ 120 h 120"/>
                <a:gd name="T8" fmla="*/ 0 w 119"/>
                <a:gd name="T9" fmla="*/ 108 h 120"/>
                <a:gd name="T10" fmla="*/ 0 w 119"/>
                <a:gd name="T11" fmla="*/ 11 h 120"/>
                <a:gd name="T12" fmla="*/ 10 w 119"/>
                <a:gd name="T13" fmla="*/ 0 h 120"/>
                <a:gd name="T14" fmla="*/ 108 w 119"/>
                <a:gd name="T15" fmla="*/ 0 h 120"/>
                <a:gd name="T16" fmla="*/ 119 w 119"/>
                <a:gd name="T17" fmla="*/ 12 h 120"/>
                <a:gd name="T18" fmla="*/ 119 w 119"/>
                <a:gd name="T19" fmla="*/ 61 h 120"/>
                <a:gd name="T20" fmla="*/ 119 w 119"/>
                <a:gd name="T21" fmla="*/ 61 h 120"/>
                <a:gd name="T22" fmla="*/ 59 w 119"/>
                <a:gd name="T23" fmla="*/ 109 h 120"/>
                <a:gd name="T24" fmla="*/ 97 w 119"/>
                <a:gd name="T25" fmla="*/ 109 h 120"/>
                <a:gd name="T26" fmla="*/ 109 w 119"/>
                <a:gd name="T27" fmla="*/ 98 h 120"/>
                <a:gd name="T28" fmla="*/ 109 w 119"/>
                <a:gd name="T29" fmla="*/ 22 h 120"/>
                <a:gd name="T30" fmla="*/ 97 w 119"/>
                <a:gd name="T31" fmla="*/ 11 h 120"/>
                <a:gd name="T32" fmla="*/ 22 w 119"/>
                <a:gd name="T33" fmla="*/ 10 h 120"/>
                <a:gd name="T34" fmla="*/ 9 w 119"/>
                <a:gd name="T35" fmla="*/ 23 h 120"/>
                <a:gd name="T36" fmla="*/ 9 w 119"/>
                <a:gd name="T37" fmla="*/ 97 h 120"/>
                <a:gd name="T38" fmla="*/ 23 w 119"/>
                <a:gd name="T39" fmla="*/ 109 h 120"/>
                <a:gd name="T40" fmla="*/ 59 w 119"/>
                <a:gd name="T41" fmla="*/ 10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0">
                  <a:moveTo>
                    <a:pt x="119" y="61"/>
                  </a:moveTo>
                  <a:cubicBezTo>
                    <a:pt x="119" y="76"/>
                    <a:pt x="118" y="91"/>
                    <a:pt x="119" y="106"/>
                  </a:cubicBezTo>
                  <a:cubicBezTo>
                    <a:pt x="119" y="116"/>
                    <a:pt x="116" y="120"/>
                    <a:pt x="106" y="120"/>
                  </a:cubicBezTo>
                  <a:cubicBezTo>
                    <a:pt x="74" y="119"/>
                    <a:pt x="43" y="119"/>
                    <a:pt x="11" y="120"/>
                  </a:cubicBezTo>
                  <a:cubicBezTo>
                    <a:pt x="3" y="120"/>
                    <a:pt x="0" y="117"/>
                    <a:pt x="0" y="108"/>
                  </a:cubicBezTo>
                  <a:cubicBezTo>
                    <a:pt x="0" y="76"/>
                    <a:pt x="0" y="43"/>
                    <a:pt x="0" y="11"/>
                  </a:cubicBezTo>
                  <a:cubicBezTo>
                    <a:pt x="0" y="4"/>
                    <a:pt x="2" y="0"/>
                    <a:pt x="10" y="0"/>
                  </a:cubicBezTo>
                  <a:cubicBezTo>
                    <a:pt x="43" y="0"/>
                    <a:pt x="75" y="1"/>
                    <a:pt x="108" y="0"/>
                  </a:cubicBezTo>
                  <a:cubicBezTo>
                    <a:pt x="117" y="0"/>
                    <a:pt x="119" y="4"/>
                    <a:pt x="119" y="12"/>
                  </a:cubicBezTo>
                  <a:cubicBezTo>
                    <a:pt x="118" y="29"/>
                    <a:pt x="119" y="45"/>
                    <a:pt x="119" y="61"/>
                  </a:cubicBezTo>
                  <a:cubicBezTo>
                    <a:pt x="119" y="61"/>
                    <a:pt x="119" y="61"/>
                    <a:pt x="119" y="61"/>
                  </a:cubicBezTo>
                  <a:close/>
                  <a:moveTo>
                    <a:pt x="59" y="109"/>
                  </a:moveTo>
                  <a:cubicBezTo>
                    <a:pt x="71" y="109"/>
                    <a:pt x="84" y="108"/>
                    <a:pt x="97" y="109"/>
                  </a:cubicBezTo>
                  <a:cubicBezTo>
                    <a:pt x="106" y="109"/>
                    <a:pt x="109" y="106"/>
                    <a:pt x="109" y="98"/>
                  </a:cubicBezTo>
                  <a:cubicBezTo>
                    <a:pt x="108" y="72"/>
                    <a:pt x="108" y="47"/>
                    <a:pt x="109" y="22"/>
                  </a:cubicBezTo>
                  <a:cubicBezTo>
                    <a:pt x="109" y="13"/>
                    <a:pt x="105" y="10"/>
                    <a:pt x="97" y="11"/>
                  </a:cubicBezTo>
                  <a:cubicBezTo>
                    <a:pt x="72" y="11"/>
                    <a:pt x="47" y="11"/>
                    <a:pt x="22" y="10"/>
                  </a:cubicBezTo>
                  <a:cubicBezTo>
                    <a:pt x="13" y="10"/>
                    <a:pt x="9" y="13"/>
                    <a:pt x="9" y="23"/>
                  </a:cubicBezTo>
                  <a:cubicBezTo>
                    <a:pt x="10" y="48"/>
                    <a:pt x="10" y="72"/>
                    <a:pt x="9" y="97"/>
                  </a:cubicBezTo>
                  <a:cubicBezTo>
                    <a:pt x="9" y="107"/>
                    <a:pt x="13" y="109"/>
                    <a:pt x="23" y="109"/>
                  </a:cubicBezTo>
                  <a:cubicBezTo>
                    <a:pt x="35" y="108"/>
                    <a:pt x="47" y="109"/>
                    <a:pt x="59" y="1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8" name="Freeform 65"/>
            <p:cNvSpPr>
              <a:spLocks noEditPoints="1"/>
            </p:cNvSpPr>
            <p:nvPr/>
          </p:nvSpPr>
          <p:spPr bwMode="auto">
            <a:xfrm>
              <a:off x="3187" y="2032"/>
              <a:ext cx="281" cy="284"/>
            </a:xfrm>
            <a:custGeom>
              <a:avLst/>
              <a:gdLst>
                <a:gd name="T0" fmla="*/ 60 w 119"/>
                <a:gd name="T1" fmla="*/ 0 h 120"/>
                <a:gd name="T2" fmla="*/ 105 w 119"/>
                <a:gd name="T3" fmla="*/ 0 h 120"/>
                <a:gd name="T4" fmla="*/ 119 w 119"/>
                <a:gd name="T5" fmla="*/ 13 h 120"/>
                <a:gd name="T6" fmla="*/ 119 w 119"/>
                <a:gd name="T7" fmla="*/ 107 h 120"/>
                <a:gd name="T8" fmla="*/ 105 w 119"/>
                <a:gd name="T9" fmla="*/ 120 h 120"/>
                <a:gd name="T10" fmla="*/ 13 w 119"/>
                <a:gd name="T11" fmla="*/ 120 h 120"/>
                <a:gd name="T12" fmla="*/ 0 w 119"/>
                <a:gd name="T13" fmla="*/ 107 h 120"/>
                <a:gd name="T14" fmla="*/ 0 w 119"/>
                <a:gd name="T15" fmla="*/ 12 h 120"/>
                <a:gd name="T16" fmla="*/ 12 w 119"/>
                <a:gd name="T17" fmla="*/ 0 h 120"/>
                <a:gd name="T18" fmla="*/ 60 w 119"/>
                <a:gd name="T19" fmla="*/ 0 h 120"/>
                <a:gd name="T20" fmla="*/ 108 w 119"/>
                <a:gd name="T21" fmla="*/ 61 h 120"/>
                <a:gd name="T22" fmla="*/ 108 w 119"/>
                <a:gd name="T23" fmla="*/ 21 h 120"/>
                <a:gd name="T24" fmla="*/ 99 w 119"/>
                <a:gd name="T25" fmla="*/ 11 h 120"/>
                <a:gd name="T26" fmla="*/ 20 w 119"/>
                <a:gd name="T27" fmla="*/ 11 h 120"/>
                <a:gd name="T28" fmla="*/ 9 w 119"/>
                <a:gd name="T29" fmla="*/ 22 h 120"/>
                <a:gd name="T30" fmla="*/ 9 w 119"/>
                <a:gd name="T31" fmla="*/ 99 h 120"/>
                <a:gd name="T32" fmla="*/ 19 w 119"/>
                <a:gd name="T33" fmla="*/ 109 h 120"/>
                <a:gd name="T34" fmla="*/ 98 w 119"/>
                <a:gd name="T35" fmla="*/ 110 h 120"/>
                <a:gd name="T36" fmla="*/ 108 w 119"/>
                <a:gd name="T37" fmla="*/ 99 h 120"/>
                <a:gd name="T38" fmla="*/ 108 w 119"/>
                <a:gd name="T39" fmla="*/ 61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9" h="120">
                  <a:moveTo>
                    <a:pt x="60" y="0"/>
                  </a:moveTo>
                  <a:cubicBezTo>
                    <a:pt x="75" y="0"/>
                    <a:pt x="90" y="1"/>
                    <a:pt x="105" y="0"/>
                  </a:cubicBezTo>
                  <a:cubicBezTo>
                    <a:pt x="114" y="0"/>
                    <a:pt x="119" y="2"/>
                    <a:pt x="119" y="13"/>
                  </a:cubicBezTo>
                  <a:cubicBezTo>
                    <a:pt x="118" y="44"/>
                    <a:pt x="118" y="75"/>
                    <a:pt x="119" y="107"/>
                  </a:cubicBezTo>
                  <a:cubicBezTo>
                    <a:pt x="119" y="116"/>
                    <a:pt x="115" y="120"/>
                    <a:pt x="105" y="120"/>
                  </a:cubicBezTo>
                  <a:cubicBezTo>
                    <a:pt x="75" y="119"/>
                    <a:pt x="44" y="119"/>
                    <a:pt x="13" y="120"/>
                  </a:cubicBezTo>
                  <a:cubicBezTo>
                    <a:pt x="3" y="120"/>
                    <a:pt x="0" y="116"/>
                    <a:pt x="0" y="107"/>
                  </a:cubicBezTo>
                  <a:cubicBezTo>
                    <a:pt x="0" y="75"/>
                    <a:pt x="0" y="44"/>
                    <a:pt x="0" y="12"/>
                  </a:cubicBezTo>
                  <a:cubicBezTo>
                    <a:pt x="0" y="4"/>
                    <a:pt x="3" y="0"/>
                    <a:pt x="12" y="0"/>
                  </a:cubicBezTo>
                  <a:cubicBezTo>
                    <a:pt x="28" y="1"/>
                    <a:pt x="44" y="0"/>
                    <a:pt x="60" y="0"/>
                  </a:cubicBezTo>
                  <a:close/>
                  <a:moveTo>
                    <a:pt x="108" y="61"/>
                  </a:moveTo>
                  <a:cubicBezTo>
                    <a:pt x="108" y="48"/>
                    <a:pt x="108" y="34"/>
                    <a:pt x="108" y="21"/>
                  </a:cubicBezTo>
                  <a:cubicBezTo>
                    <a:pt x="109" y="14"/>
                    <a:pt x="107" y="11"/>
                    <a:pt x="99" y="11"/>
                  </a:cubicBezTo>
                  <a:cubicBezTo>
                    <a:pt x="73" y="11"/>
                    <a:pt x="46" y="11"/>
                    <a:pt x="20" y="11"/>
                  </a:cubicBezTo>
                  <a:cubicBezTo>
                    <a:pt x="12" y="11"/>
                    <a:pt x="9" y="14"/>
                    <a:pt x="9" y="22"/>
                  </a:cubicBezTo>
                  <a:cubicBezTo>
                    <a:pt x="10" y="48"/>
                    <a:pt x="10" y="73"/>
                    <a:pt x="9" y="99"/>
                  </a:cubicBezTo>
                  <a:cubicBezTo>
                    <a:pt x="9" y="106"/>
                    <a:pt x="12" y="109"/>
                    <a:pt x="19" y="109"/>
                  </a:cubicBezTo>
                  <a:cubicBezTo>
                    <a:pt x="45" y="109"/>
                    <a:pt x="72" y="109"/>
                    <a:pt x="98" y="110"/>
                  </a:cubicBezTo>
                  <a:cubicBezTo>
                    <a:pt x="107" y="110"/>
                    <a:pt x="109" y="106"/>
                    <a:pt x="108" y="99"/>
                  </a:cubicBezTo>
                  <a:cubicBezTo>
                    <a:pt x="108" y="86"/>
                    <a:pt x="108" y="74"/>
                    <a:pt x="108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9" name="Freeform 66"/>
            <p:cNvSpPr>
              <a:spLocks noEditPoints="1"/>
            </p:cNvSpPr>
            <p:nvPr/>
          </p:nvSpPr>
          <p:spPr bwMode="auto">
            <a:xfrm>
              <a:off x="3187" y="2799"/>
              <a:ext cx="281" cy="284"/>
            </a:xfrm>
            <a:custGeom>
              <a:avLst/>
              <a:gdLst>
                <a:gd name="T0" fmla="*/ 0 w 119"/>
                <a:gd name="T1" fmla="*/ 58 h 120"/>
                <a:gd name="T2" fmla="*/ 0 w 119"/>
                <a:gd name="T3" fmla="*/ 12 h 120"/>
                <a:gd name="T4" fmla="*/ 11 w 119"/>
                <a:gd name="T5" fmla="*/ 0 h 120"/>
                <a:gd name="T6" fmla="*/ 108 w 119"/>
                <a:gd name="T7" fmla="*/ 0 h 120"/>
                <a:gd name="T8" fmla="*/ 119 w 119"/>
                <a:gd name="T9" fmla="*/ 11 h 120"/>
                <a:gd name="T10" fmla="*/ 119 w 119"/>
                <a:gd name="T11" fmla="*/ 108 h 120"/>
                <a:gd name="T12" fmla="*/ 107 w 119"/>
                <a:gd name="T13" fmla="*/ 119 h 120"/>
                <a:gd name="T14" fmla="*/ 11 w 119"/>
                <a:gd name="T15" fmla="*/ 119 h 120"/>
                <a:gd name="T16" fmla="*/ 0 w 119"/>
                <a:gd name="T17" fmla="*/ 108 h 120"/>
                <a:gd name="T18" fmla="*/ 0 w 119"/>
                <a:gd name="T19" fmla="*/ 58 h 120"/>
                <a:gd name="T20" fmla="*/ 0 w 119"/>
                <a:gd name="T21" fmla="*/ 58 h 120"/>
                <a:gd name="T22" fmla="*/ 60 w 119"/>
                <a:gd name="T23" fmla="*/ 109 h 120"/>
                <a:gd name="T24" fmla="*/ 97 w 119"/>
                <a:gd name="T25" fmla="*/ 109 h 120"/>
                <a:gd name="T26" fmla="*/ 109 w 119"/>
                <a:gd name="T27" fmla="*/ 98 h 120"/>
                <a:gd name="T28" fmla="*/ 109 w 119"/>
                <a:gd name="T29" fmla="*/ 21 h 120"/>
                <a:gd name="T30" fmla="*/ 96 w 119"/>
                <a:gd name="T31" fmla="*/ 10 h 120"/>
                <a:gd name="T32" fmla="*/ 22 w 119"/>
                <a:gd name="T33" fmla="*/ 10 h 120"/>
                <a:gd name="T34" fmla="*/ 9 w 119"/>
                <a:gd name="T35" fmla="*/ 22 h 120"/>
                <a:gd name="T36" fmla="*/ 9 w 119"/>
                <a:gd name="T37" fmla="*/ 97 h 120"/>
                <a:gd name="T38" fmla="*/ 21 w 119"/>
                <a:gd name="T39" fmla="*/ 109 h 120"/>
                <a:gd name="T40" fmla="*/ 60 w 119"/>
                <a:gd name="T41" fmla="*/ 10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0">
                  <a:moveTo>
                    <a:pt x="0" y="58"/>
                  </a:moveTo>
                  <a:cubicBezTo>
                    <a:pt x="0" y="43"/>
                    <a:pt x="0" y="27"/>
                    <a:pt x="0" y="12"/>
                  </a:cubicBezTo>
                  <a:cubicBezTo>
                    <a:pt x="0" y="4"/>
                    <a:pt x="1" y="0"/>
                    <a:pt x="11" y="0"/>
                  </a:cubicBezTo>
                  <a:cubicBezTo>
                    <a:pt x="43" y="0"/>
                    <a:pt x="75" y="0"/>
                    <a:pt x="108" y="0"/>
                  </a:cubicBezTo>
                  <a:cubicBezTo>
                    <a:pt x="116" y="0"/>
                    <a:pt x="119" y="3"/>
                    <a:pt x="119" y="11"/>
                  </a:cubicBezTo>
                  <a:cubicBezTo>
                    <a:pt x="118" y="43"/>
                    <a:pt x="119" y="75"/>
                    <a:pt x="119" y="108"/>
                  </a:cubicBezTo>
                  <a:cubicBezTo>
                    <a:pt x="119" y="116"/>
                    <a:pt x="115" y="120"/>
                    <a:pt x="107" y="119"/>
                  </a:cubicBezTo>
                  <a:cubicBezTo>
                    <a:pt x="75" y="119"/>
                    <a:pt x="43" y="119"/>
                    <a:pt x="11" y="119"/>
                  </a:cubicBezTo>
                  <a:cubicBezTo>
                    <a:pt x="3" y="119"/>
                    <a:pt x="0" y="116"/>
                    <a:pt x="0" y="108"/>
                  </a:cubicBezTo>
                  <a:cubicBezTo>
                    <a:pt x="0" y="91"/>
                    <a:pt x="0" y="75"/>
                    <a:pt x="0" y="58"/>
                  </a:cubicBezTo>
                  <a:cubicBezTo>
                    <a:pt x="0" y="58"/>
                    <a:pt x="0" y="58"/>
                    <a:pt x="0" y="58"/>
                  </a:cubicBezTo>
                  <a:close/>
                  <a:moveTo>
                    <a:pt x="60" y="109"/>
                  </a:moveTo>
                  <a:cubicBezTo>
                    <a:pt x="72" y="109"/>
                    <a:pt x="85" y="108"/>
                    <a:pt x="97" y="109"/>
                  </a:cubicBezTo>
                  <a:cubicBezTo>
                    <a:pt x="106" y="109"/>
                    <a:pt x="109" y="106"/>
                    <a:pt x="109" y="98"/>
                  </a:cubicBezTo>
                  <a:cubicBezTo>
                    <a:pt x="108" y="72"/>
                    <a:pt x="108" y="47"/>
                    <a:pt x="109" y="21"/>
                  </a:cubicBezTo>
                  <a:cubicBezTo>
                    <a:pt x="109" y="12"/>
                    <a:pt x="105" y="9"/>
                    <a:pt x="96" y="10"/>
                  </a:cubicBezTo>
                  <a:cubicBezTo>
                    <a:pt x="71" y="10"/>
                    <a:pt x="46" y="10"/>
                    <a:pt x="22" y="10"/>
                  </a:cubicBezTo>
                  <a:cubicBezTo>
                    <a:pt x="13" y="10"/>
                    <a:pt x="9" y="13"/>
                    <a:pt x="9" y="22"/>
                  </a:cubicBezTo>
                  <a:cubicBezTo>
                    <a:pt x="10" y="47"/>
                    <a:pt x="10" y="72"/>
                    <a:pt x="9" y="97"/>
                  </a:cubicBezTo>
                  <a:cubicBezTo>
                    <a:pt x="9" y="105"/>
                    <a:pt x="12" y="109"/>
                    <a:pt x="21" y="109"/>
                  </a:cubicBezTo>
                  <a:cubicBezTo>
                    <a:pt x="34" y="108"/>
                    <a:pt x="47" y="109"/>
                    <a:pt x="60" y="1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565" name="Group 201"/>
          <p:cNvGrpSpPr/>
          <p:nvPr/>
        </p:nvGrpSpPr>
        <p:grpSpPr>
          <a:xfrm flipH="1">
            <a:off x="5056204" y="4355924"/>
            <a:ext cx="254089" cy="254089"/>
            <a:chOff x="1282752" y="4938098"/>
            <a:chExt cx="1451258" cy="1449504"/>
          </a:xfrm>
          <a:solidFill>
            <a:schemeClr val="bg1"/>
          </a:solidFill>
          <a:effectLst/>
        </p:grpSpPr>
        <p:grpSp>
          <p:nvGrpSpPr>
            <p:cNvPr id="566" name="Group 203"/>
            <p:cNvGrpSpPr/>
            <p:nvPr/>
          </p:nvGrpSpPr>
          <p:grpSpPr>
            <a:xfrm>
              <a:off x="1783764" y="5241759"/>
              <a:ext cx="444794" cy="514698"/>
              <a:chOff x="14065458" y="16152057"/>
              <a:chExt cx="1908828" cy="2208820"/>
            </a:xfrm>
            <a:grpFill/>
          </p:grpSpPr>
          <p:sp>
            <p:nvSpPr>
              <p:cNvPr id="576" name="Rounded Rectangle 213"/>
              <p:cNvSpPr/>
              <p:nvPr/>
            </p:nvSpPr>
            <p:spPr>
              <a:xfrm rot="20661364">
                <a:off x="14200146" y="16208948"/>
                <a:ext cx="277157" cy="2151929"/>
              </a:xfrm>
              <a:prstGeom prst="roundRect">
                <a:avLst>
                  <a:gd name="adj" fmla="val 46875"/>
                </a:avLst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519970">
                  <a:defRPr/>
                </a:pPr>
                <a:endParaRPr lang="en-US" sz="1842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577" name="Rounded Rectangle 214"/>
              <p:cNvSpPr/>
              <p:nvPr/>
            </p:nvSpPr>
            <p:spPr>
              <a:xfrm rot="938636" flipH="1">
                <a:off x="15569359" y="16208948"/>
                <a:ext cx="277157" cy="2151929"/>
              </a:xfrm>
              <a:prstGeom prst="roundRect">
                <a:avLst>
                  <a:gd name="adj" fmla="val 46875"/>
                </a:avLst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519970">
                  <a:defRPr/>
                </a:pPr>
                <a:endParaRPr lang="en-US" sz="1842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578" name="Rounded Rectangle 215"/>
              <p:cNvSpPr/>
              <p:nvPr/>
            </p:nvSpPr>
            <p:spPr>
              <a:xfrm flipH="1">
                <a:off x="14871104" y="16152057"/>
                <a:ext cx="277157" cy="1138309"/>
              </a:xfrm>
              <a:prstGeom prst="roundRect">
                <a:avLst>
                  <a:gd name="adj" fmla="val 46875"/>
                </a:avLst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519970">
                  <a:defRPr/>
                </a:pPr>
                <a:endParaRPr lang="en-US" sz="1842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579" name="Freeform 216"/>
              <p:cNvSpPr/>
              <p:nvPr/>
            </p:nvSpPr>
            <p:spPr>
              <a:xfrm>
                <a:off x="14065458" y="16512027"/>
                <a:ext cx="1908828" cy="559897"/>
              </a:xfrm>
              <a:custGeom>
                <a:avLst/>
                <a:gdLst>
                  <a:gd name="connsiteX0" fmla="*/ 2650874 w 3020652"/>
                  <a:gd name="connsiteY0" fmla="*/ 501853 h 2043633"/>
                  <a:gd name="connsiteX1" fmla="*/ 2675767 w 3020652"/>
                  <a:gd name="connsiteY1" fmla="*/ 528173 h 2043633"/>
                  <a:gd name="connsiteX2" fmla="*/ 3020652 w 3020652"/>
                  <a:gd name="connsiteY2" fmla="*/ 1451393 h 2043633"/>
                  <a:gd name="connsiteX3" fmla="*/ 2901963 w 3020652"/>
                  <a:gd name="connsiteY3" fmla="*/ 2016341 h 2043633"/>
                  <a:gd name="connsiteX4" fmla="*/ 2897503 w 3020652"/>
                  <a:gd name="connsiteY4" fmla="*/ 2025239 h 2043633"/>
                  <a:gd name="connsiteX5" fmla="*/ 2802193 w 3020652"/>
                  <a:gd name="connsiteY5" fmla="*/ 1436521 h 2043633"/>
                  <a:gd name="connsiteX6" fmla="*/ 2796300 w 3020652"/>
                  <a:gd name="connsiteY6" fmla="*/ 1324385 h 2043633"/>
                  <a:gd name="connsiteX7" fmla="*/ 2744859 w 3020652"/>
                  <a:gd name="connsiteY7" fmla="*/ 1081999 h 2043633"/>
                  <a:gd name="connsiteX8" fmla="*/ 2744751 w 3020652"/>
                  <a:gd name="connsiteY8" fmla="*/ 1081715 h 2043633"/>
                  <a:gd name="connsiteX9" fmla="*/ 384115 w 3020652"/>
                  <a:gd name="connsiteY9" fmla="*/ 486693 h 2043633"/>
                  <a:gd name="connsiteX10" fmla="*/ 296760 w 3020652"/>
                  <a:gd name="connsiteY10" fmla="*/ 1026949 h 2043633"/>
                  <a:gd name="connsiteX11" fmla="*/ 275793 w 3020652"/>
                  <a:gd name="connsiteY11" fmla="*/ 1081999 h 2043633"/>
                  <a:gd name="connsiteX12" fmla="*/ 217678 w 3020652"/>
                  <a:gd name="connsiteY12" fmla="*/ 1451393 h 2043633"/>
                  <a:gd name="connsiteX13" fmla="*/ 220242 w 3020652"/>
                  <a:gd name="connsiteY13" fmla="*/ 1500181 h 2043633"/>
                  <a:gd name="connsiteX14" fmla="*/ 132369 w 3020652"/>
                  <a:gd name="connsiteY14" fmla="*/ 2043633 h 2043633"/>
                  <a:gd name="connsiteX15" fmla="*/ 118689 w 3020652"/>
                  <a:gd name="connsiteY15" fmla="*/ 2016341 h 2043633"/>
                  <a:gd name="connsiteX16" fmla="*/ 0 w 3020652"/>
                  <a:gd name="connsiteY16" fmla="*/ 1451393 h 2043633"/>
                  <a:gd name="connsiteX17" fmla="*/ 344885 w 3020652"/>
                  <a:gd name="connsiteY17" fmla="*/ 528173 h 2043633"/>
                  <a:gd name="connsiteX18" fmla="*/ 1510326 w 3020652"/>
                  <a:gd name="connsiteY18" fmla="*/ 0 h 2043633"/>
                  <a:gd name="connsiteX19" fmla="*/ 2471034 w 3020652"/>
                  <a:gd name="connsiteY19" fmla="*/ 331427 h 2043633"/>
                  <a:gd name="connsiteX20" fmla="*/ 2474929 w 3020652"/>
                  <a:gd name="connsiteY20" fmla="*/ 334829 h 2043633"/>
                  <a:gd name="connsiteX21" fmla="*/ 2409343 w 3020652"/>
                  <a:gd name="connsiteY21" fmla="*/ 559897 h 2043633"/>
                  <a:gd name="connsiteX22" fmla="*/ 2332570 w 3020652"/>
                  <a:gd name="connsiteY22" fmla="*/ 492845 h 2043633"/>
                  <a:gd name="connsiteX23" fmla="*/ 1510326 w 3020652"/>
                  <a:gd name="connsiteY23" fmla="*/ 209184 h 2043633"/>
                  <a:gd name="connsiteX24" fmla="*/ 688082 w 3020652"/>
                  <a:gd name="connsiteY24" fmla="*/ 492845 h 2043633"/>
                  <a:gd name="connsiteX25" fmla="*/ 630169 w 3020652"/>
                  <a:gd name="connsiteY25" fmla="*/ 543425 h 2043633"/>
                  <a:gd name="connsiteX26" fmla="*/ 566101 w 3020652"/>
                  <a:gd name="connsiteY26" fmla="*/ 319583 h 2043633"/>
                  <a:gd name="connsiteX27" fmla="*/ 665888 w 3020652"/>
                  <a:gd name="connsiteY27" fmla="*/ 247875 h 2043633"/>
                  <a:gd name="connsiteX28" fmla="*/ 1510326 w 3020652"/>
                  <a:gd name="connsiteY28" fmla="*/ 0 h 2043633"/>
                  <a:gd name="connsiteX0" fmla="*/ 2744751 w 3020652"/>
                  <a:gd name="connsiteY0" fmla="*/ 1081715 h 2043633"/>
                  <a:gd name="connsiteX1" fmla="*/ 2675767 w 3020652"/>
                  <a:gd name="connsiteY1" fmla="*/ 528173 h 2043633"/>
                  <a:gd name="connsiteX2" fmla="*/ 3020652 w 3020652"/>
                  <a:gd name="connsiteY2" fmla="*/ 1451393 h 2043633"/>
                  <a:gd name="connsiteX3" fmla="*/ 2901963 w 3020652"/>
                  <a:gd name="connsiteY3" fmla="*/ 2016341 h 2043633"/>
                  <a:gd name="connsiteX4" fmla="*/ 2897503 w 3020652"/>
                  <a:gd name="connsiteY4" fmla="*/ 2025239 h 2043633"/>
                  <a:gd name="connsiteX5" fmla="*/ 2802193 w 3020652"/>
                  <a:gd name="connsiteY5" fmla="*/ 1436521 h 2043633"/>
                  <a:gd name="connsiteX6" fmla="*/ 2796300 w 3020652"/>
                  <a:gd name="connsiteY6" fmla="*/ 1324385 h 2043633"/>
                  <a:gd name="connsiteX7" fmla="*/ 2744859 w 3020652"/>
                  <a:gd name="connsiteY7" fmla="*/ 1081999 h 2043633"/>
                  <a:gd name="connsiteX8" fmla="*/ 2744751 w 3020652"/>
                  <a:gd name="connsiteY8" fmla="*/ 1081715 h 2043633"/>
                  <a:gd name="connsiteX9" fmla="*/ 384115 w 3020652"/>
                  <a:gd name="connsiteY9" fmla="*/ 486693 h 2043633"/>
                  <a:gd name="connsiteX10" fmla="*/ 296760 w 3020652"/>
                  <a:gd name="connsiteY10" fmla="*/ 1026949 h 2043633"/>
                  <a:gd name="connsiteX11" fmla="*/ 275793 w 3020652"/>
                  <a:gd name="connsiteY11" fmla="*/ 1081999 h 2043633"/>
                  <a:gd name="connsiteX12" fmla="*/ 217678 w 3020652"/>
                  <a:gd name="connsiteY12" fmla="*/ 1451393 h 2043633"/>
                  <a:gd name="connsiteX13" fmla="*/ 220242 w 3020652"/>
                  <a:gd name="connsiteY13" fmla="*/ 1500181 h 2043633"/>
                  <a:gd name="connsiteX14" fmla="*/ 132369 w 3020652"/>
                  <a:gd name="connsiteY14" fmla="*/ 2043633 h 2043633"/>
                  <a:gd name="connsiteX15" fmla="*/ 118689 w 3020652"/>
                  <a:gd name="connsiteY15" fmla="*/ 2016341 h 2043633"/>
                  <a:gd name="connsiteX16" fmla="*/ 0 w 3020652"/>
                  <a:gd name="connsiteY16" fmla="*/ 1451393 h 2043633"/>
                  <a:gd name="connsiteX17" fmla="*/ 344885 w 3020652"/>
                  <a:gd name="connsiteY17" fmla="*/ 528173 h 2043633"/>
                  <a:gd name="connsiteX18" fmla="*/ 384115 w 3020652"/>
                  <a:gd name="connsiteY18" fmla="*/ 486693 h 2043633"/>
                  <a:gd name="connsiteX19" fmla="*/ 1510326 w 3020652"/>
                  <a:gd name="connsiteY19" fmla="*/ 0 h 2043633"/>
                  <a:gd name="connsiteX20" fmla="*/ 2471034 w 3020652"/>
                  <a:gd name="connsiteY20" fmla="*/ 331427 h 2043633"/>
                  <a:gd name="connsiteX21" fmla="*/ 2474929 w 3020652"/>
                  <a:gd name="connsiteY21" fmla="*/ 334829 h 2043633"/>
                  <a:gd name="connsiteX22" fmla="*/ 2409343 w 3020652"/>
                  <a:gd name="connsiteY22" fmla="*/ 559897 h 2043633"/>
                  <a:gd name="connsiteX23" fmla="*/ 2332570 w 3020652"/>
                  <a:gd name="connsiteY23" fmla="*/ 492845 h 2043633"/>
                  <a:gd name="connsiteX24" fmla="*/ 1510326 w 3020652"/>
                  <a:gd name="connsiteY24" fmla="*/ 209184 h 2043633"/>
                  <a:gd name="connsiteX25" fmla="*/ 688082 w 3020652"/>
                  <a:gd name="connsiteY25" fmla="*/ 492845 h 2043633"/>
                  <a:gd name="connsiteX26" fmla="*/ 630169 w 3020652"/>
                  <a:gd name="connsiteY26" fmla="*/ 543425 h 2043633"/>
                  <a:gd name="connsiteX27" fmla="*/ 566101 w 3020652"/>
                  <a:gd name="connsiteY27" fmla="*/ 319583 h 2043633"/>
                  <a:gd name="connsiteX28" fmla="*/ 665888 w 3020652"/>
                  <a:gd name="connsiteY28" fmla="*/ 247875 h 2043633"/>
                  <a:gd name="connsiteX29" fmla="*/ 1510326 w 3020652"/>
                  <a:gd name="connsiteY29" fmla="*/ 0 h 2043633"/>
                  <a:gd name="connsiteX0" fmla="*/ 2744751 w 3020652"/>
                  <a:gd name="connsiteY0" fmla="*/ 1081715 h 2043633"/>
                  <a:gd name="connsiteX1" fmla="*/ 3020652 w 3020652"/>
                  <a:gd name="connsiteY1" fmla="*/ 1451393 h 2043633"/>
                  <a:gd name="connsiteX2" fmla="*/ 2901963 w 3020652"/>
                  <a:gd name="connsiteY2" fmla="*/ 2016341 h 2043633"/>
                  <a:gd name="connsiteX3" fmla="*/ 2897503 w 3020652"/>
                  <a:gd name="connsiteY3" fmla="*/ 2025239 h 2043633"/>
                  <a:gd name="connsiteX4" fmla="*/ 2802193 w 3020652"/>
                  <a:gd name="connsiteY4" fmla="*/ 1436521 h 2043633"/>
                  <a:gd name="connsiteX5" fmla="*/ 2796300 w 3020652"/>
                  <a:gd name="connsiteY5" fmla="*/ 1324385 h 2043633"/>
                  <a:gd name="connsiteX6" fmla="*/ 2744859 w 3020652"/>
                  <a:gd name="connsiteY6" fmla="*/ 1081999 h 2043633"/>
                  <a:gd name="connsiteX7" fmla="*/ 2744751 w 3020652"/>
                  <a:gd name="connsiteY7" fmla="*/ 1081715 h 2043633"/>
                  <a:gd name="connsiteX8" fmla="*/ 384115 w 3020652"/>
                  <a:gd name="connsiteY8" fmla="*/ 486693 h 2043633"/>
                  <a:gd name="connsiteX9" fmla="*/ 296760 w 3020652"/>
                  <a:gd name="connsiteY9" fmla="*/ 1026949 h 2043633"/>
                  <a:gd name="connsiteX10" fmla="*/ 275793 w 3020652"/>
                  <a:gd name="connsiteY10" fmla="*/ 1081999 h 2043633"/>
                  <a:gd name="connsiteX11" fmla="*/ 217678 w 3020652"/>
                  <a:gd name="connsiteY11" fmla="*/ 1451393 h 2043633"/>
                  <a:gd name="connsiteX12" fmla="*/ 220242 w 3020652"/>
                  <a:gd name="connsiteY12" fmla="*/ 1500181 h 2043633"/>
                  <a:gd name="connsiteX13" fmla="*/ 132369 w 3020652"/>
                  <a:gd name="connsiteY13" fmla="*/ 2043633 h 2043633"/>
                  <a:gd name="connsiteX14" fmla="*/ 118689 w 3020652"/>
                  <a:gd name="connsiteY14" fmla="*/ 2016341 h 2043633"/>
                  <a:gd name="connsiteX15" fmla="*/ 0 w 3020652"/>
                  <a:gd name="connsiteY15" fmla="*/ 1451393 h 2043633"/>
                  <a:gd name="connsiteX16" fmla="*/ 344885 w 3020652"/>
                  <a:gd name="connsiteY16" fmla="*/ 528173 h 2043633"/>
                  <a:gd name="connsiteX17" fmla="*/ 384115 w 3020652"/>
                  <a:gd name="connsiteY17" fmla="*/ 486693 h 2043633"/>
                  <a:gd name="connsiteX18" fmla="*/ 1510326 w 3020652"/>
                  <a:gd name="connsiteY18" fmla="*/ 0 h 2043633"/>
                  <a:gd name="connsiteX19" fmla="*/ 2471034 w 3020652"/>
                  <a:gd name="connsiteY19" fmla="*/ 331427 h 2043633"/>
                  <a:gd name="connsiteX20" fmla="*/ 2474929 w 3020652"/>
                  <a:gd name="connsiteY20" fmla="*/ 334829 h 2043633"/>
                  <a:gd name="connsiteX21" fmla="*/ 2409343 w 3020652"/>
                  <a:gd name="connsiteY21" fmla="*/ 559897 h 2043633"/>
                  <a:gd name="connsiteX22" fmla="*/ 2332570 w 3020652"/>
                  <a:gd name="connsiteY22" fmla="*/ 492845 h 2043633"/>
                  <a:gd name="connsiteX23" fmla="*/ 1510326 w 3020652"/>
                  <a:gd name="connsiteY23" fmla="*/ 209184 h 2043633"/>
                  <a:gd name="connsiteX24" fmla="*/ 688082 w 3020652"/>
                  <a:gd name="connsiteY24" fmla="*/ 492845 h 2043633"/>
                  <a:gd name="connsiteX25" fmla="*/ 630169 w 3020652"/>
                  <a:gd name="connsiteY25" fmla="*/ 543425 h 2043633"/>
                  <a:gd name="connsiteX26" fmla="*/ 566101 w 3020652"/>
                  <a:gd name="connsiteY26" fmla="*/ 319583 h 2043633"/>
                  <a:gd name="connsiteX27" fmla="*/ 665888 w 3020652"/>
                  <a:gd name="connsiteY27" fmla="*/ 247875 h 2043633"/>
                  <a:gd name="connsiteX28" fmla="*/ 1510326 w 3020652"/>
                  <a:gd name="connsiteY28" fmla="*/ 0 h 2043633"/>
                  <a:gd name="connsiteX0" fmla="*/ 2744859 w 3020652"/>
                  <a:gd name="connsiteY0" fmla="*/ 1081999 h 2043633"/>
                  <a:gd name="connsiteX1" fmla="*/ 3020652 w 3020652"/>
                  <a:gd name="connsiteY1" fmla="*/ 1451393 h 2043633"/>
                  <a:gd name="connsiteX2" fmla="*/ 2901963 w 3020652"/>
                  <a:gd name="connsiteY2" fmla="*/ 2016341 h 2043633"/>
                  <a:gd name="connsiteX3" fmla="*/ 2897503 w 3020652"/>
                  <a:gd name="connsiteY3" fmla="*/ 2025239 h 2043633"/>
                  <a:gd name="connsiteX4" fmla="*/ 2802193 w 3020652"/>
                  <a:gd name="connsiteY4" fmla="*/ 1436521 h 2043633"/>
                  <a:gd name="connsiteX5" fmla="*/ 2796300 w 3020652"/>
                  <a:gd name="connsiteY5" fmla="*/ 1324385 h 2043633"/>
                  <a:gd name="connsiteX6" fmla="*/ 2744859 w 3020652"/>
                  <a:gd name="connsiteY6" fmla="*/ 1081999 h 2043633"/>
                  <a:gd name="connsiteX7" fmla="*/ 384115 w 3020652"/>
                  <a:gd name="connsiteY7" fmla="*/ 486693 h 2043633"/>
                  <a:gd name="connsiteX8" fmla="*/ 296760 w 3020652"/>
                  <a:gd name="connsiteY8" fmla="*/ 1026949 h 2043633"/>
                  <a:gd name="connsiteX9" fmla="*/ 275793 w 3020652"/>
                  <a:gd name="connsiteY9" fmla="*/ 1081999 h 2043633"/>
                  <a:gd name="connsiteX10" fmla="*/ 217678 w 3020652"/>
                  <a:gd name="connsiteY10" fmla="*/ 1451393 h 2043633"/>
                  <a:gd name="connsiteX11" fmla="*/ 220242 w 3020652"/>
                  <a:gd name="connsiteY11" fmla="*/ 1500181 h 2043633"/>
                  <a:gd name="connsiteX12" fmla="*/ 132369 w 3020652"/>
                  <a:gd name="connsiteY12" fmla="*/ 2043633 h 2043633"/>
                  <a:gd name="connsiteX13" fmla="*/ 118689 w 3020652"/>
                  <a:gd name="connsiteY13" fmla="*/ 2016341 h 2043633"/>
                  <a:gd name="connsiteX14" fmla="*/ 0 w 3020652"/>
                  <a:gd name="connsiteY14" fmla="*/ 1451393 h 2043633"/>
                  <a:gd name="connsiteX15" fmla="*/ 344885 w 3020652"/>
                  <a:gd name="connsiteY15" fmla="*/ 528173 h 2043633"/>
                  <a:gd name="connsiteX16" fmla="*/ 384115 w 3020652"/>
                  <a:gd name="connsiteY16" fmla="*/ 486693 h 2043633"/>
                  <a:gd name="connsiteX17" fmla="*/ 1510326 w 3020652"/>
                  <a:gd name="connsiteY17" fmla="*/ 0 h 2043633"/>
                  <a:gd name="connsiteX18" fmla="*/ 2471034 w 3020652"/>
                  <a:gd name="connsiteY18" fmla="*/ 331427 h 2043633"/>
                  <a:gd name="connsiteX19" fmla="*/ 2474929 w 3020652"/>
                  <a:gd name="connsiteY19" fmla="*/ 334829 h 2043633"/>
                  <a:gd name="connsiteX20" fmla="*/ 2409343 w 3020652"/>
                  <a:gd name="connsiteY20" fmla="*/ 559897 h 2043633"/>
                  <a:gd name="connsiteX21" fmla="*/ 2332570 w 3020652"/>
                  <a:gd name="connsiteY21" fmla="*/ 492845 h 2043633"/>
                  <a:gd name="connsiteX22" fmla="*/ 1510326 w 3020652"/>
                  <a:gd name="connsiteY22" fmla="*/ 209184 h 2043633"/>
                  <a:gd name="connsiteX23" fmla="*/ 688082 w 3020652"/>
                  <a:gd name="connsiteY23" fmla="*/ 492845 h 2043633"/>
                  <a:gd name="connsiteX24" fmla="*/ 630169 w 3020652"/>
                  <a:gd name="connsiteY24" fmla="*/ 543425 h 2043633"/>
                  <a:gd name="connsiteX25" fmla="*/ 566101 w 3020652"/>
                  <a:gd name="connsiteY25" fmla="*/ 319583 h 2043633"/>
                  <a:gd name="connsiteX26" fmla="*/ 665888 w 3020652"/>
                  <a:gd name="connsiteY26" fmla="*/ 247875 h 2043633"/>
                  <a:gd name="connsiteX27" fmla="*/ 1510326 w 3020652"/>
                  <a:gd name="connsiteY27" fmla="*/ 0 h 2043633"/>
                  <a:gd name="connsiteX0" fmla="*/ 2796300 w 3023749"/>
                  <a:gd name="connsiteY0" fmla="*/ 1324385 h 2043633"/>
                  <a:gd name="connsiteX1" fmla="*/ 3020652 w 3023749"/>
                  <a:gd name="connsiteY1" fmla="*/ 1451393 h 2043633"/>
                  <a:gd name="connsiteX2" fmla="*/ 2901963 w 3023749"/>
                  <a:gd name="connsiteY2" fmla="*/ 2016341 h 2043633"/>
                  <a:gd name="connsiteX3" fmla="*/ 2897503 w 3023749"/>
                  <a:gd name="connsiteY3" fmla="*/ 2025239 h 2043633"/>
                  <a:gd name="connsiteX4" fmla="*/ 2802193 w 3023749"/>
                  <a:gd name="connsiteY4" fmla="*/ 1436521 h 2043633"/>
                  <a:gd name="connsiteX5" fmla="*/ 2796300 w 3023749"/>
                  <a:gd name="connsiteY5" fmla="*/ 1324385 h 2043633"/>
                  <a:gd name="connsiteX6" fmla="*/ 384115 w 3023749"/>
                  <a:gd name="connsiteY6" fmla="*/ 486693 h 2043633"/>
                  <a:gd name="connsiteX7" fmla="*/ 296760 w 3023749"/>
                  <a:gd name="connsiteY7" fmla="*/ 1026949 h 2043633"/>
                  <a:gd name="connsiteX8" fmla="*/ 275793 w 3023749"/>
                  <a:gd name="connsiteY8" fmla="*/ 1081999 h 2043633"/>
                  <a:gd name="connsiteX9" fmla="*/ 217678 w 3023749"/>
                  <a:gd name="connsiteY9" fmla="*/ 1451393 h 2043633"/>
                  <a:gd name="connsiteX10" fmla="*/ 220242 w 3023749"/>
                  <a:gd name="connsiteY10" fmla="*/ 1500181 h 2043633"/>
                  <a:gd name="connsiteX11" fmla="*/ 132369 w 3023749"/>
                  <a:gd name="connsiteY11" fmla="*/ 2043633 h 2043633"/>
                  <a:gd name="connsiteX12" fmla="*/ 118689 w 3023749"/>
                  <a:gd name="connsiteY12" fmla="*/ 2016341 h 2043633"/>
                  <a:gd name="connsiteX13" fmla="*/ 0 w 3023749"/>
                  <a:gd name="connsiteY13" fmla="*/ 1451393 h 2043633"/>
                  <a:gd name="connsiteX14" fmla="*/ 344885 w 3023749"/>
                  <a:gd name="connsiteY14" fmla="*/ 528173 h 2043633"/>
                  <a:gd name="connsiteX15" fmla="*/ 384115 w 3023749"/>
                  <a:gd name="connsiteY15" fmla="*/ 486693 h 2043633"/>
                  <a:gd name="connsiteX16" fmla="*/ 1510326 w 3023749"/>
                  <a:gd name="connsiteY16" fmla="*/ 0 h 2043633"/>
                  <a:gd name="connsiteX17" fmla="*/ 2471034 w 3023749"/>
                  <a:gd name="connsiteY17" fmla="*/ 331427 h 2043633"/>
                  <a:gd name="connsiteX18" fmla="*/ 2474929 w 3023749"/>
                  <a:gd name="connsiteY18" fmla="*/ 334829 h 2043633"/>
                  <a:gd name="connsiteX19" fmla="*/ 2409343 w 3023749"/>
                  <a:gd name="connsiteY19" fmla="*/ 559897 h 2043633"/>
                  <a:gd name="connsiteX20" fmla="*/ 2332570 w 3023749"/>
                  <a:gd name="connsiteY20" fmla="*/ 492845 h 2043633"/>
                  <a:gd name="connsiteX21" fmla="*/ 1510326 w 3023749"/>
                  <a:gd name="connsiteY21" fmla="*/ 209184 h 2043633"/>
                  <a:gd name="connsiteX22" fmla="*/ 688082 w 3023749"/>
                  <a:gd name="connsiteY22" fmla="*/ 492845 h 2043633"/>
                  <a:gd name="connsiteX23" fmla="*/ 630169 w 3023749"/>
                  <a:gd name="connsiteY23" fmla="*/ 543425 h 2043633"/>
                  <a:gd name="connsiteX24" fmla="*/ 566101 w 3023749"/>
                  <a:gd name="connsiteY24" fmla="*/ 319583 h 2043633"/>
                  <a:gd name="connsiteX25" fmla="*/ 665888 w 3023749"/>
                  <a:gd name="connsiteY25" fmla="*/ 247875 h 2043633"/>
                  <a:gd name="connsiteX26" fmla="*/ 1510326 w 3023749"/>
                  <a:gd name="connsiteY26" fmla="*/ 0 h 2043633"/>
                  <a:gd name="connsiteX0" fmla="*/ 2802193 w 3023749"/>
                  <a:gd name="connsiteY0" fmla="*/ 1436521 h 2043633"/>
                  <a:gd name="connsiteX1" fmla="*/ 3020652 w 3023749"/>
                  <a:gd name="connsiteY1" fmla="*/ 1451393 h 2043633"/>
                  <a:gd name="connsiteX2" fmla="*/ 2901963 w 3023749"/>
                  <a:gd name="connsiteY2" fmla="*/ 2016341 h 2043633"/>
                  <a:gd name="connsiteX3" fmla="*/ 2897503 w 3023749"/>
                  <a:gd name="connsiteY3" fmla="*/ 2025239 h 2043633"/>
                  <a:gd name="connsiteX4" fmla="*/ 2802193 w 3023749"/>
                  <a:gd name="connsiteY4" fmla="*/ 1436521 h 2043633"/>
                  <a:gd name="connsiteX5" fmla="*/ 384115 w 3023749"/>
                  <a:gd name="connsiteY5" fmla="*/ 486693 h 2043633"/>
                  <a:gd name="connsiteX6" fmla="*/ 296760 w 3023749"/>
                  <a:gd name="connsiteY6" fmla="*/ 1026949 h 2043633"/>
                  <a:gd name="connsiteX7" fmla="*/ 275793 w 3023749"/>
                  <a:gd name="connsiteY7" fmla="*/ 1081999 h 2043633"/>
                  <a:gd name="connsiteX8" fmla="*/ 217678 w 3023749"/>
                  <a:gd name="connsiteY8" fmla="*/ 1451393 h 2043633"/>
                  <a:gd name="connsiteX9" fmla="*/ 220242 w 3023749"/>
                  <a:gd name="connsiteY9" fmla="*/ 1500181 h 2043633"/>
                  <a:gd name="connsiteX10" fmla="*/ 132369 w 3023749"/>
                  <a:gd name="connsiteY10" fmla="*/ 2043633 h 2043633"/>
                  <a:gd name="connsiteX11" fmla="*/ 118689 w 3023749"/>
                  <a:gd name="connsiteY11" fmla="*/ 2016341 h 2043633"/>
                  <a:gd name="connsiteX12" fmla="*/ 0 w 3023749"/>
                  <a:gd name="connsiteY12" fmla="*/ 1451393 h 2043633"/>
                  <a:gd name="connsiteX13" fmla="*/ 344885 w 3023749"/>
                  <a:gd name="connsiteY13" fmla="*/ 528173 h 2043633"/>
                  <a:gd name="connsiteX14" fmla="*/ 384115 w 3023749"/>
                  <a:gd name="connsiteY14" fmla="*/ 486693 h 2043633"/>
                  <a:gd name="connsiteX15" fmla="*/ 1510326 w 3023749"/>
                  <a:gd name="connsiteY15" fmla="*/ 0 h 2043633"/>
                  <a:gd name="connsiteX16" fmla="*/ 2471034 w 3023749"/>
                  <a:gd name="connsiteY16" fmla="*/ 331427 h 2043633"/>
                  <a:gd name="connsiteX17" fmla="*/ 2474929 w 3023749"/>
                  <a:gd name="connsiteY17" fmla="*/ 334829 h 2043633"/>
                  <a:gd name="connsiteX18" fmla="*/ 2409343 w 3023749"/>
                  <a:gd name="connsiteY18" fmla="*/ 559897 h 2043633"/>
                  <a:gd name="connsiteX19" fmla="*/ 2332570 w 3023749"/>
                  <a:gd name="connsiteY19" fmla="*/ 492845 h 2043633"/>
                  <a:gd name="connsiteX20" fmla="*/ 1510326 w 3023749"/>
                  <a:gd name="connsiteY20" fmla="*/ 209184 h 2043633"/>
                  <a:gd name="connsiteX21" fmla="*/ 688082 w 3023749"/>
                  <a:gd name="connsiteY21" fmla="*/ 492845 h 2043633"/>
                  <a:gd name="connsiteX22" fmla="*/ 630169 w 3023749"/>
                  <a:gd name="connsiteY22" fmla="*/ 543425 h 2043633"/>
                  <a:gd name="connsiteX23" fmla="*/ 566101 w 3023749"/>
                  <a:gd name="connsiteY23" fmla="*/ 319583 h 2043633"/>
                  <a:gd name="connsiteX24" fmla="*/ 665888 w 3023749"/>
                  <a:gd name="connsiteY24" fmla="*/ 247875 h 2043633"/>
                  <a:gd name="connsiteX25" fmla="*/ 1510326 w 3023749"/>
                  <a:gd name="connsiteY25" fmla="*/ 0 h 2043633"/>
                  <a:gd name="connsiteX0" fmla="*/ 2897503 w 3023749"/>
                  <a:gd name="connsiteY0" fmla="*/ 2025239 h 2043633"/>
                  <a:gd name="connsiteX1" fmla="*/ 3020652 w 3023749"/>
                  <a:gd name="connsiteY1" fmla="*/ 1451393 h 2043633"/>
                  <a:gd name="connsiteX2" fmla="*/ 2901963 w 3023749"/>
                  <a:gd name="connsiteY2" fmla="*/ 2016341 h 2043633"/>
                  <a:gd name="connsiteX3" fmla="*/ 2897503 w 3023749"/>
                  <a:gd name="connsiteY3" fmla="*/ 2025239 h 2043633"/>
                  <a:gd name="connsiteX4" fmla="*/ 384115 w 3023749"/>
                  <a:gd name="connsiteY4" fmla="*/ 486693 h 2043633"/>
                  <a:gd name="connsiteX5" fmla="*/ 296760 w 3023749"/>
                  <a:gd name="connsiteY5" fmla="*/ 1026949 h 2043633"/>
                  <a:gd name="connsiteX6" fmla="*/ 275793 w 3023749"/>
                  <a:gd name="connsiteY6" fmla="*/ 1081999 h 2043633"/>
                  <a:gd name="connsiteX7" fmla="*/ 217678 w 3023749"/>
                  <a:gd name="connsiteY7" fmla="*/ 1451393 h 2043633"/>
                  <a:gd name="connsiteX8" fmla="*/ 220242 w 3023749"/>
                  <a:gd name="connsiteY8" fmla="*/ 1500181 h 2043633"/>
                  <a:gd name="connsiteX9" fmla="*/ 132369 w 3023749"/>
                  <a:gd name="connsiteY9" fmla="*/ 2043633 h 2043633"/>
                  <a:gd name="connsiteX10" fmla="*/ 118689 w 3023749"/>
                  <a:gd name="connsiteY10" fmla="*/ 2016341 h 2043633"/>
                  <a:gd name="connsiteX11" fmla="*/ 0 w 3023749"/>
                  <a:gd name="connsiteY11" fmla="*/ 1451393 h 2043633"/>
                  <a:gd name="connsiteX12" fmla="*/ 344885 w 3023749"/>
                  <a:gd name="connsiteY12" fmla="*/ 528173 h 2043633"/>
                  <a:gd name="connsiteX13" fmla="*/ 384115 w 3023749"/>
                  <a:gd name="connsiteY13" fmla="*/ 486693 h 2043633"/>
                  <a:gd name="connsiteX14" fmla="*/ 1510326 w 3023749"/>
                  <a:gd name="connsiteY14" fmla="*/ 0 h 2043633"/>
                  <a:gd name="connsiteX15" fmla="*/ 2471034 w 3023749"/>
                  <a:gd name="connsiteY15" fmla="*/ 331427 h 2043633"/>
                  <a:gd name="connsiteX16" fmla="*/ 2474929 w 3023749"/>
                  <a:gd name="connsiteY16" fmla="*/ 334829 h 2043633"/>
                  <a:gd name="connsiteX17" fmla="*/ 2409343 w 3023749"/>
                  <a:gd name="connsiteY17" fmla="*/ 559897 h 2043633"/>
                  <a:gd name="connsiteX18" fmla="*/ 2332570 w 3023749"/>
                  <a:gd name="connsiteY18" fmla="*/ 492845 h 2043633"/>
                  <a:gd name="connsiteX19" fmla="*/ 1510326 w 3023749"/>
                  <a:gd name="connsiteY19" fmla="*/ 209184 h 2043633"/>
                  <a:gd name="connsiteX20" fmla="*/ 688082 w 3023749"/>
                  <a:gd name="connsiteY20" fmla="*/ 492845 h 2043633"/>
                  <a:gd name="connsiteX21" fmla="*/ 630169 w 3023749"/>
                  <a:gd name="connsiteY21" fmla="*/ 543425 h 2043633"/>
                  <a:gd name="connsiteX22" fmla="*/ 566101 w 3023749"/>
                  <a:gd name="connsiteY22" fmla="*/ 319583 h 2043633"/>
                  <a:gd name="connsiteX23" fmla="*/ 665888 w 3023749"/>
                  <a:gd name="connsiteY23" fmla="*/ 247875 h 2043633"/>
                  <a:gd name="connsiteX24" fmla="*/ 1510326 w 3023749"/>
                  <a:gd name="connsiteY24" fmla="*/ 0 h 2043633"/>
                  <a:gd name="connsiteX0" fmla="*/ 2897503 w 2901963"/>
                  <a:gd name="connsiteY0" fmla="*/ 2025239 h 2043633"/>
                  <a:gd name="connsiteX1" fmla="*/ 2901963 w 2901963"/>
                  <a:gd name="connsiteY1" fmla="*/ 2016341 h 2043633"/>
                  <a:gd name="connsiteX2" fmla="*/ 2897503 w 2901963"/>
                  <a:gd name="connsiteY2" fmla="*/ 2025239 h 2043633"/>
                  <a:gd name="connsiteX3" fmla="*/ 384115 w 2901963"/>
                  <a:gd name="connsiteY3" fmla="*/ 486693 h 2043633"/>
                  <a:gd name="connsiteX4" fmla="*/ 296760 w 2901963"/>
                  <a:gd name="connsiteY4" fmla="*/ 1026949 h 2043633"/>
                  <a:gd name="connsiteX5" fmla="*/ 275793 w 2901963"/>
                  <a:gd name="connsiteY5" fmla="*/ 1081999 h 2043633"/>
                  <a:gd name="connsiteX6" fmla="*/ 217678 w 2901963"/>
                  <a:gd name="connsiteY6" fmla="*/ 1451393 h 2043633"/>
                  <a:gd name="connsiteX7" fmla="*/ 220242 w 2901963"/>
                  <a:gd name="connsiteY7" fmla="*/ 1500181 h 2043633"/>
                  <a:gd name="connsiteX8" fmla="*/ 132369 w 2901963"/>
                  <a:gd name="connsiteY8" fmla="*/ 2043633 h 2043633"/>
                  <a:gd name="connsiteX9" fmla="*/ 118689 w 2901963"/>
                  <a:gd name="connsiteY9" fmla="*/ 2016341 h 2043633"/>
                  <a:gd name="connsiteX10" fmla="*/ 0 w 2901963"/>
                  <a:gd name="connsiteY10" fmla="*/ 1451393 h 2043633"/>
                  <a:gd name="connsiteX11" fmla="*/ 344885 w 2901963"/>
                  <a:gd name="connsiteY11" fmla="*/ 528173 h 2043633"/>
                  <a:gd name="connsiteX12" fmla="*/ 384115 w 2901963"/>
                  <a:gd name="connsiteY12" fmla="*/ 486693 h 2043633"/>
                  <a:gd name="connsiteX13" fmla="*/ 1510326 w 2901963"/>
                  <a:gd name="connsiteY13" fmla="*/ 0 h 2043633"/>
                  <a:gd name="connsiteX14" fmla="*/ 2471034 w 2901963"/>
                  <a:gd name="connsiteY14" fmla="*/ 331427 h 2043633"/>
                  <a:gd name="connsiteX15" fmla="*/ 2474929 w 2901963"/>
                  <a:gd name="connsiteY15" fmla="*/ 334829 h 2043633"/>
                  <a:gd name="connsiteX16" fmla="*/ 2409343 w 2901963"/>
                  <a:gd name="connsiteY16" fmla="*/ 559897 h 2043633"/>
                  <a:gd name="connsiteX17" fmla="*/ 2332570 w 2901963"/>
                  <a:gd name="connsiteY17" fmla="*/ 492845 h 2043633"/>
                  <a:gd name="connsiteX18" fmla="*/ 1510326 w 2901963"/>
                  <a:gd name="connsiteY18" fmla="*/ 209184 h 2043633"/>
                  <a:gd name="connsiteX19" fmla="*/ 688082 w 2901963"/>
                  <a:gd name="connsiteY19" fmla="*/ 492845 h 2043633"/>
                  <a:gd name="connsiteX20" fmla="*/ 630169 w 2901963"/>
                  <a:gd name="connsiteY20" fmla="*/ 543425 h 2043633"/>
                  <a:gd name="connsiteX21" fmla="*/ 566101 w 2901963"/>
                  <a:gd name="connsiteY21" fmla="*/ 319583 h 2043633"/>
                  <a:gd name="connsiteX22" fmla="*/ 665888 w 2901963"/>
                  <a:gd name="connsiteY22" fmla="*/ 247875 h 2043633"/>
                  <a:gd name="connsiteX23" fmla="*/ 1510326 w 2901963"/>
                  <a:gd name="connsiteY23" fmla="*/ 0 h 2043633"/>
                  <a:gd name="connsiteX0" fmla="*/ 384115 w 2474929"/>
                  <a:gd name="connsiteY0" fmla="*/ 486693 h 2043633"/>
                  <a:gd name="connsiteX1" fmla="*/ 296760 w 2474929"/>
                  <a:gd name="connsiteY1" fmla="*/ 1026949 h 2043633"/>
                  <a:gd name="connsiteX2" fmla="*/ 275793 w 2474929"/>
                  <a:gd name="connsiteY2" fmla="*/ 1081999 h 2043633"/>
                  <a:gd name="connsiteX3" fmla="*/ 217678 w 2474929"/>
                  <a:gd name="connsiteY3" fmla="*/ 1451393 h 2043633"/>
                  <a:gd name="connsiteX4" fmla="*/ 220242 w 2474929"/>
                  <a:gd name="connsiteY4" fmla="*/ 1500181 h 2043633"/>
                  <a:gd name="connsiteX5" fmla="*/ 132369 w 2474929"/>
                  <a:gd name="connsiteY5" fmla="*/ 2043633 h 2043633"/>
                  <a:gd name="connsiteX6" fmla="*/ 118689 w 2474929"/>
                  <a:gd name="connsiteY6" fmla="*/ 2016341 h 2043633"/>
                  <a:gd name="connsiteX7" fmla="*/ 0 w 2474929"/>
                  <a:gd name="connsiteY7" fmla="*/ 1451393 h 2043633"/>
                  <a:gd name="connsiteX8" fmla="*/ 344885 w 2474929"/>
                  <a:gd name="connsiteY8" fmla="*/ 528173 h 2043633"/>
                  <a:gd name="connsiteX9" fmla="*/ 384115 w 2474929"/>
                  <a:gd name="connsiteY9" fmla="*/ 486693 h 2043633"/>
                  <a:gd name="connsiteX10" fmla="*/ 1510326 w 2474929"/>
                  <a:gd name="connsiteY10" fmla="*/ 0 h 2043633"/>
                  <a:gd name="connsiteX11" fmla="*/ 2471034 w 2474929"/>
                  <a:gd name="connsiteY11" fmla="*/ 331427 h 2043633"/>
                  <a:gd name="connsiteX12" fmla="*/ 2474929 w 2474929"/>
                  <a:gd name="connsiteY12" fmla="*/ 334829 h 2043633"/>
                  <a:gd name="connsiteX13" fmla="*/ 2409343 w 2474929"/>
                  <a:gd name="connsiteY13" fmla="*/ 559897 h 2043633"/>
                  <a:gd name="connsiteX14" fmla="*/ 2332570 w 2474929"/>
                  <a:gd name="connsiteY14" fmla="*/ 492845 h 2043633"/>
                  <a:gd name="connsiteX15" fmla="*/ 1510326 w 2474929"/>
                  <a:gd name="connsiteY15" fmla="*/ 209184 h 2043633"/>
                  <a:gd name="connsiteX16" fmla="*/ 688082 w 2474929"/>
                  <a:gd name="connsiteY16" fmla="*/ 492845 h 2043633"/>
                  <a:gd name="connsiteX17" fmla="*/ 630169 w 2474929"/>
                  <a:gd name="connsiteY17" fmla="*/ 543425 h 2043633"/>
                  <a:gd name="connsiteX18" fmla="*/ 566101 w 2474929"/>
                  <a:gd name="connsiteY18" fmla="*/ 319583 h 2043633"/>
                  <a:gd name="connsiteX19" fmla="*/ 665888 w 2474929"/>
                  <a:gd name="connsiteY19" fmla="*/ 247875 h 2043633"/>
                  <a:gd name="connsiteX20" fmla="*/ 1510326 w 2474929"/>
                  <a:gd name="connsiteY20" fmla="*/ 0 h 2043633"/>
                  <a:gd name="connsiteX0" fmla="*/ 384115 w 2474929"/>
                  <a:gd name="connsiteY0" fmla="*/ 486693 h 2043633"/>
                  <a:gd name="connsiteX1" fmla="*/ 296760 w 2474929"/>
                  <a:gd name="connsiteY1" fmla="*/ 1026949 h 2043633"/>
                  <a:gd name="connsiteX2" fmla="*/ 275793 w 2474929"/>
                  <a:gd name="connsiteY2" fmla="*/ 1081999 h 2043633"/>
                  <a:gd name="connsiteX3" fmla="*/ 217678 w 2474929"/>
                  <a:gd name="connsiteY3" fmla="*/ 1451393 h 2043633"/>
                  <a:gd name="connsiteX4" fmla="*/ 220242 w 2474929"/>
                  <a:gd name="connsiteY4" fmla="*/ 1500181 h 2043633"/>
                  <a:gd name="connsiteX5" fmla="*/ 132369 w 2474929"/>
                  <a:gd name="connsiteY5" fmla="*/ 2043633 h 2043633"/>
                  <a:gd name="connsiteX6" fmla="*/ 0 w 2474929"/>
                  <a:gd name="connsiteY6" fmla="*/ 1451393 h 2043633"/>
                  <a:gd name="connsiteX7" fmla="*/ 344885 w 2474929"/>
                  <a:gd name="connsiteY7" fmla="*/ 528173 h 2043633"/>
                  <a:gd name="connsiteX8" fmla="*/ 384115 w 2474929"/>
                  <a:gd name="connsiteY8" fmla="*/ 486693 h 2043633"/>
                  <a:gd name="connsiteX9" fmla="*/ 1510326 w 2474929"/>
                  <a:gd name="connsiteY9" fmla="*/ 0 h 2043633"/>
                  <a:gd name="connsiteX10" fmla="*/ 2471034 w 2474929"/>
                  <a:gd name="connsiteY10" fmla="*/ 331427 h 2043633"/>
                  <a:gd name="connsiteX11" fmla="*/ 2474929 w 2474929"/>
                  <a:gd name="connsiteY11" fmla="*/ 334829 h 2043633"/>
                  <a:gd name="connsiteX12" fmla="*/ 2409343 w 2474929"/>
                  <a:gd name="connsiteY12" fmla="*/ 559897 h 2043633"/>
                  <a:gd name="connsiteX13" fmla="*/ 2332570 w 2474929"/>
                  <a:gd name="connsiteY13" fmla="*/ 492845 h 2043633"/>
                  <a:gd name="connsiteX14" fmla="*/ 1510326 w 2474929"/>
                  <a:gd name="connsiteY14" fmla="*/ 209184 h 2043633"/>
                  <a:gd name="connsiteX15" fmla="*/ 688082 w 2474929"/>
                  <a:gd name="connsiteY15" fmla="*/ 492845 h 2043633"/>
                  <a:gd name="connsiteX16" fmla="*/ 630169 w 2474929"/>
                  <a:gd name="connsiteY16" fmla="*/ 543425 h 2043633"/>
                  <a:gd name="connsiteX17" fmla="*/ 566101 w 2474929"/>
                  <a:gd name="connsiteY17" fmla="*/ 319583 h 2043633"/>
                  <a:gd name="connsiteX18" fmla="*/ 665888 w 2474929"/>
                  <a:gd name="connsiteY18" fmla="*/ 247875 h 2043633"/>
                  <a:gd name="connsiteX19" fmla="*/ 1510326 w 2474929"/>
                  <a:gd name="connsiteY19" fmla="*/ 0 h 2043633"/>
                  <a:gd name="connsiteX0" fmla="*/ 384115 w 2474929"/>
                  <a:gd name="connsiteY0" fmla="*/ 486693 h 1500181"/>
                  <a:gd name="connsiteX1" fmla="*/ 296760 w 2474929"/>
                  <a:gd name="connsiteY1" fmla="*/ 1026949 h 1500181"/>
                  <a:gd name="connsiteX2" fmla="*/ 275793 w 2474929"/>
                  <a:gd name="connsiteY2" fmla="*/ 1081999 h 1500181"/>
                  <a:gd name="connsiteX3" fmla="*/ 217678 w 2474929"/>
                  <a:gd name="connsiteY3" fmla="*/ 1451393 h 1500181"/>
                  <a:gd name="connsiteX4" fmla="*/ 220242 w 2474929"/>
                  <a:gd name="connsiteY4" fmla="*/ 1500181 h 1500181"/>
                  <a:gd name="connsiteX5" fmla="*/ 0 w 2474929"/>
                  <a:gd name="connsiteY5" fmla="*/ 1451393 h 1500181"/>
                  <a:gd name="connsiteX6" fmla="*/ 344885 w 2474929"/>
                  <a:gd name="connsiteY6" fmla="*/ 528173 h 1500181"/>
                  <a:gd name="connsiteX7" fmla="*/ 384115 w 2474929"/>
                  <a:gd name="connsiteY7" fmla="*/ 486693 h 1500181"/>
                  <a:gd name="connsiteX8" fmla="*/ 1510326 w 2474929"/>
                  <a:gd name="connsiteY8" fmla="*/ 0 h 1500181"/>
                  <a:gd name="connsiteX9" fmla="*/ 2471034 w 2474929"/>
                  <a:gd name="connsiteY9" fmla="*/ 331427 h 1500181"/>
                  <a:gd name="connsiteX10" fmla="*/ 2474929 w 2474929"/>
                  <a:gd name="connsiteY10" fmla="*/ 334829 h 1500181"/>
                  <a:gd name="connsiteX11" fmla="*/ 2409343 w 2474929"/>
                  <a:gd name="connsiteY11" fmla="*/ 559897 h 1500181"/>
                  <a:gd name="connsiteX12" fmla="*/ 2332570 w 2474929"/>
                  <a:gd name="connsiteY12" fmla="*/ 492845 h 1500181"/>
                  <a:gd name="connsiteX13" fmla="*/ 1510326 w 2474929"/>
                  <a:gd name="connsiteY13" fmla="*/ 209184 h 1500181"/>
                  <a:gd name="connsiteX14" fmla="*/ 688082 w 2474929"/>
                  <a:gd name="connsiteY14" fmla="*/ 492845 h 1500181"/>
                  <a:gd name="connsiteX15" fmla="*/ 630169 w 2474929"/>
                  <a:gd name="connsiteY15" fmla="*/ 543425 h 1500181"/>
                  <a:gd name="connsiteX16" fmla="*/ 566101 w 2474929"/>
                  <a:gd name="connsiteY16" fmla="*/ 319583 h 1500181"/>
                  <a:gd name="connsiteX17" fmla="*/ 665888 w 2474929"/>
                  <a:gd name="connsiteY17" fmla="*/ 247875 h 1500181"/>
                  <a:gd name="connsiteX18" fmla="*/ 1510326 w 2474929"/>
                  <a:gd name="connsiteY18" fmla="*/ 0 h 1500181"/>
                  <a:gd name="connsiteX0" fmla="*/ 384115 w 2474929"/>
                  <a:gd name="connsiteY0" fmla="*/ 486693 h 1451393"/>
                  <a:gd name="connsiteX1" fmla="*/ 296760 w 2474929"/>
                  <a:gd name="connsiteY1" fmla="*/ 1026949 h 1451393"/>
                  <a:gd name="connsiteX2" fmla="*/ 275793 w 2474929"/>
                  <a:gd name="connsiteY2" fmla="*/ 1081999 h 1451393"/>
                  <a:gd name="connsiteX3" fmla="*/ 217678 w 2474929"/>
                  <a:gd name="connsiteY3" fmla="*/ 1451393 h 1451393"/>
                  <a:gd name="connsiteX4" fmla="*/ 0 w 2474929"/>
                  <a:gd name="connsiteY4" fmla="*/ 1451393 h 1451393"/>
                  <a:gd name="connsiteX5" fmla="*/ 344885 w 2474929"/>
                  <a:gd name="connsiteY5" fmla="*/ 528173 h 1451393"/>
                  <a:gd name="connsiteX6" fmla="*/ 384115 w 2474929"/>
                  <a:gd name="connsiteY6" fmla="*/ 486693 h 1451393"/>
                  <a:gd name="connsiteX7" fmla="*/ 1510326 w 2474929"/>
                  <a:gd name="connsiteY7" fmla="*/ 0 h 1451393"/>
                  <a:gd name="connsiteX8" fmla="*/ 2471034 w 2474929"/>
                  <a:gd name="connsiteY8" fmla="*/ 331427 h 1451393"/>
                  <a:gd name="connsiteX9" fmla="*/ 2474929 w 2474929"/>
                  <a:gd name="connsiteY9" fmla="*/ 334829 h 1451393"/>
                  <a:gd name="connsiteX10" fmla="*/ 2409343 w 2474929"/>
                  <a:gd name="connsiteY10" fmla="*/ 559897 h 1451393"/>
                  <a:gd name="connsiteX11" fmla="*/ 2332570 w 2474929"/>
                  <a:gd name="connsiteY11" fmla="*/ 492845 h 1451393"/>
                  <a:gd name="connsiteX12" fmla="*/ 1510326 w 2474929"/>
                  <a:gd name="connsiteY12" fmla="*/ 209184 h 1451393"/>
                  <a:gd name="connsiteX13" fmla="*/ 688082 w 2474929"/>
                  <a:gd name="connsiteY13" fmla="*/ 492845 h 1451393"/>
                  <a:gd name="connsiteX14" fmla="*/ 630169 w 2474929"/>
                  <a:gd name="connsiteY14" fmla="*/ 543425 h 1451393"/>
                  <a:gd name="connsiteX15" fmla="*/ 566101 w 2474929"/>
                  <a:gd name="connsiteY15" fmla="*/ 319583 h 1451393"/>
                  <a:gd name="connsiteX16" fmla="*/ 665888 w 2474929"/>
                  <a:gd name="connsiteY16" fmla="*/ 247875 h 1451393"/>
                  <a:gd name="connsiteX17" fmla="*/ 1510326 w 2474929"/>
                  <a:gd name="connsiteY17" fmla="*/ 0 h 1451393"/>
                  <a:gd name="connsiteX0" fmla="*/ 384519 w 2475333"/>
                  <a:gd name="connsiteY0" fmla="*/ 486693 h 1465415"/>
                  <a:gd name="connsiteX1" fmla="*/ 297164 w 2475333"/>
                  <a:gd name="connsiteY1" fmla="*/ 1026949 h 1465415"/>
                  <a:gd name="connsiteX2" fmla="*/ 276197 w 2475333"/>
                  <a:gd name="connsiteY2" fmla="*/ 1081999 h 1465415"/>
                  <a:gd name="connsiteX3" fmla="*/ 404 w 2475333"/>
                  <a:gd name="connsiteY3" fmla="*/ 1451393 h 1465415"/>
                  <a:gd name="connsiteX4" fmla="*/ 345289 w 2475333"/>
                  <a:gd name="connsiteY4" fmla="*/ 528173 h 1465415"/>
                  <a:gd name="connsiteX5" fmla="*/ 384519 w 2475333"/>
                  <a:gd name="connsiteY5" fmla="*/ 486693 h 1465415"/>
                  <a:gd name="connsiteX6" fmla="*/ 1510730 w 2475333"/>
                  <a:gd name="connsiteY6" fmla="*/ 0 h 1465415"/>
                  <a:gd name="connsiteX7" fmla="*/ 2471438 w 2475333"/>
                  <a:gd name="connsiteY7" fmla="*/ 331427 h 1465415"/>
                  <a:gd name="connsiteX8" fmla="*/ 2475333 w 2475333"/>
                  <a:gd name="connsiteY8" fmla="*/ 334829 h 1465415"/>
                  <a:gd name="connsiteX9" fmla="*/ 2409747 w 2475333"/>
                  <a:gd name="connsiteY9" fmla="*/ 559897 h 1465415"/>
                  <a:gd name="connsiteX10" fmla="*/ 2332974 w 2475333"/>
                  <a:gd name="connsiteY10" fmla="*/ 492845 h 1465415"/>
                  <a:gd name="connsiteX11" fmla="*/ 1510730 w 2475333"/>
                  <a:gd name="connsiteY11" fmla="*/ 209184 h 1465415"/>
                  <a:gd name="connsiteX12" fmla="*/ 688486 w 2475333"/>
                  <a:gd name="connsiteY12" fmla="*/ 492845 h 1465415"/>
                  <a:gd name="connsiteX13" fmla="*/ 630573 w 2475333"/>
                  <a:gd name="connsiteY13" fmla="*/ 543425 h 1465415"/>
                  <a:gd name="connsiteX14" fmla="*/ 566505 w 2475333"/>
                  <a:gd name="connsiteY14" fmla="*/ 319583 h 1465415"/>
                  <a:gd name="connsiteX15" fmla="*/ 666292 w 2475333"/>
                  <a:gd name="connsiteY15" fmla="*/ 247875 h 1465415"/>
                  <a:gd name="connsiteX16" fmla="*/ 1510730 w 2475333"/>
                  <a:gd name="connsiteY16" fmla="*/ 0 h 1465415"/>
                  <a:gd name="connsiteX0" fmla="*/ 108322 w 2199136"/>
                  <a:gd name="connsiteY0" fmla="*/ 486693 h 1081999"/>
                  <a:gd name="connsiteX1" fmla="*/ 20967 w 2199136"/>
                  <a:gd name="connsiteY1" fmla="*/ 1026949 h 1081999"/>
                  <a:gd name="connsiteX2" fmla="*/ 0 w 2199136"/>
                  <a:gd name="connsiteY2" fmla="*/ 1081999 h 1081999"/>
                  <a:gd name="connsiteX3" fmla="*/ 69092 w 2199136"/>
                  <a:gd name="connsiteY3" fmla="*/ 528173 h 1081999"/>
                  <a:gd name="connsiteX4" fmla="*/ 108322 w 2199136"/>
                  <a:gd name="connsiteY4" fmla="*/ 486693 h 1081999"/>
                  <a:gd name="connsiteX5" fmla="*/ 1234533 w 2199136"/>
                  <a:gd name="connsiteY5" fmla="*/ 0 h 1081999"/>
                  <a:gd name="connsiteX6" fmla="*/ 2195241 w 2199136"/>
                  <a:gd name="connsiteY6" fmla="*/ 331427 h 1081999"/>
                  <a:gd name="connsiteX7" fmla="*/ 2199136 w 2199136"/>
                  <a:gd name="connsiteY7" fmla="*/ 334829 h 1081999"/>
                  <a:gd name="connsiteX8" fmla="*/ 2133550 w 2199136"/>
                  <a:gd name="connsiteY8" fmla="*/ 559897 h 1081999"/>
                  <a:gd name="connsiteX9" fmla="*/ 2056777 w 2199136"/>
                  <a:gd name="connsiteY9" fmla="*/ 492845 h 1081999"/>
                  <a:gd name="connsiteX10" fmla="*/ 1234533 w 2199136"/>
                  <a:gd name="connsiteY10" fmla="*/ 209184 h 1081999"/>
                  <a:gd name="connsiteX11" fmla="*/ 412289 w 2199136"/>
                  <a:gd name="connsiteY11" fmla="*/ 492845 h 1081999"/>
                  <a:gd name="connsiteX12" fmla="*/ 354376 w 2199136"/>
                  <a:gd name="connsiteY12" fmla="*/ 543425 h 1081999"/>
                  <a:gd name="connsiteX13" fmla="*/ 290308 w 2199136"/>
                  <a:gd name="connsiteY13" fmla="*/ 319583 h 1081999"/>
                  <a:gd name="connsiteX14" fmla="*/ 390095 w 2199136"/>
                  <a:gd name="connsiteY14" fmla="*/ 247875 h 1081999"/>
                  <a:gd name="connsiteX15" fmla="*/ 1234533 w 2199136"/>
                  <a:gd name="connsiteY15" fmla="*/ 0 h 1081999"/>
                  <a:gd name="connsiteX0" fmla="*/ 108322 w 2199136"/>
                  <a:gd name="connsiteY0" fmla="*/ 486693 h 1081999"/>
                  <a:gd name="connsiteX1" fmla="*/ 0 w 2199136"/>
                  <a:gd name="connsiteY1" fmla="*/ 1081999 h 1081999"/>
                  <a:gd name="connsiteX2" fmla="*/ 69092 w 2199136"/>
                  <a:gd name="connsiteY2" fmla="*/ 528173 h 1081999"/>
                  <a:gd name="connsiteX3" fmla="*/ 108322 w 2199136"/>
                  <a:gd name="connsiteY3" fmla="*/ 486693 h 1081999"/>
                  <a:gd name="connsiteX4" fmla="*/ 1234533 w 2199136"/>
                  <a:gd name="connsiteY4" fmla="*/ 0 h 1081999"/>
                  <a:gd name="connsiteX5" fmla="*/ 2195241 w 2199136"/>
                  <a:gd name="connsiteY5" fmla="*/ 331427 h 1081999"/>
                  <a:gd name="connsiteX6" fmla="*/ 2199136 w 2199136"/>
                  <a:gd name="connsiteY6" fmla="*/ 334829 h 1081999"/>
                  <a:gd name="connsiteX7" fmla="*/ 2133550 w 2199136"/>
                  <a:gd name="connsiteY7" fmla="*/ 559897 h 1081999"/>
                  <a:gd name="connsiteX8" fmla="*/ 2056777 w 2199136"/>
                  <a:gd name="connsiteY8" fmla="*/ 492845 h 1081999"/>
                  <a:gd name="connsiteX9" fmla="*/ 1234533 w 2199136"/>
                  <a:gd name="connsiteY9" fmla="*/ 209184 h 1081999"/>
                  <a:gd name="connsiteX10" fmla="*/ 412289 w 2199136"/>
                  <a:gd name="connsiteY10" fmla="*/ 492845 h 1081999"/>
                  <a:gd name="connsiteX11" fmla="*/ 354376 w 2199136"/>
                  <a:gd name="connsiteY11" fmla="*/ 543425 h 1081999"/>
                  <a:gd name="connsiteX12" fmla="*/ 290308 w 2199136"/>
                  <a:gd name="connsiteY12" fmla="*/ 319583 h 1081999"/>
                  <a:gd name="connsiteX13" fmla="*/ 390095 w 2199136"/>
                  <a:gd name="connsiteY13" fmla="*/ 247875 h 1081999"/>
                  <a:gd name="connsiteX14" fmla="*/ 1234533 w 2199136"/>
                  <a:gd name="connsiteY14" fmla="*/ 0 h 1081999"/>
                  <a:gd name="connsiteX0" fmla="*/ 39230 w 2130044"/>
                  <a:gd name="connsiteY0" fmla="*/ 486693 h 559897"/>
                  <a:gd name="connsiteX1" fmla="*/ 0 w 2130044"/>
                  <a:gd name="connsiteY1" fmla="*/ 528173 h 559897"/>
                  <a:gd name="connsiteX2" fmla="*/ 39230 w 2130044"/>
                  <a:gd name="connsiteY2" fmla="*/ 486693 h 559897"/>
                  <a:gd name="connsiteX3" fmla="*/ 1165441 w 2130044"/>
                  <a:gd name="connsiteY3" fmla="*/ 0 h 559897"/>
                  <a:gd name="connsiteX4" fmla="*/ 2126149 w 2130044"/>
                  <a:gd name="connsiteY4" fmla="*/ 331427 h 559897"/>
                  <a:gd name="connsiteX5" fmla="*/ 2130044 w 2130044"/>
                  <a:gd name="connsiteY5" fmla="*/ 334829 h 559897"/>
                  <a:gd name="connsiteX6" fmla="*/ 2064458 w 2130044"/>
                  <a:gd name="connsiteY6" fmla="*/ 559897 h 559897"/>
                  <a:gd name="connsiteX7" fmla="*/ 1987685 w 2130044"/>
                  <a:gd name="connsiteY7" fmla="*/ 492845 h 559897"/>
                  <a:gd name="connsiteX8" fmla="*/ 1165441 w 2130044"/>
                  <a:gd name="connsiteY8" fmla="*/ 209184 h 559897"/>
                  <a:gd name="connsiteX9" fmla="*/ 343197 w 2130044"/>
                  <a:gd name="connsiteY9" fmla="*/ 492845 h 559897"/>
                  <a:gd name="connsiteX10" fmla="*/ 285284 w 2130044"/>
                  <a:gd name="connsiteY10" fmla="*/ 543425 h 559897"/>
                  <a:gd name="connsiteX11" fmla="*/ 221216 w 2130044"/>
                  <a:gd name="connsiteY11" fmla="*/ 319583 h 559897"/>
                  <a:gd name="connsiteX12" fmla="*/ 321003 w 2130044"/>
                  <a:gd name="connsiteY12" fmla="*/ 247875 h 559897"/>
                  <a:gd name="connsiteX13" fmla="*/ 1165441 w 2130044"/>
                  <a:gd name="connsiteY13" fmla="*/ 0 h 559897"/>
                  <a:gd name="connsiteX0" fmla="*/ 944225 w 1908828"/>
                  <a:gd name="connsiteY0" fmla="*/ 0 h 559897"/>
                  <a:gd name="connsiteX1" fmla="*/ 1904933 w 1908828"/>
                  <a:gd name="connsiteY1" fmla="*/ 331427 h 559897"/>
                  <a:gd name="connsiteX2" fmla="*/ 1908828 w 1908828"/>
                  <a:gd name="connsiteY2" fmla="*/ 334829 h 559897"/>
                  <a:gd name="connsiteX3" fmla="*/ 1843242 w 1908828"/>
                  <a:gd name="connsiteY3" fmla="*/ 559897 h 559897"/>
                  <a:gd name="connsiteX4" fmla="*/ 1766469 w 1908828"/>
                  <a:gd name="connsiteY4" fmla="*/ 492845 h 559897"/>
                  <a:gd name="connsiteX5" fmla="*/ 944225 w 1908828"/>
                  <a:gd name="connsiteY5" fmla="*/ 209184 h 559897"/>
                  <a:gd name="connsiteX6" fmla="*/ 121981 w 1908828"/>
                  <a:gd name="connsiteY6" fmla="*/ 492845 h 559897"/>
                  <a:gd name="connsiteX7" fmla="*/ 64068 w 1908828"/>
                  <a:gd name="connsiteY7" fmla="*/ 543425 h 559897"/>
                  <a:gd name="connsiteX8" fmla="*/ 0 w 1908828"/>
                  <a:gd name="connsiteY8" fmla="*/ 319583 h 559897"/>
                  <a:gd name="connsiteX9" fmla="*/ 99787 w 1908828"/>
                  <a:gd name="connsiteY9" fmla="*/ 247875 h 559897"/>
                  <a:gd name="connsiteX10" fmla="*/ 944225 w 1908828"/>
                  <a:gd name="connsiteY10" fmla="*/ 0 h 559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908828" h="559897">
                    <a:moveTo>
                      <a:pt x="944225" y="0"/>
                    </a:moveTo>
                    <a:cubicBezTo>
                      <a:pt x="1309157" y="0"/>
                      <a:pt x="1643859" y="124378"/>
                      <a:pt x="1904933" y="331427"/>
                    </a:cubicBezTo>
                    <a:lnTo>
                      <a:pt x="1908828" y="334829"/>
                    </a:lnTo>
                    <a:lnTo>
                      <a:pt x="1843242" y="559897"/>
                    </a:lnTo>
                    <a:lnTo>
                      <a:pt x="1766469" y="492845"/>
                    </a:lnTo>
                    <a:cubicBezTo>
                      <a:pt x="1543023" y="315635"/>
                      <a:pt x="1256561" y="209184"/>
                      <a:pt x="944225" y="209184"/>
                    </a:cubicBezTo>
                    <a:cubicBezTo>
                      <a:pt x="631889" y="209184"/>
                      <a:pt x="345427" y="315635"/>
                      <a:pt x="121981" y="492845"/>
                    </a:cubicBezTo>
                    <a:lnTo>
                      <a:pt x="64068" y="543425"/>
                    </a:lnTo>
                    <a:lnTo>
                      <a:pt x="0" y="319583"/>
                    </a:lnTo>
                    <a:lnTo>
                      <a:pt x="99787" y="247875"/>
                    </a:lnTo>
                    <a:cubicBezTo>
                      <a:pt x="340837" y="91380"/>
                      <a:pt x="631426" y="0"/>
                      <a:pt x="944225" y="0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519970">
                  <a:defRPr/>
                </a:pPr>
                <a:endParaRPr lang="en-US" sz="1842" kern="0">
                  <a:solidFill>
                    <a:prstClr val="white"/>
                  </a:solidFill>
                  <a:latin typeface="Calibri"/>
                </a:endParaRPr>
              </a:p>
            </p:txBody>
          </p:sp>
        </p:grpSp>
        <p:grpSp>
          <p:nvGrpSpPr>
            <p:cNvPr id="567" name="Group 204"/>
            <p:cNvGrpSpPr/>
            <p:nvPr/>
          </p:nvGrpSpPr>
          <p:grpSpPr>
            <a:xfrm>
              <a:off x="1282752" y="4938098"/>
              <a:ext cx="1451258" cy="1449504"/>
              <a:chOff x="11961036" y="14854279"/>
              <a:chExt cx="6135815" cy="6128401"/>
            </a:xfrm>
            <a:grpFill/>
          </p:grpSpPr>
          <p:sp>
            <p:nvSpPr>
              <p:cNvPr id="568" name="Freeform 205"/>
              <p:cNvSpPr/>
              <p:nvPr/>
            </p:nvSpPr>
            <p:spPr>
              <a:xfrm>
                <a:off x="12770891" y="14854279"/>
                <a:ext cx="4477588" cy="6128401"/>
              </a:xfrm>
              <a:custGeom>
                <a:avLst/>
                <a:gdLst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3253261 w 4477595"/>
                  <a:gd name="connsiteY17" fmla="*/ 3754007 h 6128401"/>
                  <a:gd name="connsiteX18" fmla="*/ 3242716 w 4477595"/>
                  <a:gd name="connsiteY18" fmla="*/ 3753945 h 6128401"/>
                  <a:gd name="connsiteX19" fmla="*/ 3255265 w 4477595"/>
                  <a:gd name="connsiteY19" fmla="*/ 3746321 h 6128401"/>
                  <a:gd name="connsiteX20" fmla="*/ 4056807 w 4477595"/>
                  <a:gd name="connsiteY20" fmla="*/ 2238797 h 6128401"/>
                  <a:gd name="connsiteX21" fmla="*/ 2238798 w 4477595"/>
                  <a:gd name="connsiteY21" fmla="*/ 420786 h 6128401"/>
                  <a:gd name="connsiteX22" fmla="*/ 2238797 w 4477595"/>
                  <a:gd name="connsiteY22" fmla="*/ 0 h 6128401"/>
                  <a:gd name="connsiteX23" fmla="*/ 4477595 w 4477595"/>
                  <a:gd name="connsiteY23" fmla="*/ 2238797 h 6128401"/>
                  <a:gd name="connsiteX24" fmla="*/ 3305941 w 4477595"/>
                  <a:gd name="connsiteY24" fmla="*/ 4207383 h 6128401"/>
                  <a:gd name="connsiteX25" fmla="*/ 3243251 w 4477595"/>
                  <a:gd name="connsiteY25" fmla="*/ 4439941 h 6128401"/>
                  <a:gd name="connsiteX26" fmla="*/ 3243251 w 4477595"/>
                  <a:gd name="connsiteY26" fmla="*/ 5318909 h 6128401"/>
                  <a:gd name="connsiteX27" fmla="*/ 2705531 w 4477595"/>
                  <a:gd name="connsiteY27" fmla="*/ 5880081 h 6128401"/>
                  <a:gd name="connsiteX28" fmla="*/ 2650833 w 4477595"/>
                  <a:gd name="connsiteY28" fmla="*/ 5880971 h 6128401"/>
                  <a:gd name="connsiteX29" fmla="*/ 2641784 w 4477595"/>
                  <a:gd name="connsiteY29" fmla="*/ 5910123 h 6128401"/>
                  <a:gd name="connsiteX30" fmla="*/ 2312476 w 4477595"/>
                  <a:gd name="connsiteY30" fmla="*/ 6128401 h 6128401"/>
                  <a:gd name="connsiteX31" fmla="*/ 2165118 w 4477595"/>
                  <a:gd name="connsiteY31" fmla="*/ 6128401 h 6128401"/>
                  <a:gd name="connsiteX32" fmla="*/ 1835810 w 4477595"/>
                  <a:gd name="connsiteY32" fmla="*/ 5910123 h 6128401"/>
                  <a:gd name="connsiteX33" fmla="*/ 1826975 w 4477595"/>
                  <a:gd name="connsiteY33" fmla="*/ 5881661 h 6128401"/>
                  <a:gd name="connsiteX34" fmla="*/ 1699568 w 4477595"/>
                  <a:gd name="connsiteY34" fmla="*/ 5881345 h 6128401"/>
                  <a:gd name="connsiteX35" fmla="*/ 1252464 w 4477595"/>
                  <a:gd name="connsiteY35" fmla="*/ 5306553 h 6128401"/>
                  <a:gd name="connsiteX36" fmla="*/ 1260702 w 4477595"/>
                  <a:gd name="connsiteY36" fmla="*/ 4439941 h 6128401"/>
                  <a:gd name="connsiteX37" fmla="*/ 1247395 w 4477595"/>
                  <a:gd name="connsiteY37" fmla="*/ 4251681 h 6128401"/>
                  <a:gd name="connsiteX38" fmla="*/ 1171654 w 4477595"/>
                  <a:gd name="connsiteY38" fmla="*/ 4207383 h 6128401"/>
                  <a:gd name="connsiteX39" fmla="*/ 0 w 4477595"/>
                  <a:gd name="connsiteY39" fmla="*/ 2238797 h 6128401"/>
                  <a:gd name="connsiteX40" fmla="*/ 2238797 w 4477595"/>
                  <a:gd name="connsiteY40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3253261 w 4477595"/>
                  <a:gd name="connsiteY17" fmla="*/ 3754007 h 6128401"/>
                  <a:gd name="connsiteX18" fmla="*/ 3242716 w 4477595"/>
                  <a:gd name="connsiteY18" fmla="*/ 3753945 h 6128401"/>
                  <a:gd name="connsiteX19" fmla="*/ 4056807 w 4477595"/>
                  <a:gd name="connsiteY19" fmla="*/ 2238797 h 6128401"/>
                  <a:gd name="connsiteX20" fmla="*/ 2238798 w 4477595"/>
                  <a:gd name="connsiteY20" fmla="*/ 420786 h 6128401"/>
                  <a:gd name="connsiteX21" fmla="*/ 2238797 w 4477595"/>
                  <a:gd name="connsiteY21" fmla="*/ 0 h 6128401"/>
                  <a:gd name="connsiteX22" fmla="*/ 4477595 w 4477595"/>
                  <a:gd name="connsiteY22" fmla="*/ 2238797 h 6128401"/>
                  <a:gd name="connsiteX23" fmla="*/ 3305941 w 4477595"/>
                  <a:gd name="connsiteY23" fmla="*/ 4207383 h 6128401"/>
                  <a:gd name="connsiteX24" fmla="*/ 3243251 w 4477595"/>
                  <a:gd name="connsiteY24" fmla="*/ 4439941 h 6128401"/>
                  <a:gd name="connsiteX25" fmla="*/ 3243251 w 4477595"/>
                  <a:gd name="connsiteY25" fmla="*/ 5318909 h 6128401"/>
                  <a:gd name="connsiteX26" fmla="*/ 2705531 w 4477595"/>
                  <a:gd name="connsiteY26" fmla="*/ 5880081 h 6128401"/>
                  <a:gd name="connsiteX27" fmla="*/ 2650833 w 4477595"/>
                  <a:gd name="connsiteY27" fmla="*/ 5880971 h 6128401"/>
                  <a:gd name="connsiteX28" fmla="*/ 2641784 w 4477595"/>
                  <a:gd name="connsiteY28" fmla="*/ 5910123 h 6128401"/>
                  <a:gd name="connsiteX29" fmla="*/ 2312476 w 4477595"/>
                  <a:gd name="connsiteY29" fmla="*/ 6128401 h 6128401"/>
                  <a:gd name="connsiteX30" fmla="*/ 2165118 w 4477595"/>
                  <a:gd name="connsiteY30" fmla="*/ 6128401 h 6128401"/>
                  <a:gd name="connsiteX31" fmla="*/ 1835810 w 4477595"/>
                  <a:gd name="connsiteY31" fmla="*/ 5910123 h 6128401"/>
                  <a:gd name="connsiteX32" fmla="*/ 1826975 w 4477595"/>
                  <a:gd name="connsiteY32" fmla="*/ 5881661 h 6128401"/>
                  <a:gd name="connsiteX33" fmla="*/ 1699568 w 4477595"/>
                  <a:gd name="connsiteY33" fmla="*/ 5881345 h 6128401"/>
                  <a:gd name="connsiteX34" fmla="*/ 1252464 w 4477595"/>
                  <a:gd name="connsiteY34" fmla="*/ 5306553 h 6128401"/>
                  <a:gd name="connsiteX35" fmla="*/ 1260702 w 4477595"/>
                  <a:gd name="connsiteY35" fmla="*/ 4439941 h 6128401"/>
                  <a:gd name="connsiteX36" fmla="*/ 1247395 w 4477595"/>
                  <a:gd name="connsiteY36" fmla="*/ 4251681 h 6128401"/>
                  <a:gd name="connsiteX37" fmla="*/ 1171654 w 4477595"/>
                  <a:gd name="connsiteY37" fmla="*/ 4207383 h 6128401"/>
                  <a:gd name="connsiteX38" fmla="*/ 0 w 4477595"/>
                  <a:gd name="connsiteY38" fmla="*/ 2238797 h 6128401"/>
                  <a:gd name="connsiteX39" fmla="*/ 2238797 w 4477595"/>
                  <a:gd name="connsiteY39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3253261 w 4477595"/>
                  <a:gd name="connsiteY17" fmla="*/ 3754007 h 6128401"/>
                  <a:gd name="connsiteX18" fmla="*/ 4056807 w 4477595"/>
                  <a:gd name="connsiteY18" fmla="*/ 2238797 h 6128401"/>
                  <a:gd name="connsiteX19" fmla="*/ 2238798 w 4477595"/>
                  <a:gd name="connsiteY19" fmla="*/ 420786 h 6128401"/>
                  <a:gd name="connsiteX20" fmla="*/ 2238797 w 4477595"/>
                  <a:gd name="connsiteY20" fmla="*/ 0 h 6128401"/>
                  <a:gd name="connsiteX21" fmla="*/ 4477595 w 4477595"/>
                  <a:gd name="connsiteY21" fmla="*/ 2238797 h 6128401"/>
                  <a:gd name="connsiteX22" fmla="*/ 3305941 w 4477595"/>
                  <a:gd name="connsiteY22" fmla="*/ 4207383 h 6128401"/>
                  <a:gd name="connsiteX23" fmla="*/ 3243251 w 4477595"/>
                  <a:gd name="connsiteY23" fmla="*/ 4439941 h 6128401"/>
                  <a:gd name="connsiteX24" fmla="*/ 3243251 w 4477595"/>
                  <a:gd name="connsiteY24" fmla="*/ 5318909 h 6128401"/>
                  <a:gd name="connsiteX25" fmla="*/ 2705531 w 4477595"/>
                  <a:gd name="connsiteY25" fmla="*/ 5880081 h 6128401"/>
                  <a:gd name="connsiteX26" fmla="*/ 2650833 w 4477595"/>
                  <a:gd name="connsiteY26" fmla="*/ 5880971 h 6128401"/>
                  <a:gd name="connsiteX27" fmla="*/ 2641784 w 4477595"/>
                  <a:gd name="connsiteY27" fmla="*/ 5910123 h 6128401"/>
                  <a:gd name="connsiteX28" fmla="*/ 2312476 w 4477595"/>
                  <a:gd name="connsiteY28" fmla="*/ 6128401 h 6128401"/>
                  <a:gd name="connsiteX29" fmla="*/ 2165118 w 4477595"/>
                  <a:gd name="connsiteY29" fmla="*/ 6128401 h 6128401"/>
                  <a:gd name="connsiteX30" fmla="*/ 1835810 w 4477595"/>
                  <a:gd name="connsiteY30" fmla="*/ 5910123 h 6128401"/>
                  <a:gd name="connsiteX31" fmla="*/ 1826975 w 4477595"/>
                  <a:gd name="connsiteY31" fmla="*/ 5881661 h 6128401"/>
                  <a:gd name="connsiteX32" fmla="*/ 1699568 w 4477595"/>
                  <a:gd name="connsiteY32" fmla="*/ 5881345 h 6128401"/>
                  <a:gd name="connsiteX33" fmla="*/ 1252464 w 4477595"/>
                  <a:gd name="connsiteY33" fmla="*/ 5306553 h 6128401"/>
                  <a:gd name="connsiteX34" fmla="*/ 1260702 w 4477595"/>
                  <a:gd name="connsiteY34" fmla="*/ 4439941 h 6128401"/>
                  <a:gd name="connsiteX35" fmla="*/ 1247395 w 4477595"/>
                  <a:gd name="connsiteY35" fmla="*/ 4251681 h 6128401"/>
                  <a:gd name="connsiteX36" fmla="*/ 1171654 w 4477595"/>
                  <a:gd name="connsiteY36" fmla="*/ 4207383 h 6128401"/>
                  <a:gd name="connsiteX37" fmla="*/ 0 w 4477595"/>
                  <a:gd name="connsiteY37" fmla="*/ 2238797 h 6128401"/>
                  <a:gd name="connsiteX38" fmla="*/ 2238797 w 4477595"/>
                  <a:gd name="connsiteY38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4056807 w 4477595"/>
                  <a:gd name="connsiteY17" fmla="*/ 2238797 h 6128401"/>
                  <a:gd name="connsiteX18" fmla="*/ 2238798 w 4477595"/>
                  <a:gd name="connsiteY18" fmla="*/ 420786 h 6128401"/>
                  <a:gd name="connsiteX19" fmla="*/ 2238797 w 4477595"/>
                  <a:gd name="connsiteY19" fmla="*/ 0 h 6128401"/>
                  <a:gd name="connsiteX20" fmla="*/ 4477595 w 4477595"/>
                  <a:gd name="connsiteY20" fmla="*/ 2238797 h 6128401"/>
                  <a:gd name="connsiteX21" fmla="*/ 3305941 w 4477595"/>
                  <a:gd name="connsiteY21" fmla="*/ 4207383 h 6128401"/>
                  <a:gd name="connsiteX22" fmla="*/ 3243251 w 4477595"/>
                  <a:gd name="connsiteY22" fmla="*/ 4439941 h 6128401"/>
                  <a:gd name="connsiteX23" fmla="*/ 3243251 w 4477595"/>
                  <a:gd name="connsiteY23" fmla="*/ 5318909 h 6128401"/>
                  <a:gd name="connsiteX24" fmla="*/ 2705531 w 4477595"/>
                  <a:gd name="connsiteY24" fmla="*/ 5880081 h 6128401"/>
                  <a:gd name="connsiteX25" fmla="*/ 2650833 w 4477595"/>
                  <a:gd name="connsiteY25" fmla="*/ 5880971 h 6128401"/>
                  <a:gd name="connsiteX26" fmla="*/ 2641784 w 4477595"/>
                  <a:gd name="connsiteY26" fmla="*/ 5910123 h 6128401"/>
                  <a:gd name="connsiteX27" fmla="*/ 2312476 w 4477595"/>
                  <a:gd name="connsiteY27" fmla="*/ 6128401 h 6128401"/>
                  <a:gd name="connsiteX28" fmla="*/ 2165118 w 4477595"/>
                  <a:gd name="connsiteY28" fmla="*/ 6128401 h 6128401"/>
                  <a:gd name="connsiteX29" fmla="*/ 1835810 w 4477595"/>
                  <a:gd name="connsiteY29" fmla="*/ 5910123 h 6128401"/>
                  <a:gd name="connsiteX30" fmla="*/ 1826975 w 4477595"/>
                  <a:gd name="connsiteY30" fmla="*/ 5881661 h 6128401"/>
                  <a:gd name="connsiteX31" fmla="*/ 1699568 w 4477595"/>
                  <a:gd name="connsiteY31" fmla="*/ 5881345 h 6128401"/>
                  <a:gd name="connsiteX32" fmla="*/ 1252464 w 4477595"/>
                  <a:gd name="connsiteY32" fmla="*/ 5306553 h 6128401"/>
                  <a:gd name="connsiteX33" fmla="*/ 1260702 w 4477595"/>
                  <a:gd name="connsiteY33" fmla="*/ 4439941 h 6128401"/>
                  <a:gd name="connsiteX34" fmla="*/ 1247395 w 4477595"/>
                  <a:gd name="connsiteY34" fmla="*/ 4251681 h 6128401"/>
                  <a:gd name="connsiteX35" fmla="*/ 1171654 w 4477595"/>
                  <a:gd name="connsiteY35" fmla="*/ 4207383 h 6128401"/>
                  <a:gd name="connsiteX36" fmla="*/ 0 w 4477595"/>
                  <a:gd name="connsiteY36" fmla="*/ 2238797 h 6128401"/>
                  <a:gd name="connsiteX37" fmla="*/ 2238797 w 4477595"/>
                  <a:gd name="connsiteY37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4056807 w 4477595"/>
                  <a:gd name="connsiteY17" fmla="*/ 2238797 h 6128401"/>
                  <a:gd name="connsiteX18" fmla="*/ 2238798 w 4477595"/>
                  <a:gd name="connsiteY18" fmla="*/ 420786 h 6128401"/>
                  <a:gd name="connsiteX19" fmla="*/ 2238797 w 4477595"/>
                  <a:gd name="connsiteY19" fmla="*/ 0 h 6128401"/>
                  <a:gd name="connsiteX20" fmla="*/ 4477595 w 4477595"/>
                  <a:gd name="connsiteY20" fmla="*/ 2238797 h 6128401"/>
                  <a:gd name="connsiteX21" fmla="*/ 3305941 w 4477595"/>
                  <a:gd name="connsiteY21" fmla="*/ 4207383 h 6128401"/>
                  <a:gd name="connsiteX22" fmla="*/ 3243251 w 4477595"/>
                  <a:gd name="connsiteY22" fmla="*/ 4439941 h 6128401"/>
                  <a:gd name="connsiteX23" fmla="*/ 3243251 w 4477595"/>
                  <a:gd name="connsiteY23" fmla="*/ 5318909 h 6128401"/>
                  <a:gd name="connsiteX24" fmla="*/ 2705531 w 4477595"/>
                  <a:gd name="connsiteY24" fmla="*/ 5880081 h 6128401"/>
                  <a:gd name="connsiteX25" fmla="*/ 2650833 w 4477595"/>
                  <a:gd name="connsiteY25" fmla="*/ 5880971 h 6128401"/>
                  <a:gd name="connsiteX26" fmla="*/ 2641784 w 4477595"/>
                  <a:gd name="connsiteY26" fmla="*/ 5910123 h 6128401"/>
                  <a:gd name="connsiteX27" fmla="*/ 2312476 w 4477595"/>
                  <a:gd name="connsiteY27" fmla="*/ 6128401 h 6128401"/>
                  <a:gd name="connsiteX28" fmla="*/ 2165118 w 4477595"/>
                  <a:gd name="connsiteY28" fmla="*/ 6128401 h 6128401"/>
                  <a:gd name="connsiteX29" fmla="*/ 1835810 w 4477595"/>
                  <a:gd name="connsiteY29" fmla="*/ 5910123 h 6128401"/>
                  <a:gd name="connsiteX30" fmla="*/ 1826975 w 4477595"/>
                  <a:gd name="connsiteY30" fmla="*/ 5881661 h 6128401"/>
                  <a:gd name="connsiteX31" fmla="*/ 1699568 w 4477595"/>
                  <a:gd name="connsiteY31" fmla="*/ 5881345 h 6128401"/>
                  <a:gd name="connsiteX32" fmla="*/ 1252464 w 4477595"/>
                  <a:gd name="connsiteY32" fmla="*/ 5306553 h 6128401"/>
                  <a:gd name="connsiteX33" fmla="*/ 1260702 w 4477595"/>
                  <a:gd name="connsiteY33" fmla="*/ 4439941 h 6128401"/>
                  <a:gd name="connsiteX34" fmla="*/ 1247395 w 4477595"/>
                  <a:gd name="connsiteY34" fmla="*/ 4251681 h 6128401"/>
                  <a:gd name="connsiteX35" fmla="*/ 1171654 w 4477595"/>
                  <a:gd name="connsiteY35" fmla="*/ 4207383 h 6128401"/>
                  <a:gd name="connsiteX36" fmla="*/ 0 w 4477595"/>
                  <a:gd name="connsiteY36" fmla="*/ 2238797 h 6128401"/>
                  <a:gd name="connsiteX37" fmla="*/ 2238797 w 4477595"/>
                  <a:gd name="connsiteY37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4056807 w 4477595"/>
                  <a:gd name="connsiteY17" fmla="*/ 2238797 h 6128401"/>
                  <a:gd name="connsiteX18" fmla="*/ 2238798 w 4477595"/>
                  <a:gd name="connsiteY18" fmla="*/ 420786 h 6128401"/>
                  <a:gd name="connsiteX19" fmla="*/ 2238797 w 4477595"/>
                  <a:gd name="connsiteY19" fmla="*/ 0 h 6128401"/>
                  <a:gd name="connsiteX20" fmla="*/ 4477595 w 4477595"/>
                  <a:gd name="connsiteY20" fmla="*/ 2238797 h 6128401"/>
                  <a:gd name="connsiteX21" fmla="*/ 3305941 w 4477595"/>
                  <a:gd name="connsiteY21" fmla="*/ 4207383 h 6128401"/>
                  <a:gd name="connsiteX22" fmla="*/ 3243251 w 4477595"/>
                  <a:gd name="connsiteY22" fmla="*/ 4439941 h 6128401"/>
                  <a:gd name="connsiteX23" fmla="*/ 3243251 w 4477595"/>
                  <a:gd name="connsiteY23" fmla="*/ 5318909 h 6128401"/>
                  <a:gd name="connsiteX24" fmla="*/ 2705531 w 4477595"/>
                  <a:gd name="connsiteY24" fmla="*/ 5880081 h 6128401"/>
                  <a:gd name="connsiteX25" fmla="*/ 2650833 w 4477595"/>
                  <a:gd name="connsiteY25" fmla="*/ 5880971 h 6128401"/>
                  <a:gd name="connsiteX26" fmla="*/ 2641784 w 4477595"/>
                  <a:gd name="connsiteY26" fmla="*/ 5910123 h 6128401"/>
                  <a:gd name="connsiteX27" fmla="*/ 2312476 w 4477595"/>
                  <a:gd name="connsiteY27" fmla="*/ 6128401 h 6128401"/>
                  <a:gd name="connsiteX28" fmla="*/ 2165118 w 4477595"/>
                  <a:gd name="connsiteY28" fmla="*/ 6128401 h 6128401"/>
                  <a:gd name="connsiteX29" fmla="*/ 1835810 w 4477595"/>
                  <a:gd name="connsiteY29" fmla="*/ 5910123 h 6128401"/>
                  <a:gd name="connsiteX30" fmla="*/ 1826975 w 4477595"/>
                  <a:gd name="connsiteY30" fmla="*/ 5881661 h 6128401"/>
                  <a:gd name="connsiteX31" fmla="*/ 1699568 w 4477595"/>
                  <a:gd name="connsiteY31" fmla="*/ 5881345 h 6128401"/>
                  <a:gd name="connsiteX32" fmla="*/ 1252464 w 4477595"/>
                  <a:gd name="connsiteY32" fmla="*/ 5306553 h 6128401"/>
                  <a:gd name="connsiteX33" fmla="*/ 1260702 w 4477595"/>
                  <a:gd name="connsiteY33" fmla="*/ 4439941 h 6128401"/>
                  <a:gd name="connsiteX34" fmla="*/ 1247395 w 4477595"/>
                  <a:gd name="connsiteY34" fmla="*/ 4251681 h 6128401"/>
                  <a:gd name="connsiteX35" fmla="*/ 1171654 w 4477595"/>
                  <a:gd name="connsiteY35" fmla="*/ 4207383 h 6128401"/>
                  <a:gd name="connsiteX36" fmla="*/ 0 w 4477595"/>
                  <a:gd name="connsiteY36" fmla="*/ 2238797 h 6128401"/>
                  <a:gd name="connsiteX37" fmla="*/ 2238797 w 4477595"/>
                  <a:gd name="connsiteY37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4056807 w 4477595"/>
                  <a:gd name="connsiteY17" fmla="*/ 2238797 h 6128401"/>
                  <a:gd name="connsiteX18" fmla="*/ 2238798 w 4477595"/>
                  <a:gd name="connsiteY18" fmla="*/ 420786 h 6128401"/>
                  <a:gd name="connsiteX19" fmla="*/ 2238797 w 4477595"/>
                  <a:gd name="connsiteY19" fmla="*/ 0 h 6128401"/>
                  <a:gd name="connsiteX20" fmla="*/ 4477595 w 4477595"/>
                  <a:gd name="connsiteY20" fmla="*/ 2238797 h 6128401"/>
                  <a:gd name="connsiteX21" fmla="*/ 3305941 w 4477595"/>
                  <a:gd name="connsiteY21" fmla="*/ 4207383 h 6128401"/>
                  <a:gd name="connsiteX22" fmla="*/ 3243251 w 4477595"/>
                  <a:gd name="connsiteY22" fmla="*/ 4439941 h 6128401"/>
                  <a:gd name="connsiteX23" fmla="*/ 3243251 w 4477595"/>
                  <a:gd name="connsiteY23" fmla="*/ 5318909 h 6128401"/>
                  <a:gd name="connsiteX24" fmla="*/ 2705531 w 4477595"/>
                  <a:gd name="connsiteY24" fmla="*/ 5880081 h 6128401"/>
                  <a:gd name="connsiteX25" fmla="*/ 2650833 w 4477595"/>
                  <a:gd name="connsiteY25" fmla="*/ 5880971 h 6128401"/>
                  <a:gd name="connsiteX26" fmla="*/ 2641784 w 4477595"/>
                  <a:gd name="connsiteY26" fmla="*/ 5910123 h 6128401"/>
                  <a:gd name="connsiteX27" fmla="*/ 2312476 w 4477595"/>
                  <a:gd name="connsiteY27" fmla="*/ 6128401 h 6128401"/>
                  <a:gd name="connsiteX28" fmla="*/ 2165118 w 4477595"/>
                  <a:gd name="connsiteY28" fmla="*/ 6128401 h 6128401"/>
                  <a:gd name="connsiteX29" fmla="*/ 1835810 w 4477595"/>
                  <a:gd name="connsiteY29" fmla="*/ 5910123 h 6128401"/>
                  <a:gd name="connsiteX30" fmla="*/ 1826975 w 4477595"/>
                  <a:gd name="connsiteY30" fmla="*/ 5881661 h 6128401"/>
                  <a:gd name="connsiteX31" fmla="*/ 1699568 w 4477595"/>
                  <a:gd name="connsiteY31" fmla="*/ 5881345 h 6128401"/>
                  <a:gd name="connsiteX32" fmla="*/ 1252464 w 4477595"/>
                  <a:gd name="connsiteY32" fmla="*/ 5306553 h 6128401"/>
                  <a:gd name="connsiteX33" fmla="*/ 1260702 w 4477595"/>
                  <a:gd name="connsiteY33" fmla="*/ 4439941 h 6128401"/>
                  <a:gd name="connsiteX34" fmla="*/ 1247395 w 4477595"/>
                  <a:gd name="connsiteY34" fmla="*/ 4251681 h 6128401"/>
                  <a:gd name="connsiteX35" fmla="*/ 1171654 w 4477595"/>
                  <a:gd name="connsiteY35" fmla="*/ 4207383 h 6128401"/>
                  <a:gd name="connsiteX36" fmla="*/ 0 w 4477595"/>
                  <a:gd name="connsiteY36" fmla="*/ 2238797 h 6128401"/>
                  <a:gd name="connsiteX37" fmla="*/ 2238797 w 4477595"/>
                  <a:gd name="connsiteY37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539568 w 4477595"/>
                  <a:gd name="connsiteY11" fmla="*/ 4531711 h 6128401"/>
                  <a:gd name="connsiteX12" fmla="*/ 2860637 w 4477595"/>
                  <a:gd name="connsiteY12" fmla="*/ 4311091 h 6128401"/>
                  <a:gd name="connsiteX13" fmla="*/ 3109338 w 4477595"/>
                  <a:gd name="connsiteY13" fmla="*/ 3834987 h 6128401"/>
                  <a:gd name="connsiteX14" fmla="*/ 3110879 w 4477595"/>
                  <a:gd name="connsiteY14" fmla="*/ 3834037 h 6128401"/>
                  <a:gd name="connsiteX15" fmla="*/ 3181541 w 4477595"/>
                  <a:gd name="connsiteY15" fmla="*/ 3791109 h 6128401"/>
                  <a:gd name="connsiteX16" fmla="*/ 4056807 w 4477595"/>
                  <a:gd name="connsiteY16" fmla="*/ 2238797 h 6128401"/>
                  <a:gd name="connsiteX17" fmla="*/ 2238798 w 4477595"/>
                  <a:gd name="connsiteY17" fmla="*/ 420786 h 6128401"/>
                  <a:gd name="connsiteX18" fmla="*/ 2238797 w 4477595"/>
                  <a:gd name="connsiteY18" fmla="*/ 0 h 6128401"/>
                  <a:gd name="connsiteX19" fmla="*/ 4477595 w 4477595"/>
                  <a:gd name="connsiteY19" fmla="*/ 2238797 h 6128401"/>
                  <a:gd name="connsiteX20" fmla="*/ 3305941 w 4477595"/>
                  <a:gd name="connsiteY20" fmla="*/ 4207383 h 6128401"/>
                  <a:gd name="connsiteX21" fmla="*/ 3243251 w 4477595"/>
                  <a:gd name="connsiteY21" fmla="*/ 4439941 h 6128401"/>
                  <a:gd name="connsiteX22" fmla="*/ 3243251 w 4477595"/>
                  <a:gd name="connsiteY22" fmla="*/ 5318909 h 6128401"/>
                  <a:gd name="connsiteX23" fmla="*/ 2705531 w 4477595"/>
                  <a:gd name="connsiteY23" fmla="*/ 5880081 h 6128401"/>
                  <a:gd name="connsiteX24" fmla="*/ 2650833 w 4477595"/>
                  <a:gd name="connsiteY24" fmla="*/ 5880971 h 6128401"/>
                  <a:gd name="connsiteX25" fmla="*/ 2641784 w 4477595"/>
                  <a:gd name="connsiteY25" fmla="*/ 5910123 h 6128401"/>
                  <a:gd name="connsiteX26" fmla="*/ 2312476 w 4477595"/>
                  <a:gd name="connsiteY26" fmla="*/ 6128401 h 6128401"/>
                  <a:gd name="connsiteX27" fmla="*/ 2165118 w 4477595"/>
                  <a:gd name="connsiteY27" fmla="*/ 6128401 h 6128401"/>
                  <a:gd name="connsiteX28" fmla="*/ 1835810 w 4477595"/>
                  <a:gd name="connsiteY28" fmla="*/ 5910123 h 6128401"/>
                  <a:gd name="connsiteX29" fmla="*/ 1826975 w 4477595"/>
                  <a:gd name="connsiteY29" fmla="*/ 5881661 h 6128401"/>
                  <a:gd name="connsiteX30" fmla="*/ 1699568 w 4477595"/>
                  <a:gd name="connsiteY30" fmla="*/ 5881345 h 6128401"/>
                  <a:gd name="connsiteX31" fmla="*/ 1252464 w 4477595"/>
                  <a:gd name="connsiteY31" fmla="*/ 5306553 h 6128401"/>
                  <a:gd name="connsiteX32" fmla="*/ 1260702 w 4477595"/>
                  <a:gd name="connsiteY32" fmla="*/ 4439941 h 6128401"/>
                  <a:gd name="connsiteX33" fmla="*/ 1247395 w 4477595"/>
                  <a:gd name="connsiteY33" fmla="*/ 4251681 h 6128401"/>
                  <a:gd name="connsiteX34" fmla="*/ 1171654 w 4477595"/>
                  <a:gd name="connsiteY34" fmla="*/ 4207383 h 6128401"/>
                  <a:gd name="connsiteX35" fmla="*/ 0 w 4477595"/>
                  <a:gd name="connsiteY35" fmla="*/ 2238797 h 6128401"/>
                  <a:gd name="connsiteX36" fmla="*/ 2238797 w 4477595"/>
                  <a:gd name="connsiteY36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539568 w 4477595"/>
                  <a:gd name="connsiteY10" fmla="*/ 4531711 h 6128401"/>
                  <a:gd name="connsiteX11" fmla="*/ 2860637 w 4477595"/>
                  <a:gd name="connsiteY11" fmla="*/ 4311091 h 6128401"/>
                  <a:gd name="connsiteX12" fmla="*/ 3109338 w 4477595"/>
                  <a:gd name="connsiteY12" fmla="*/ 3834987 h 6128401"/>
                  <a:gd name="connsiteX13" fmla="*/ 3110879 w 4477595"/>
                  <a:gd name="connsiteY13" fmla="*/ 3834037 h 6128401"/>
                  <a:gd name="connsiteX14" fmla="*/ 3181541 w 4477595"/>
                  <a:gd name="connsiteY14" fmla="*/ 3791109 h 6128401"/>
                  <a:gd name="connsiteX15" fmla="*/ 4056807 w 4477595"/>
                  <a:gd name="connsiteY15" fmla="*/ 2238797 h 6128401"/>
                  <a:gd name="connsiteX16" fmla="*/ 2238798 w 4477595"/>
                  <a:gd name="connsiteY16" fmla="*/ 420786 h 6128401"/>
                  <a:gd name="connsiteX17" fmla="*/ 2238797 w 4477595"/>
                  <a:gd name="connsiteY17" fmla="*/ 0 h 6128401"/>
                  <a:gd name="connsiteX18" fmla="*/ 4477595 w 4477595"/>
                  <a:gd name="connsiteY18" fmla="*/ 2238797 h 6128401"/>
                  <a:gd name="connsiteX19" fmla="*/ 3305941 w 4477595"/>
                  <a:gd name="connsiteY19" fmla="*/ 4207383 h 6128401"/>
                  <a:gd name="connsiteX20" fmla="*/ 3243251 w 4477595"/>
                  <a:gd name="connsiteY20" fmla="*/ 4439941 h 6128401"/>
                  <a:gd name="connsiteX21" fmla="*/ 3243251 w 4477595"/>
                  <a:gd name="connsiteY21" fmla="*/ 5318909 h 6128401"/>
                  <a:gd name="connsiteX22" fmla="*/ 2705531 w 4477595"/>
                  <a:gd name="connsiteY22" fmla="*/ 5880081 h 6128401"/>
                  <a:gd name="connsiteX23" fmla="*/ 2650833 w 4477595"/>
                  <a:gd name="connsiteY23" fmla="*/ 5880971 h 6128401"/>
                  <a:gd name="connsiteX24" fmla="*/ 2641784 w 4477595"/>
                  <a:gd name="connsiteY24" fmla="*/ 5910123 h 6128401"/>
                  <a:gd name="connsiteX25" fmla="*/ 2312476 w 4477595"/>
                  <a:gd name="connsiteY25" fmla="*/ 6128401 h 6128401"/>
                  <a:gd name="connsiteX26" fmla="*/ 2165118 w 4477595"/>
                  <a:gd name="connsiteY26" fmla="*/ 6128401 h 6128401"/>
                  <a:gd name="connsiteX27" fmla="*/ 1835810 w 4477595"/>
                  <a:gd name="connsiteY27" fmla="*/ 5910123 h 6128401"/>
                  <a:gd name="connsiteX28" fmla="*/ 1826975 w 4477595"/>
                  <a:gd name="connsiteY28" fmla="*/ 5881661 h 6128401"/>
                  <a:gd name="connsiteX29" fmla="*/ 1699568 w 4477595"/>
                  <a:gd name="connsiteY29" fmla="*/ 5881345 h 6128401"/>
                  <a:gd name="connsiteX30" fmla="*/ 1252464 w 4477595"/>
                  <a:gd name="connsiteY30" fmla="*/ 5306553 h 6128401"/>
                  <a:gd name="connsiteX31" fmla="*/ 1260702 w 4477595"/>
                  <a:gd name="connsiteY31" fmla="*/ 4439941 h 6128401"/>
                  <a:gd name="connsiteX32" fmla="*/ 1247395 w 4477595"/>
                  <a:gd name="connsiteY32" fmla="*/ 4251681 h 6128401"/>
                  <a:gd name="connsiteX33" fmla="*/ 1171654 w 4477595"/>
                  <a:gd name="connsiteY33" fmla="*/ 4207383 h 6128401"/>
                  <a:gd name="connsiteX34" fmla="*/ 0 w 4477595"/>
                  <a:gd name="connsiteY34" fmla="*/ 2238797 h 6128401"/>
                  <a:gd name="connsiteX35" fmla="*/ 2238797 w 4477595"/>
                  <a:gd name="connsiteY35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539568 w 4477595"/>
                  <a:gd name="connsiteY9" fmla="*/ 4531711 h 6128401"/>
                  <a:gd name="connsiteX10" fmla="*/ 2860637 w 4477595"/>
                  <a:gd name="connsiteY10" fmla="*/ 4311091 h 6128401"/>
                  <a:gd name="connsiteX11" fmla="*/ 3109338 w 4477595"/>
                  <a:gd name="connsiteY11" fmla="*/ 3834987 h 6128401"/>
                  <a:gd name="connsiteX12" fmla="*/ 3110879 w 4477595"/>
                  <a:gd name="connsiteY12" fmla="*/ 3834037 h 6128401"/>
                  <a:gd name="connsiteX13" fmla="*/ 3181541 w 4477595"/>
                  <a:gd name="connsiteY13" fmla="*/ 3791109 h 6128401"/>
                  <a:gd name="connsiteX14" fmla="*/ 4056807 w 4477595"/>
                  <a:gd name="connsiteY14" fmla="*/ 2238797 h 6128401"/>
                  <a:gd name="connsiteX15" fmla="*/ 2238798 w 4477595"/>
                  <a:gd name="connsiteY15" fmla="*/ 420786 h 6128401"/>
                  <a:gd name="connsiteX16" fmla="*/ 2238797 w 4477595"/>
                  <a:gd name="connsiteY16" fmla="*/ 0 h 6128401"/>
                  <a:gd name="connsiteX17" fmla="*/ 4477595 w 4477595"/>
                  <a:gd name="connsiteY17" fmla="*/ 2238797 h 6128401"/>
                  <a:gd name="connsiteX18" fmla="*/ 3305941 w 4477595"/>
                  <a:gd name="connsiteY18" fmla="*/ 4207383 h 6128401"/>
                  <a:gd name="connsiteX19" fmla="*/ 3243251 w 4477595"/>
                  <a:gd name="connsiteY19" fmla="*/ 4439941 h 6128401"/>
                  <a:gd name="connsiteX20" fmla="*/ 3243251 w 4477595"/>
                  <a:gd name="connsiteY20" fmla="*/ 5318909 h 6128401"/>
                  <a:gd name="connsiteX21" fmla="*/ 2705531 w 4477595"/>
                  <a:gd name="connsiteY21" fmla="*/ 5880081 h 6128401"/>
                  <a:gd name="connsiteX22" fmla="*/ 2650833 w 4477595"/>
                  <a:gd name="connsiteY22" fmla="*/ 5880971 h 6128401"/>
                  <a:gd name="connsiteX23" fmla="*/ 2641784 w 4477595"/>
                  <a:gd name="connsiteY23" fmla="*/ 5910123 h 6128401"/>
                  <a:gd name="connsiteX24" fmla="*/ 2312476 w 4477595"/>
                  <a:gd name="connsiteY24" fmla="*/ 6128401 h 6128401"/>
                  <a:gd name="connsiteX25" fmla="*/ 2165118 w 4477595"/>
                  <a:gd name="connsiteY25" fmla="*/ 6128401 h 6128401"/>
                  <a:gd name="connsiteX26" fmla="*/ 1835810 w 4477595"/>
                  <a:gd name="connsiteY26" fmla="*/ 5910123 h 6128401"/>
                  <a:gd name="connsiteX27" fmla="*/ 1826975 w 4477595"/>
                  <a:gd name="connsiteY27" fmla="*/ 5881661 h 6128401"/>
                  <a:gd name="connsiteX28" fmla="*/ 1699568 w 4477595"/>
                  <a:gd name="connsiteY28" fmla="*/ 5881345 h 6128401"/>
                  <a:gd name="connsiteX29" fmla="*/ 1252464 w 4477595"/>
                  <a:gd name="connsiteY29" fmla="*/ 5306553 h 6128401"/>
                  <a:gd name="connsiteX30" fmla="*/ 1260702 w 4477595"/>
                  <a:gd name="connsiteY30" fmla="*/ 4439941 h 6128401"/>
                  <a:gd name="connsiteX31" fmla="*/ 1247395 w 4477595"/>
                  <a:gd name="connsiteY31" fmla="*/ 4251681 h 6128401"/>
                  <a:gd name="connsiteX32" fmla="*/ 1171654 w 4477595"/>
                  <a:gd name="connsiteY32" fmla="*/ 4207383 h 6128401"/>
                  <a:gd name="connsiteX33" fmla="*/ 0 w 4477595"/>
                  <a:gd name="connsiteY33" fmla="*/ 2238797 h 6128401"/>
                  <a:gd name="connsiteX34" fmla="*/ 2238797 w 4477595"/>
                  <a:gd name="connsiteY34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539568 w 4477595"/>
                  <a:gd name="connsiteY8" fmla="*/ 4531711 h 6128401"/>
                  <a:gd name="connsiteX9" fmla="*/ 2860637 w 4477595"/>
                  <a:gd name="connsiteY9" fmla="*/ 4311091 h 6128401"/>
                  <a:gd name="connsiteX10" fmla="*/ 3109338 w 4477595"/>
                  <a:gd name="connsiteY10" fmla="*/ 3834987 h 6128401"/>
                  <a:gd name="connsiteX11" fmla="*/ 3110879 w 4477595"/>
                  <a:gd name="connsiteY11" fmla="*/ 3834037 h 6128401"/>
                  <a:gd name="connsiteX12" fmla="*/ 3181541 w 4477595"/>
                  <a:gd name="connsiteY12" fmla="*/ 3791109 h 6128401"/>
                  <a:gd name="connsiteX13" fmla="*/ 4056807 w 4477595"/>
                  <a:gd name="connsiteY13" fmla="*/ 2238797 h 6128401"/>
                  <a:gd name="connsiteX14" fmla="*/ 2238798 w 4477595"/>
                  <a:gd name="connsiteY14" fmla="*/ 420786 h 6128401"/>
                  <a:gd name="connsiteX15" fmla="*/ 2238797 w 4477595"/>
                  <a:gd name="connsiteY15" fmla="*/ 0 h 6128401"/>
                  <a:gd name="connsiteX16" fmla="*/ 4477595 w 4477595"/>
                  <a:gd name="connsiteY16" fmla="*/ 2238797 h 6128401"/>
                  <a:gd name="connsiteX17" fmla="*/ 3305941 w 4477595"/>
                  <a:gd name="connsiteY17" fmla="*/ 4207383 h 6128401"/>
                  <a:gd name="connsiteX18" fmla="*/ 3243251 w 4477595"/>
                  <a:gd name="connsiteY18" fmla="*/ 4439941 h 6128401"/>
                  <a:gd name="connsiteX19" fmla="*/ 3243251 w 4477595"/>
                  <a:gd name="connsiteY19" fmla="*/ 5318909 h 6128401"/>
                  <a:gd name="connsiteX20" fmla="*/ 2705531 w 4477595"/>
                  <a:gd name="connsiteY20" fmla="*/ 5880081 h 6128401"/>
                  <a:gd name="connsiteX21" fmla="*/ 2650833 w 4477595"/>
                  <a:gd name="connsiteY21" fmla="*/ 5880971 h 6128401"/>
                  <a:gd name="connsiteX22" fmla="*/ 2641784 w 4477595"/>
                  <a:gd name="connsiteY22" fmla="*/ 5910123 h 6128401"/>
                  <a:gd name="connsiteX23" fmla="*/ 2312476 w 4477595"/>
                  <a:gd name="connsiteY23" fmla="*/ 6128401 h 6128401"/>
                  <a:gd name="connsiteX24" fmla="*/ 2165118 w 4477595"/>
                  <a:gd name="connsiteY24" fmla="*/ 6128401 h 6128401"/>
                  <a:gd name="connsiteX25" fmla="*/ 1835810 w 4477595"/>
                  <a:gd name="connsiteY25" fmla="*/ 5910123 h 6128401"/>
                  <a:gd name="connsiteX26" fmla="*/ 1826975 w 4477595"/>
                  <a:gd name="connsiteY26" fmla="*/ 5881661 h 6128401"/>
                  <a:gd name="connsiteX27" fmla="*/ 1699568 w 4477595"/>
                  <a:gd name="connsiteY27" fmla="*/ 5881345 h 6128401"/>
                  <a:gd name="connsiteX28" fmla="*/ 1252464 w 4477595"/>
                  <a:gd name="connsiteY28" fmla="*/ 5306553 h 6128401"/>
                  <a:gd name="connsiteX29" fmla="*/ 1260702 w 4477595"/>
                  <a:gd name="connsiteY29" fmla="*/ 4439941 h 6128401"/>
                  <a:gd name="connsiteX30" fmla="*/ 1247395 w 4477595"/>
                  <a:gd name="connsiteY30" fmla="*/ 4251681 h 6128401"/>
                  <a:gd name="connsiteX31" fmla="*/ 1171654 w 4477595"/>
                  <a:gd name="connsiteY31" fmla="*/ 4207383 h 6128401"/>
                  <a:gd name="connsiteX32" fmla="*/ 0 w 4477595"/>
                  <a:gd name="connsiteY32" fmla="*/ 2238797 h 6128401"/>
                  <a:gd name="connsiteX33" fmla="*/ 2238797 w 4477595"/>
                  <a:gd name="connsiteY33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539568 w 4477595"/>
                  <a:gd name="connsiteY7" fmla="*/ 4531711 h 6128401"/>
                  <a:gd name="connsiteX8" fmla="*/ 2860637 w 4477595"/>
                  <a:gd name="connsiteY8" fmla="*/ 4311091 h 6128401"/>
                  <a:gd name="connsiteX9" fmla="*/ 3109338 w 4477595"/>
                  <a:gd name="connsiteY9" fmla="*/ 3834987 h 6128401"/>
                  <a:gd name="connsiteX10" fmla="*/ 3110879 w 4477595"/>
                  <a:gd name="connsiteY10" fmla="*/ 3834037 h 6128401"/>
                  <a:gd name="connsiteX11" fmla="*/ 3181541 w 4477595"/>
                  <a:gd name="connsiteY11" fmla="*/ 3791109 h 6128401"/>
                  <a:gd name="connsiteX12" fmla="*/ 4056807 w 4477595"/>
                  <a:gd name="connsiteY12" fmla="*/ 2238797 h 6128401"/>
                  <a:gd name="connsiteX13" fmla="*/ 2238798 w 4477595"/>
                  <a:gd name="connsiteY13" fmla="*/ 420786 h 6128401"/>
                  <a:gd name="connsiteX14" fmla="*/ 2238797 w 4477595"/>
                  <a:gd name="connsiteY14" fmla="*/ 0 h 6128401"/>
                  <a:gd name="connsiteX15" fmla="*/ 4477595 w 4477595"/>
                  <a:gd name="connsiteY15" fmla="*/ 2238797 h 6128401"/>
                  <a:gd name="connsiteX16" fmla="*/ 3305941 w 4477595"/>
                  <a:gd name="connsiteY16" fmla="*/ 4207383 h 6128401"/>
                  <a:gd name="connsiteX17" fmla="*/ 3243251 w 4477595"/>
                  <a:gd name="connsiteY17" fmla="*/ 4439941 h 6128401"/>
                  <a:gd name="connsiteX18" fmla="*/ 3243251 w 4477595"/>
                  <a:gd name="connsiteY18" fmla="*/ 5318909 h 6128401"/>
                  <a:gd name="connsiteX19" fmla="*/ 2705531 w 4477595"/>
                  <a:gd name="connsiteY19" fmla="*/ 5880081 h 6128401"/>
                  <a:gd name="connsiteX20" fmla="*/ 2650833 w 4477595"/>
                  <a:gd name="connsiteY20" fmla="*/ 5880971 h 6128401"/>
                  <a:gd name="connsiteX21" fmla="*/ 2641784 w 4477595"/>
                  <a:gd name="connsiteY21" fmla="*/ 5910123 h 6128401"/>
                  <a:gd name="connsiteX22" fmla="*/ 2312476 w 4477595"/>
                  <a:gd name="connsiteY22" fmla="*/ 6128401 h 6128401"/>
                  <a:gd name="connsiteX23" fmla="*/ 2165118 w 4477595"/>
                  <a:gd name="connsiteY23" fmla="*/ 6128401 h 6128401"/>
                  <a:gd name="connsiteX24" fmla="*/ 1835810 w 4477595"/>
                  <a:gd name="connsiteY24" fmla="*/ 5910123 h 6128401"/>
                  <a:gd name="connsiteX25" fmla="*/ 1826975 w 4477595"/>
                  <a:gd name="connsiteY25" fmla="*/ 5881661 h 6128401"/>
                  <a:gd name="connsiteX26" fmla="*/ 1699568 w 4477595"/>
                  <a:gd name="connsiteY26" fmla="*/ 5881345 h 6128401"/>
                  <a:gd name="connsiteX27" fmla="*/ 1252464 w 4477595"/>
                  <a:gd name="connsiteY27" fmla="*/ 5306553 h 6128401"/>
                  <a:gd name="connsiteX28" fmla="*/ 1260702 w 4477595"/>
                  <a:gd name="connsiteY28" fmla="*/ 4439941 h 6128401"/>
                  <a:gd name="connsiteX29" fmla="*/ 1247395 w 4477595"/>
                  <a:gd name="connsiteY29" fmla="*/ 4251681 h 6128401"/>
                  <a:gd name="connsiteX30" fmla="*/ 1171654 w 4477595"/>
                  <a:gd name="connsiteY30" fmla="*/ 4207383 h 6128401"/>
                  <a:gd name="connsiteX31" fmla="*/ 0 w 4477595"/>
                  <a:gd name="connsiteY31" fmla="*/ 2238797 h 6128401"/>
                  <a:gd name="connsiteX32" fmla="*/ 2238797 w 4477595"/>
                  <a:gd name="connsiteY32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539568 w 4477595"/>
                  <a:gd name="connsiteY6" fmla="*/ 4531711 h 6128401"/>
                  <a:gd name="connsiteX7" fmla="*/ 2860637 w 4477595"/>
                  <a:gd name="connsiteY7" fmla="*/ 4311091 h 6128401"/>
                  <a:gd name="connsiteX8" fmla="*/ 3109338 w 4477595"/>
                  <a:gd name="connsiteY8" fmla="*/ 3834987 h 6128401"/>
                  <a:gd name="connsiteX9" fmla="*/ 3110879 w 4477595"/>
                  <a:gd name="connsiteY9" fmla="*/ 3834037 h 6128401"/>
                  <a:gd name="connsiteX10" fmla="*/ 3181541 w 4477595"/>
                  <a:gd name="connsiteY10" fmla="*/ 3791109 h 6128401"/>
                  <a:gd name="connsiteX11" fmla="*/ 4056807 w 4477595"/>
                  <a:gd name="connsiteY11" fmla="*/ 2238797 h 6128401"/>
                  <a:gd name="connsiteX12" fmla="*/ 2238798 w 4477595"/>
                  <a:gd name="connsiteY12" fmla="*/ 420786 h 6128401"/>
                  <a:gd name="connsiteX13" fmla="*/ 2238797 w 4477595"/>
                  <a:gd name="connsiteY13" fmla="*/ 0 h 6128401"/>
                  <a:gd name="connsiteX14" fmla="*/ 4477595 w 4477595"/>
                  <a:gd name="connsiteY14" fmla="*/ 2238797 h 6128401"/>
                  <a:gd name="connsiteX15" fmla="*/ 3305941 w 4477595"/>
                  <a:gd name="connsiteY15" fmla="*/ 4207383 h 6128401"/>
                  <a:gd name="connsiteX16" fmla="*/ 3243251 w 4477595"/>
                  <a:gd name="connsiteY16" fmla="*/ 4439941 h 6128401"/>
                  <a:gd name="connsiteX17" fmla="*/ 3243251 w 4477595"/>
                  <a:gd name="connsiteY17" fmla="*/ 5318909 h 6128401"/>
                  <a:gd name="connsiteX18" fmla="*/ 2705531 w 4477595"/>
                  <a:gd name="connsiteY18" fmla="*/ 5880081 h 6128401"/>
                  <a:gd name="connsiteX19" fmla="*/ 2650833 w 4477595"/>
                  <a:gd name="connsiteY19" fmla="*/ 5880971 h 6128401"/>
                  <a:gd name="connsiteX20" fmla="*/ 2641784 w 4477595"/>
                  <a:gd name="connsiteY20" fmla="*/ 5910123 h 6128401"/>
                  <a:gd name="connsiteX21" fmla="*/ 2312476 w 4477595"/>
                  <a:gd name="connsiteY21" fmla="*/ 6128401 h 6128401"/>
                  <a:gd name="connsiteX22" fmla="*/ 2165118 w 4477595"/>
                  <a:gd name="connsiteY22" fmla="*/ 6128401 h 6128401"/>
                  <a:gd name="connsiteX23" fmla="*/ 1835810 w 4477595"/>
                  <a:gd name="connsiteY23" fmla="*/ 5910123 h 6128401"/>
                  <a:gd name="connsiteX24" fmla="*/ 1826975 w 4477595"/>
                  <a:gd name="connsiteY24" fmla="*/ 5881661 h 6128401"/>
                  <a:gd name="connsiteX25" fmla="*/ 1699568 w 4477595"/>
                  <a:gd name="connsiteY25" fmla="*/ 5881345 h 6128401"/>
                  <a:gd name="connsiteX26" fmla="*/ 1252464 w 4477595"/>
                  <a:gd name="connsiteY26" fmla="*/ 5306553 h 6128401"/>
                  <a:gd name="connsiteX27" fmla="*/ 1260702 w 4477595"/>
                  <a:gd name="connsiteY27" fmla="*/ 4439941 h 6128401"/>
                  <a:gd name="connsiteX28" fmla="*/ 1247395 w 4477595"/>
                  <a:gd name="connsiteY28" fmla="*/ 4251681 h 6128401"/>
                  <a:gd name="connsiteX29" fmla="*/ 1171654 w 4477595"/>
                  <a:gd name="connsiteY29" fmla="*/ 4207383 h 6128401"/>
                  <a:gd name="connsiteX30" fmla="*/ 0 w 4477595"/>
                  <a:gd name="connsiteY30" fmla="*/ 2238797 h 6128401"/>
                  <a:gd name="connsiteX31" fmla="*/ 2238797 w 4477595"/>
                  <a:gd name="connsiteY31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539568 w 4477595"/>
                  <a:gd name="connsiteY5" fmla="*/ 4531711 h 6128401"/>
                  <a:gd name="connsiteX6" fmla="*/ 2860637 w 4477595"/>
                  <a:gd name="connsiteY6" fmla="*/ 4311091 h 6128401"/>
                  <a:gd name="connsiteX7" fmla="*/ 3109338 w 4477595"/>
                  <a:gd name="connsiteY7" fmla="*/ 3834987 h 6128401"/>
                  <a:gd name="connsiteX8" fmla="*/ 3110879 w 4477595"/>
                  <a:gd name="connsiteY8" fmla="*/ 3834037 h 6128401"/>
                  <a:gd name="connsiteX9" fmla="*/ 3181541 w 4477595"/>
                  <a:gd name="connsiteY9" fmla="*/ 3791109 h 6128401"/>
                  <a:gd name="connsiteX10" fmla="*/ 4056807 w 4477595"/>
                  <a:gd name="connsiteY10" fmla="*/ 2238797 h 6128401"/>
                  <a:gd name="connsiteX11" fmla="*/ 2238798 w 4477595"/>
                  <a:gd name="connsiteY11" fmla="*/ 420786 h 6128401"/>
                  <a:gd name="connsiteX12" fmla="*/ 2238797 w 4477595"/>
                  <a:gd name="connsiteY12" fmla="*/ 0 h 6128401"/>
                  <a:gd name="connsiteX13" fmla="*/ 4477595 w 4477595"/>
                  <a:gd name="connsiteY13" fmla="*/ 2238797 h 6128401"/>
                  <a:gd name="connsiteX14" fmla="*/ 3305941 w 4477595"/>
                  <a:gd name="connsiteY14" fmla="*/ 4207383 h 6128401"/>
                  <a:gd name="connsiteX15" fmla="*/ 3243251 w 4477595"/>
                  <a:gd name="connsiteY15" fmla="*/ 4439941 h 6128401"/>
                  <a:gd name="connsiteX16" fmla="*/ 3243251 w 4477595"/>
                  <a:gd name="connsiteY16" fmla="*/ 5318909 h 6128401"/>
                  <a:gd name="connsiteX17" fmla="*/ 2705531 w 4477595"/>
                  <a:gd name="connsiteY17" fmla="*/ 5880081 h 6128401"/>
                  <a:gd name="connsiteX18" fmla="*/ 2650833 w 4477595"/>
                  <a:gd name="connsiteY18" fmla="*/ 5880971 h 6128401"/>
                  <a:gd name="connsiteX19" fmla="*/ 2641784 w 4477595"/>
                  <a:gd name="connsiteY19" fmla="*/ 5910123 h 6128401"/>
                  <a:gd name="connsiteX20" fmla="*/ 2312476 w 4477595"/>
                  <a:gd name="connsiteY20" fmla="*/ 6128401 h 6128401"/>
                  <a:gd name="connsiteX21" fmla="*/ 2165118 w 4477595"/>
                  <a:gd name="connsiteY21" fmla="*/ 6128401 h 6128401"/>
                  <a:gd name="connsiteX22" fmla="*/ 1835810 w 4477595"/>
                  <a:gd name="connsiteY22" fmla="*/ 5910123 h 6128401"/>
                  <a:gd name="connsiteX23" fmla="*/ 1826975 w 4477595"/>
                  <a:gd name="connsiteY23" fmla="*/ 5881661 h 6128401"/>
                  <a:gd name="connsiteX24" fmla="*/ 1699568 w 4477595"/>
                  <a:gd name="connsiteY24" fmla="*/ 5881345 h 6128401"/>
                  <a:gd name="connsiteX25" fmla="*/ 1252464 w 4477595"/>
                  <a:gd name="connsiteY25" fmla="*/ 5306553 h 6128401"/>
                  <a:gd name="connsiteX26" fmla="*/ 1260702 w 4477595"/>
                  <a:gd name="connsiteY26" fmla="*/ 4439941 h 6128401"/>
                  <a:gd name="connsiteX27" fmla="*/ 1247395 w 4477595"/>
                  <a:gd name="connsiteY27" fmla="*/ 4251681 h 6128401"/>
                  <a:gd name="connsiteX28" fmla="*/ 1171654 w 4477595"/>
                  <a:gd name="connsiteY28" fmla="*/ 4207383 h 6128401"/>
                  <a:gd name="connsiteX29" fmla="*/ 0 w 4477595"/>
                  <a:gd name="connsiteY29" fmla="*/ 2238797 h 6128401"/>
                  <a:gd name="connsiteX30" fmla="*/ 2238797 w 4477595"/>
                  <a:gd name="connsiteY30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539568 w 4477595"/>
                  <a:gd name="connsiteY5" fmla="*/ 4531711 h 6128401"/>
                  <a:gd name="connsiteX6" fmla="*/ 2860637 w 4477595"/>
                  <a:gd name="connsiteY6" fmla="*/ 4311091 h 6128401"/>
                  <a:gd name="connsiteX7" fmla="*/ 3109338 w 4477595"/>
                  <a:gd name="connsiteY7" fmla="*/ 3834987 h 6128401"/>
                  <a:gd name="connsiteX8" fmla="*/ 3110879 w 4477595"/>
                  <a:gd name="connsiteY8" fmla="*/ 3834037 h 6128401"/>
                  <a:gd name="connsiteX9" fmla="*/ 3181541 w 4477595"/>
                  <a:gd name="connsiteY9" fmla="*/ 3791109 h 6128401"/>
                  <a:gd name="connsiteX10" fmla="*/ 4056807 w 4477595"/>
                  <a:gd name="connsiteY10" fmla="*/ 2238797 h 6128401"/>
                  <a:gd name="connsiteX11" fmla="*/ 2238798 w 4477595"/>
                  <a:gd name="connsiteY11" fmla="*/ 420786 h 6128401"/>
                  <a:gd name="connsiteX12" fmla="*/ 2238797 w 4477595"/>
                  <a:gd name="connsiteY12" fmla="*/ 0 h 6128401"/>
                  <a:gd name="connsiteX13" fmla="*/ 4477595 w 4477595"/>
                  <a:gd name="connsiteY13" fmla="*/ 2238797 h 6128401"/>
                  <a:gd name="connsiteX14" fmla="*/ 3305941 w 4477595"/>
                  <a:gd name="connsiteY14" fmla="*/ 4207383 h 6128401"/>
                  <a:gd name="connsiteX15" fmla="*/ 3243251 w 4477595"/>
                  <a:gd name="connsiteY15" fmla="*/ 4439941 h 6128401"/>
                  <a:gd name="connsiteX16" fmla="*/ 3243251 w 4477595"/>
                  <a:gd name="connsiteY16" fmla="*/ 5318909 h 6128401"/>
                  <a:gd name="connsiteX17" fmla="*/ 2705531 w 4477595"/>
                  <a:gd name="connsiteY17" fmla="*/ 5880081 h 6128401"/>
                  <a:gd name="connsiteX18" fmla="*/ 2650833 w 4477595"/>
                  <a:gd name="connsiteY18" fmla="*/ 5880971 h 6128401"/>
                  <a:gd name="connsiteX19" fmla="*/ 2641784 w 4477595"/>
                  <a:gd name="connsiteY19" fmla="*/ 5910123 h 6128401"/>
                  <a:gd name="connsiteX20" fmla="*/ 2312476 w 4477595"/>
                  <a:gd name="connsiteY20" fmla="*/ 6128401 h 6128401"/>
                  <a:gd name="connsiteX21" fmla="*/ 2165118 w 4477595"/>
                  <a:gd name="connsiteY21" fmla="*/ 6128401 h 6128401"/>
                  <a:gd name="connsiteX22" fmla="*/ 1835810 w 4477595"/>
                  <a:gd name="connsiteY22" fmla="*/ 5910123 h 6128401"/>
                  <a:gd name="connsiteX23" fmla="*/ 1826975 w 4477595"/>
                  <a:gd name="connsiteY23" fmla="*/ 5881661 h 6128401"/>
                  <a:gd name="connsiteX24" fmla="*/ 1699568 w 4477595"/>
                  <a:gd name="connsiteY24" fmla="*/ 5881345 h 6128401"/>
                  <a:gd name="connsiteX25" fmla="*/ 1252464 w 4477595"/>
                  <a:gd name="connsiteY25" fmla="*/ 5306553 h 6128401"/>
                  <a:gd name="connsiteX26" fmla="*/ 1260702 w 4477595"/>
                  <a:gd name="connsiteY26" fmla="*/ 4439941 h 6128401"/>
                  <a:gd name="connsiteX27" fmla="*/ 1247395 w 4477595"/>
                  <a:gd name="connsiteY27" fmla="*/ 4251681 h 6128401"/>
                  <a:gd name="connsiteX28" fmla="*/ 1171654 w 4477595"/>
                  <a:gd name="connsiteY28" fmla="*/ 4207383 h 6128401"/>
                  <a:gd name="connsiteX29" fmla="*/ 0 w 4477595"/>
                  <a:gd name="connsiteY29" fmla="*/ 2238797 h 6128401"/>
                  <a:gd name="connsiteX30" fmla="*/ 2238797 w 4477595"/>
                  <a:gd name="connsiteY30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27594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539568 w 4477595"/>
                  <a:gd name="connsiteY5" fmla="*/ 4531711 h 6128401"/>
                  <a:gd name="connsiteX6" fmla="*/ 2860637 w 4477595"/>
                  <a:gd name="connsiteY6" fmla="*/ 4311091 h 6128401"/>
                  <a:gd name="connsiteX7" fmla="*/ 3109338 w 4477595"/>
                  <a:gd name="connsiteY7" fmla="*/ 3834987 h 6128401"/>
                  <a:gd name="connsiteX8" fmla="*/ 3110879 w 4477595"/>
                  <a:gd name="connsiteY8" fmla="*/ 3834037 h 6128401"/>
                  <a:gd name="connsiteX9" fmla="*/ 3181541 w 4477595"/>
                  <a:gd name="connsiteY9" fmla="*/ 3791109 h 6128401"/>
                  <a:gd name="connsiteX10" fmla="*/ 4056807 w 4477595"/>
                  <a:gd name="connsiteY10" fmla="*/ 2238797 h 6128401"/>
                  <a:gd name="connsiteX11" fmla="*/ 2238798 w 4477595"/>
                  <a:gd name="connsiteY11" fmla="*/ 420786 h 6128401"/>
                  <a:gd name="connsiteX12" fmla="*/ 2238797 w 4477595"/>
                  <a:gd name="connsiteY12" fmla="*/ 0 h 6128401"/>
                  <a:gd name="connsiteX13" fmla="*/ 4477595 w 4477595"/>
                  <a:gd name="connsiteY13" fmla="*/ 2238797 h 6128401"/>
                  <a:gd name="connsiteX14" fmla="*/ 3305941 w 4477595"/>
                  <a:gd name="connsiteY14" fmla="*/ 4207383 h 6128401"/>
                  <a:gd name="connsiteX15" fmla="*/ 3243251 w 4477595"/>
                  <a:gd name="connsiteY15" fmla="*/ 4439941 h 6128401"/>
                  <a:gd name="connsiteX16" fmla="*/ 3243251 w 4477595"/>
                  <a:gd name="connsiteY16" fmla="*/ 5318909 h 6128401"/>
                  <a:gd name="connsiteX17" fmla="*/ 2705531 w 4477595"/>
                  <a:gd name="connsiteY17" fmla="*/ 5880081 h 6128401"/>
                  <a:gd name="connsiteX18" fmla="*/ 2650833 w 4477595"/>
                  <a:gd name="connsiteY18" fmla="*/ 5880971 h 6128401"/>
                  <a:gd name="connsiteX19" fmla="*/ 2641784 w 4477595"/>
                  <a:gd name="connsiteY19" fmla="*/ 5910123 h 6128401"/>
                  <a:gd name="connsiteX20" fmla="*/ 2312476 w 4477595"/>
                  <a:gd name="connsiteY20" fmla="*/ 6128401 h 6128401"/>
                  <a:gd name="connsiteX21" fmla="*/ 2165118 w 4477595"/>
                  <a:gd name="connsiteY21" fmla="*/ 6128401 h 6128401"/>
                  <a:gd name="connsiteX22" fmla="*/ 1835810 w 4477595"/>
                  <a:gd name="connsiteY22" fmla="*/ 5910123 h 6128401"/>
                  <a:gd name="connsiteX23" fmla="*/ 1826975 w 4477595"/>
                  <a:gd name="connsiteY23" fmla="*/ 5881661 h 6128401"/>
                  <a:gd name="connsiteX24" fmla="*/ 1699568 w 4477595"/>
                  <a:gd name="connsiteY24" fmla="*/ 5881345 h 6128401"/>
                  <a:gd name="connsiteX25" fmla="*/ 1252464 w 4477595"/>
                  <a:gd name="connsiteY25" fmla="*/ 5306553 h 6128401"/>
                  <a:gd name="connsiteX26" fmla="*/ 1260702 w 4477595"/>
                  <a:gd name="connsiteY26" fmla="*/ 4439941 h 6128401"/>
                  <a:gd name="connsiteX27" fmla="*/ 1247395 w 4477595"/>
                  <a:gd name="connsiteY27" fmla="*/ 4251681 h 6128401"/>
                  <a:gd name="connsiteX28" fmla="*/ 1171654 w 4477595"/>
                  <a:gd name="connsiteY28" fmla="*/ 4207383 h 6128401"/>
                  <a:gd name="connsiteX29" fmla="*/ 0 w 4477595"/>
                  <a:gd name="connsiteY29" fmla="*/ 2238797 h 6128401"/>
                  <a:gd name="connsiteX30" fmla="*/ 2238797 w 4477595"/>
                  <a:gd name="connsiteY30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27594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539568 w 4477595"/>
                  <a:gd name="connsiteY5" fmla="*/ 4531711 h 6128401"/>
                  <a:gd name="connsiteX6" fmla="*/ 2860637 w 4477595"/>
                  <a:gd name="connsiteY6" fmla="*/ 4311091 h 6128401"/>
                  <a:gd name="connsiteX7" fmla="*/ 3109338 w 4477595"/>
                  <a:gd name="connsiteY7" fmla="*/ 3834987 h 6128401"/>
                  <a:gd name="connsiteX8" fmla="*/ 3110879 w 4477595"/>
                  <a:gd name="connsiteY8" fmla="*/ 3834037 h 6128401"/>
                  <a:gd name="connsiteX9" fmla="*/ 3181541 w 4477595"/>
                  <a:gd name="connsiteY9" fmla="*/ 3791109 h 6128401"/>
                  <a:gd name="connsiteX10" fmla="*/ 4056807 w 4477595"/>
                  <a:gd name="connsiteY10" fmla="*/ 2238797 h 6128401"/>
                  <a:gd name="connsiteX11" fmla="*/ 2238798 w 4477595"/>
                  <a:gd name="connsiteY11" fmla="*/ 420786 h 6128401"/>
                  <a:gd name="connsiteX12" fmla="*/ 2238797 w 4477595"/>
                  <a:gd name="connsiteY12" fmla="*/ 0 h 6128401"/>
                  <a:gd name="connsiteX13" fmla="*/ 4477595 w 4477595"/>
                  <a:gd name="connsiteY13" fmla="*/ 2238797 h 6128401"/>
                  <a:gd name="connsiteX14" fmla="*/ 3305941 w 4477595"/>
                  <a:gd name="connsiteY14" fmla="*/ 4207383 h 6128401"/>
                  <a:gd name="connsiteX15" fmla="*/ 3243251 w 4477595"/>
                  <a:gd name="connsiteY15" fmla="*/ 4439941 h 6128401"/>
                  <a:gd name="connsiteX16" fmla="*/ 3243251 w 4477595"/>
                  <a:gd name="connsiteY16" fmla="*/ 5318909 h 6128401"/>
                  <a:gd name="connsiteX17" fmla="*/ 2705531 w 4477595"/>
                  <a:gd name="connsiteY17" fmla="*/ 5880081 h 6128401"/>
                  <a:gd name="connsiteX18" fmla="*/ 2650833 w 4477595"/>
                  <a:gd name="connsiteY18" fmla="*/ 5880971 h 6128401"/>
                  <a:gd name="connsiteX19" fmla="*/ 2641784 w 4477595"/>
                  <a:gd name="connsiteY19" fmla="*/ 5910123 h 6128401"/>
                  <a:gd name="connsiteX20" fmla="*/ 2312476 w 4477595"/>
                  <a:gd name="connsiteY20" fmla="*/ 6128401 h 6128401"/>
                  <a:gd name="connsiteX21" fmla="*/ 2165118 w 4477595"/>
                  <a:gd name="connsiteY21" fmla="*/ 6128401 h 6128401"/>
                  <a:gd name="connsiteX22" fmla="*/ 1835810 w 4477595"/>
                  <a:gd name="connsiteY22" fmla="*/ 5910123 h 6128401"/>
                  <a:gd name="connsiteX23" fmla="*/ 1826975 w 4477595"/>
                  <a:gd name="connsiteY23" fmla="*/ 5881661 h 6128401"/>
                  <a:gd name="connsiteX24" fmla="*/ 1699568 w 4477595"/>
                  <a:gd name="connsiteY24" fmla="*/ 5881345 h 6128401"/>
                  <a:gd name="connsiteX25" fmla="*/ 1252464 w 4477595"/>
                  <a:gd name="connsiteY25" fmla="*/ 5306553 h 6128401"/>
                  <a:gd name="connsiteX26" fmla="*/ 1260702 w 4477595"/>
                  <a:gd name="connsiteY26" fmla="*/ 4439941 h 6128401"/>
                  <a:gd name="connsiteX27" fmla="*/ 1247395 w 4477595"/>
                  <a:gd name="connsiteY27" fmla="*/ 4251681 h 6128401"/>
                  <a:gd name="connsiteX28" fmla="*/ 1171654 w 4477595"/>
                  <a:gd name="connsiteY28" fmla="*/ 4207383 h 6128401"/>
                  <a:gd name="connsiteX29" fmla="*/ 0 w 4477595"/>
                  <a:gd name="connsiteY29" fmla="*/ 2238797 h 6128401"/>
                  <a:gd name="connsiteX30" fmla="*/ 2238797 w 4477595"/>
                  <a:gd name="connsiteY30" fmla="*/ 0 h 6128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4477595" h="6128401">
                    <a:moveTo>
                      <a:pt x="2238798" y="420786"/>
                    </a:moveTo>
                    <a:cubicBezTo>
                      <a:pt x="1234738" y="420786"/>
                      <a:pt x="420787" y="1234737"/>
                      <a:pt x="420787" y="2238797"/>
                    </a:cubicBezTo>
                    <a:cubicBezTo>
                      <a:pt x="423730" y="2352803"/>
                      <a:pt x="351911" y="3087911"/>
                      <a:pt x="1223247" y="3754007"/>
                    </a:cubicBezTo>
                    <a:cubicBezTo>
                      <a:pt x="1717667" y="4011636"/>
                      <a:pt x="1619902" y="4226675"/>
                      <a:pt x="1627594" y="4311091"/>
                    </a:cubicBezTo>
                    <a:cubicBezTo>
                      <a:pt x="1617757" y="4418123"/>
                      <a:pt x="1705319" y="4534189"/>
                      <a:pt x="1936940" y="4531711"/>
                    </a:cubicBezTo>
                    <a:lnTo>
                      <a:pt x="2539568" y="4531711"/>
                    </a:lnTo>
                    <a:cubicBezTo>
                      <a:pt x="2771189" y="4534189"/>
                      <a:pt x="2870474" y="4418123"/>
                      <a:pt x="2860637" y="4311091"/>
                    </a:cubicBezTo>
                    <a:cubicBezTo>
                      <a:pt x="2867368" y="4237227"/>
                      <a:pt x="2823275" y="4027453"/>
                      <a:pt x="3109338" y="3834987"/>
                    </a:cubicBezTo>
                    <a:lnTo>
                      <a:pt x="3110879" y="3834037"/>
                    </a:lnTo>
                    <a:lnTo>
                      <a:pt x="3181541" y="3791109"/>
                    </a:lnTo>
                    <a:cubicBezTo>
                      <a:pt x="3939122" y="3371438"/>
                      <a:pt x="4058350" y="2583705"/>
                      <a:pt x="4056807" y="2238797"/>
                    </a:cubicBezTo>
                    <a:cubicBezTo>
                      <a:pt x="4056807" y="1234737"/>
                      <a:pt x="3242858" y="420786"/>
                      <a:pt x="2238798" y="420786"/>
                    </a:cubicBezTo>
                    <a:close/>
                    <a:moveTo>
                      <a:pt x="2238797" y="0"/>
                    </a:moveTo>
                    <a:cubicBezTo>
                      <a:pt x="3475250" y="0"/>
                      <a:pt x="4477595" y="1002344"/>
                      <a:pt x="4477595" y="2238797"/>
                    </a:cubicBezTo>
                    <a:cubicBezTo>
                      <a:pt x="4477595" y="3088857"/>
                      <a:pt x="4003830" y="3828265"/>
                      <a:pt x="3305941" y="4207383"/>
                    </a:cubicBezTo>
                    <a:cubicBezTo>
                      <a:pt x="3307381" y="4222369"/>
                      <a:pt x="3228811" y="4212497"/>
                      <a:pt x="3243251" y="4439941"/>
                    </a:cubicBezTo>
                    <a:lnTo>
                      <a:pt x="3243251" y="5318909"/>
                    </a:lnTo>
                    <a:cubicBezTo>
                      <a:pt x="3259726" y="5591157"/>
                      <a:pt x="3093445" y="5886389"/>
                      <a:pt x="2705531" y="5880081"/>
                    </a:cubicBezTo>
                    <a:lnTo>
                      <a:pt x="2650833" y="5880971"/>
                    </a:lnTo>
                    <a:lnTo>
                      <a:pt x="2641784" y="5910123"/>
                    </a:lnTo>
                    <a:cubicBezTo>
                      <a:pt x="2587529" y="6038395"/>
                      <a:pt x="2460513" y="6128401"/>
                      <a:pt x="2312476" y="6128401"/>
                    </a:cubicBezTo>
                    <a:lnTo>
                      <a:pt x="2165118" y="6128401"/>
                    </a:lnTo>
                    <a:cubicBezTo>
                      <a:pt x="2017081" y="6128401"/>
                      <a:pt x="1890065" y="6038395"/>
                      <a:pt x="1835810" y="5910123"/>
                    </a:cubicBezTo>
                    <a:lnTo>
                      <a:pt x="1826975" y="5881661"/>
                    </a:lnTo>
                    <a:lnTo>
                      <a:pt x="1699568" y="5881345"/>
                    </a:lnTo>
                    <a:cubicBezTo>
                      <a:pt x="1373774" y="5889581"/>
                      <a:pt x="1241446" y="5564849"/>
                      <a:pt x="1252464" y="5306553"/>
                    </a:cubicBezTo>
                    <a:lnTo>
                      <a:pt x="1260702" y="4439941"/>
                    </a:lnTo>
                    <a:cubicBezTo>
                      <a:pt x="1260702" y="4367661"/>
                      <a:pt x="1281375" y="4321187"/>
                      <a:pt x="1247395" y="4251681"/>
                    </a:cubicBezTo>
                    <a:lnTo>
                      <a:pt x="1171654" y="4207383"/>
                    </a:lnTo>
                    <a:cubicBezTo>
                      <a:pt x="473764" y="3828265"/>
                      <a:pt x="0" y="3088857"/>
                      <a:pt x="0" y="2238797"/>
                    </a:cubicBezTo>
                    <a:cubicBezTo>
                      <a:pt x="0" y="1002344"/>
                      <a:pt x="1002344" y="0"/>
                      <a:pt x="2238797" y="0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519970">
                  <a:defRPr/>
                </a:pPr>
                <a:r>
                  <a:rPr lang="en-US" sz="1842" kern="0">
                    <a:solidFill>
                      <a:prstClr val="white"/>
                    </a:solidFill>
                    <a:latin typeface="Calibri"/>
                  </a:rPr>
                  <a:t>  </a:t>
                </a:r>
              </a:p>
            </p:txBody>
          </p:sp>
          <p:grpSp>
            <p:nvGrpSpPr>
              <p:cNvPr id="569" name="Group 206"/>
              <p:cNvGrpSpPr/>
              <p:nvPr/>
            </p:nvGrpSpPr>
            <p:grpSpPr>
              <a:xfrm>
                <a:off x="11961036" y="15547980"/>
                <a:ext cx="6135815" cy="3060371"/>
                <a:chOff x="11961036" y="15547980"/>
                <a:chExt cx="6135815" cy="3060371"/>
              </a:xfrm>
              <a:grpFill/>
            </p:grpSpPr>
            <p:sp>
              <p:nvSpPr>
                <p:cNvPr id="570" name="Rounded Rectangle 207"/>
                <p:cNvSpPr/>
                <p:nvPr/>
              </p:nvSpPr>
              <p:spPr>
                <a:xfrm rot="16200000" flipH="1">
                  <a:off x="12119095" y="16790050"/>
                  <a:ext cx="271696" cy="587813"/>
                </a:xfrm>
                <a:prstGeom prst="roundRect">
                  <a:avLst>
                    <a:gd name="adj" fmla="val 46875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519970">
                    <a:defRPr/>
                  </a:pPr>
                  <a:endParaRPr lang="en-US" sz="1842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571" name="Rounded Rectangle 208"/>
                <p:cNvSpPr/>
                <p:nvPr/>
              </p:nvSpPr>
              <p:spPr>
                <a:xfrm rot="17791932" flipH="1">
                  <a:off x="12487809" y="15407565"/>
                  <a:ext cx="271696" cy="587813"/>
                </a:xfrm>
                <a:prstGeom prst="roundRect">
                  <a:avLst>
                    <a:gd name="adj" fmla="val 46875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519970">
                    <a:defRPr/>
                  </a:pPr>
                  <a:endParaRPr lang="en-US" sz="1842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572" name="Rounded Rectangle 209"/>
                <p:cNvSpPr/>
                <p:nvPr/>
              </p:nvSpPr>
              <p:spPr>
                <a:xfrm rot="3328556" flipH="1">
                  <a:off x="17277054" y="15389921"/>
                  <a:ext cx="271696" cy="587813"/>
                </a:xfrm>
                <a:prstGeom prst="roundRect">
                  <a:avLst>
                    <a:gd name="adj" fmla="val 46875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519970">
                    <a:defRPr/>
                  </a:pPr>
                  <a:endParaRPr lang="en-US" sz="1842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573" name="Rounded Rectangle 210"/>
                <p:cNvSpPr/>
                <p:nvPr/>
              </p:nvSpPr>
              <p:spPr>
                <a:xfrm rot="5578962" flipH="1">
                  <a:off x="17667097" y="16790050"/>
                  <a:ext cx="271696" cy="587813"/>
                </a:xfrm>
                <a:prstGeom prst="roundRect">
                  <a:avLst>
                    <a:gd name="adj" fmla="val 46875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519970">
                    <a:defRPr/>
                  </a:pPr>
                  <a:endParaRPr lang="en-US" sz="1842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574" name="Rounded Rectangle 211"/>
                <p:cNvSpPr/>
                <p:nvPr/>
              </p:nvSpPr>
              <p:spPr>
                <a:xfrm rot="7381646" flipH="1">
                  <a:off x="17287055" y="18178596"/>
                  <a:ext cx="271696" cy="587813"/>
                </a:xfrm>
                <a:prstGeom prst="roundRect">
                  <a:avLst>
                    <a:gd name="adj" fmla="val 46875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519970">
                    <a:defRPr/>
                  </a:pPr>
                  <a:endParaRPr lang="en-US" sz="1842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575" name="Rounded Rectangle 212"/>
                <p:cNvSpPr/>
                <p:nvPr/>
              </p:nvSpPr>
              <p:spPr>
                <a:xfrm rot="14497153" flipH="1">
                  <a:off x="12487809" y="18178594"/>
                  <a:ext cx="271696" cy="587813"/>
                </a:xfrm>
                <a:prstGeom prst="roundRect">
                  <a:avLst>
                    <a:gd name="adj" fmla="val 46875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519970">
                    <a:defRPr/>
                  </a:pPr>
                  <a:endParaRPr lang="en-US" sz="1842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</p:grpSp>
        </p:grpSp>
      </p:grp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7CCF248-FA51-4868-B03B-20A875196B2F}"/>
              </a:ext>
            </a:extLst>
          </p:cNvPr>
          <p:cNvCxnSpPr>
            <a:cxnSpLocks/>
          </p:cNvCxnSpPr>
          <p:nvPr/>
        </p:nvCxnSpPr>
        <p:spPr>
          <a:xfrm>
            <a:off x="8663908" y="4501192"/>
            <a:ext cx="0" cy="1732391"/>
          </a:xfrm>
          <a:prstGeom prst="line">
            <a:avLst/>
          </a:prstGeom>
          <a:ln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4" name="Rectangle 373">
            <a:extLst>
              <a:ext uri="{FF2B5EF4-FFF2-40B4-BE49-F238E27FC236}">
                <a16:creationId xmlns:a16="http://schemas.microsoft.com/office/drawing/2014/main" id="{B6BB4AB2-435E-4F51-B8E8-501296A583F0}"/>
              </a:ext>
            </a:extLst>
          </p:cNvPr>
          <p:cNvSpPr/>
          <p:nvPr/>
        </p:nvSpPr>
        <p:spPr>
          <a:xfrm>
            <a:off x="8437882" y="6368192"/>
            <a:ext cx="463588" cy="2120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27"/>
            <a:r>
              <a:rPr lang="en-US" sz="778" i="1">
                <a:solidFill>
                  <a:prstClr val="white">
                    <a:lumMod val="50000"/>
                  </a:prstClr>
                </a:solidFill>
                <a:latin typeface="Arial"/>
                <a:cs typeface="Arial" panose="020B0604020202020204" pitchFamily="34" charset="0"/>
              </a:rPr>
              <a:t>Today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9A5CE73-02A9-434F-A10E-E693C9DCEE33}"/>
              </a:ext>
            </a:extLst>
          </p:cNvPr>
          <p:cNvGrpSpPr/>
          <p:nvPr/>
        </p:nvGrpSpPr>
        <p:grpSpPr>
          <a:xfrm>
            <a:off x="203515" y="1144822"/>
            <a:ext cx="3182519" cy="709656"/>
            <a:chOff x="139137" y="1030340"/>
            <a:chExt cx="2864267" cy="638690"/>
          </a:xfrm>
        </p:grpSpPr>
        <p:sp>
          <p:nvSpPr>
            <p:cNvPr id="23" name="Round Same Side Corner Rectangle 22"/>
            <p:cNvSpPr/>
            <p:nvPr/>
          </p:nvSpPr>
          <p:spPr>
            <a:xfrm>
              <a:off x="139137" y="1030340"/>
              <a:ext cx="2864267" cy="298244"/>
            </a:xfrm>
            <a:prstGeom prst="round2SameRect">
              <a:avLst/>
            </a:prstGeom>
            <a:gradFill flip="none" rotWithShape="1">
              <a:gsLst>
                <a:gs pos="0">
                  <a:schemeClr val="tx2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8900000" scaled="1"/>
              <a:tileRect/>
            </a:gradFill>
          </p:spPr>
          <p:txBody>
            <a:bodyPr wrap="square" lIns="121920" tIns="0" bIns="60960" anchor="ctr">
              <a:noAutofit/>
            </a:bodyPr>
            <a:lstStyle/>
            <a:p>
              <a:pPr algn="ctr" defTabSz="1058286"/>
              <a:r>
                <a:rPr lang="en-US" sz="1400" b="1">
                  <a:solidFill>
                    <a:prstClr val="white"/>
                  </a:solidFill>
                  <a:latin typeface="Arial"/>
                  <a:cs typeface="DIN Next LT Arabic"/>
                </a:rPr>
                <a:t>Project Manager</a:t>
              </a:r>
            </a:p>
          </p:txBody>
        </p:sp>
        <p:sp>
          <p:nvSpPr>
            <p:cNvPr id="381" name="Rectangle 380">
              <a:extLst>
                <a:ext uri="{FF2B5EF4-FFF2-40B4-BE49-F238E27FC236}">
                  <a16:creationId xmlns:a16="http://schemas.microsoft.com/office/drawing/2014/main" id="{7D779BF8-3B5C-4B82-98FC-7644DB10E2C1}"/>
                </a:ext>
              </a:extLst>
            </p:cNvPr>
            <p:cNvSpPr/>
            <p:nvPr/>
          </p:nvSpPr>
          <p:spPr>
            <a:xfrm>
              <a:off x="139137" y="1306150"/>
              <a:ext cx="2864267" cy="3628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algn="ctr"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92" name="Rectangle 391">
              <a:extLst>
                <a:ext uri="{FF2B5EF4-FFF2-40B4-BE49-F238E27FC236}">
                  <a16:creationId xmlns:a16="http://schemas.microsoft.com/office/drawing/2014/main" id="{80FC6DC5-4FE4-4476-ABEF-A97BB110834C}"/>
                </a:ext>
              </a:extLst>
            </p:cNvPr>
            <p:cNvSpPr/>
            <p:nvPr/>
          </p:nvSpPr>
          <p:spPr>
            <a:xfrm>
              <a:off x="169029" y="1367714"/>
              <a:ext cx="2712040" cy="25235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pt-BR" sz="1222" b="1" dirty="0"/>
                <a:t>Saad Abunnab</a:t>
              </a:r>
              <a:endParaRPr lang="en-US" sz="1222" b="1" dirty="0"/>
            </a:p>
          </p:txBody>
        </p:sp>
      </p:grpSp>
      <p:grpSp>
        <p:nvGrpSpPr>
          <p:cNvPr id="393" name="Group 392">
            <a:extLst>
              <a:ext uri="{FF2B5EF4-FFF2-40B4-BE49-F238E27FC236}">
                <a16:creationId xmlns:a16="http://schemas.microsoft.com/office/drawing/2014/main" id="{B8D3427F-F685-4F6F-AAFC-5B0EAD38E18B}"/>
              </a:ext>
            </a:extLst>
          </p:cNvPr>
          <p:cNvGrpSpPr/>
          <p:nvPr/>
        </p:nvGrpSpPr>
        <p:grpSpPr>
          <a:xfrm>
            <a:off x="3945521" y="1144821"/>
            <a:ext cx="3182519" cy="709655"/>
            <a:chOff x="139137" y="1030340"/>
            <a:chExt cx="2864267" cy="638690"/>
          </a:xfrm>
        </p:grpSpPr>
        <p:sp>
          <p:nvSpPr>
            <p:cNvPr id="394" name="Round Same Side Corner Rectangle 22">
              <a:extLst>
                <a:ext uri="{FF2B5EF4-FFF2-40B4-BE49-F238E27FC236}">
                  <a16:creationId xmlns:a16="http://schemas.microsoft.com/office/drawing/2014/main" id="{54AA7BCD-3F0B-48E2-A6C2-28238D50BAF6}"/>
                </a:ext>
              </a:extLst>
            </p:cNvPr>
            <p:cNvSpPr/>
            <p:nvPr/>
          </p:nvSpPr>
          <p:spPr>
            <a:xfrm>
              <a:off x="139137" y="1030340"/>
              <a:ext cx="2864267" cy="298244"/>
            </a:xfrm>
            <a:prstGeom prst="round2SameRect">
              <a:avLst/>
            </a:prstGeom>
            <a:gradFill flip="none" rotWithShape="1">
              <a:gsLst>
                <a:gs pos="0">
                  <a:schemeClr val="tx2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8900000" scaled="1"/>
              <a:tileRect/>
            </a:gradFill>
          </p:spPr>
          <p:txBody>
            <a:bodyPr wrap="square" lIns="121920" tIns="0" bIns="60960" anchor="ctr">
              <a:noAutofit/>
            </a:bodyPr>
            <a:lstStyle/>
            <a:p>
              <a:pPr algn="ctr" defTabSz="1058286"/>
              <a:r>
                <a:rPr lang="en-US" sz="1400" b="1">
                  <a:solidFill>
                    <a:prstClr val="white"/>
                  </a:solidFill>
                  <a:latin typeface="Arial"/>
                  <a:cs typeface="DIN Next LT Arabic"/>
                </a:rPr>
                <a:t>Sponsor</a:t>
              </a:r>
            </a:p>
          </p:txBody>
        </p:sp>
        <p:sp>
          <p:nvSpPr>
            <p:cNvPr id="395" name="Rectangle 394">
              <a:extLst>
                <a:ext uri="{FF2B5EF4-FFF2-40B4-BE49-F238E27FC236}">
                  <a16:creationId xmlns:a16="http://schemas.microsoft.com/office/drawing/2014/main" id="{4060BCD0-1A60-4A53-8D45-148EB7FFF52D}"/>
                </a:ext>
              </a:extLst>
            </p:cNvPr>
            <p:cNvSpPr/>
            <p:nvPr/>
          </p:nvSpPr>
          <p:spPr>
            <a:xfrm>
              <a:off x="139137" y="1306150"/>
              <a:ext cx="2864267" cy="3628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algn="ctr"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96" name="Rectangle 395">
              <a:extLst>
                <a:ext uri="{FF2B5EF4-FFF2-40B4-BE49-F238E27FC236}">
                  <a16:creationId xmlns:a16="http://schemas.microsoft.com/office/drawing/2014/main" id="{E83DC2C4-A45D-47D3-B1E0-3C1FF243D9B8}"/>
                </a:ext>
              </a:extLst>
            </p:cNvPr>
            <p:cNvSpPr/>
            <p:nvPr/>
          </p:nvSpPr>
          <p:spPr>
            <a:xfrm>
              <a:off x="169029" y="1367714"/>
              <a:ext cx="2712040" cy="25235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22" b="1" dirty="0"/>
                <a:t>Shahbaz Haque</a:t>
              </a:r>
            </a:p>
          </p:txBody>
        </p:sp>
      </p:grpSp>
      <p:grpSp>
        <p:nvGrpSpPr>
          <p:cNvPr id="397" name="Group 396">
            <a:extLst>
              <a:ext uri="{FF2B5EF4-FFF2-40B4-BE49-F238E27FC236}">
                <a16:creationId xmlns:a16="http://schemas.microsoft.com/office/drawing/2014/main" id="{C733F652-2C64-42E0-9D60-E5666F31750A}"/>
              </a:ext>
            </a:extLst>
          </p:cNvPr>
          <p:cNvGrpSpPr/>
          <p:nvPr/>
        </p:nvGrpSpPr>
        <p:grpSpPr>
          <a:xfrm>
            <a:off x="9968164" y="2012377"/>
            <a:ext cx="1858458" cy="233709"/>
            <a:chOff x="2611840" y="2749252"/>
            <a:chExt cx="5845536" cy="244617"/>
          </a:xfrm>
        </p:grpSpPr>
        <p:sp>
          <p:nvSpPr>
            <p:cNvPr id="398" name="Rounded Rectangle 385">
              <a:extLst>
                <a:ext uri="{FF2B5EF4-FFF2-40B4-BE49-F238E27FC236}">
                  <a16:creationId xmlns:a16="http://schemas.microsoft.com/office/drawing/2014/main" id="{C441C946-799C-4E56-AC65-8B9DBF1F1832}"/>
                </a:ext>
              </a:extLst>
            </p:cNvPr>
            <p:cNvSpPr/>
            <p:nvPr/>
          </p:nvSpPr>
          <p:spPr>
            <a:xfrm>
              <a:off x="2611843" y="2749253"/>
              <a:ext cx="5845533" cy="225865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 w="10172">
              <a:noFill/>
            </a:ln>
          </p:spPr>
          <p:txBody>
            <a:bodyPr wrap="square" lIns="121920" tIns="121920" rIns="121920" bIns="121920" rtlCol="0" anchor="ctr"/>
            <a:lstStyle/>
            <a:p>
              <a:pPr defTabSz="1219176">
                <a:lnSpc>
                  <a:spcPts val="1467"/>
                </a:lnSpc>
              </a:pPr>
              <a:endParaRPr lang="en-US" sz="1333">
                <a:solidFill>
                  <a:srgbClr val="000000"/>
                </a:solidFill>
                <a:latin typeface="Arial"/>
                <a:ea typeface="Univers for KPMG Light" charset="0"/>
                <a:cs typeface="Univers for KPMG Light" charset="0"/>
              </a:endParaRPr>
            </a:p>
          </p:txBody>
        </p:sp>
        <p:sp>
          <p:nvSpPr>
            <p:cNvPr id="399" name="Rounded Rectangle 386">
              <a:extLst>
                <a:ext uri="{FF2B5EF4-FFF2-40B4-BE49-F238E27FC236}">
                  <a16:creationId xmlns:a16="http://schemas.microsoft.com/office/drawing/2014/main" id="{BCEC1C92-FB1E-4F9B-A257-B7DC4A28EC13}"/>
                </a:ext>
              </a:extLst>
            </p:cNvPr>
            <p:cNvSpPr/>
            <p:nvPr/>
          </p:nvSpPr>
          <p:spPr>
            <a:xfrm>
              <a:off x="2611840" y="2749252"/>
              <a:ext cx="5067111" cy="244617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tx2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8900000" scaled="1"/>
              <a:tileRect/>
            </a:gradFill>
          </p:spPr>
          <p:txBody>
            <a:bodyPr wrap="square" lIns="121920" tIns="0" bIns="60960" anchor="ctr">
              <a:noAutofit/>
            </a:bodyPr>
            <a:lstStyle/>
            <a:p>
              <a:pPr algn="ctr" defTabSz="1058286"/>
              <a:endParaRPr lang="en-US" sz="1400" b="1">
                <a:solidFill>
                  <a:prstClr val="white"/>
                </a:solidFill>
                <a:latin typeface="Arial"/>
                <a:cs typeface="DIN Next LT Arabic"/>
              </a:endParaRPr>
            </a:p>
          </p:txBody>
        </p:sp>
      </p:grp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7D55C1C-3F64-4129-B4C8-A12260C96ED9}"/>
              </a:ext>
            </a:extLst>
          </p:cNvPr>
          <p:cNvCxnSpPr/>
          <p:nvPr/>
        </p:nvCxnSpPr>
        <p:spPr>
          <a:xfrm>
            <a:off x="11819839" y="1956377"/>
            <a:ext cx="0" cy="316907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0" name="Rectangle 399">
            <a:extLst>
              <a:ext uri="{FF2B5EF4-FFF2-40B4-BE49-F238E27FC236}">
                <a16:creationId xmlns:a16="http://schemas.microsoft.com/office/drawing/2014/main" id="{223DE6C2-F6A2-4F77-9F17-16658C151A76}"/>
              </a:ext>
            </a:extLst>
          </p:cNvPr>
          <p:cNvSpPr/>
          <p:nvPr/>
        </p:nvSpPr>
        <p:spPr>
          <a:xfrm>
            <a:off x="11331054" y="1721242"/>
            <a:ext cx="865943" cy="2120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27"/>
            <a:r>
              <a:rPr lang="en-US" sz="778" i="1" dirty="0">
                <a:solidFill>
                  <a:prstClr val="white">
                    <a:lumMod val="50000"/>
                  </a:prstClr>
                </a:solidFill>
                <a:latin typeface="Arial"/>
                <a:cs typeface="Arial" panose="020B0604020202020204" pitchFamily="34" charset="0"/>
              </a:rPr>
              <a:t>Planned: 100%</a:t>
            </a:r>
          </a:p>
        </p:txBody>
      </p:sp>
      <p:sp>
        <p:nvSpPr>
          <p:cNvPr id="404" name="Rectangle 403">
            <a:extLst>
              <a:ext uri="{FF2B5EF4-FFF2-40B4-BE49-F238E27FC236}">
                <a16:creationId xmlns:a16="http://schemas.microsoft.com/office/drawing/2014/main" id="{2ADF1972-6919-42F3-88A4-E64A07BFF412}"/>
              </a:ext>
            </a:extLst>
          </p:cNvPr>
          <p:cNvSpPr/>
          <p:nvPr/>
        </p:nvSpPr>
        <p:spPr>
          <a:xfrm>
            <a:off x="11097901" y="2001938"/>
            <a:ext cx="385042" cy="2120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27"/>
            <a:r>
              <a:rPr lang="en-US" sz="778" b="1" i="1" dirty="0">
                <a:solidFill>
                  <a:schemeClr val="bg1"/>
                </a:solidFill>
                <a:latin typeface="Arial"/>
                <a:cs typeface="Arial" panose="020B0604020202020204" pitchFamily="34" charset="0"/>
              </a:rPr>
              <a:t>85%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75E5899-6A04-49E8-9A1E-069A4424B858}"/>
              </a:ext>
            </a:extLst>
          </p:cNvPr>
          <p:cNvGrpSpPr/>
          <p:nvPr/>
        </p:nvGrpSpPr>
        <p:grpSpPr>
          <a:xfrm>
            <a:off x="107603" y="2034817"/>
            <a:ext cx="7014957" cy="2070160"/>
            <a:chOff x="638591" y="1470488"/>
            <a:chExt cx="6313461" cy="1863144"/>
          </a:xfrm>
        </p:grpSpPr>
        <p:graphicFrame>
          <p:nvGraphicFramePr>
            <p:cNvPr id="407" name="Chart 406">
              <a:extLst>
                <a:ext uri="{FF2B5EF4-FFF2-40B4-BE49-F238E27FC236}">
                  <a16:creationId xmlns:a16="http://schemas.microsoft.com/office/drawing/2014/main" id="{2DC1ED9C-6857-4C83-B158-AA08BB5CCA5F}"/>
                </a:ext>
              </a:extLst>
            </p:cNvPr>
            <p:cNvGraphicFramePr/>
            <p:nvPr/>
          </p:nvGraphicFramePr>
          <p:xfrm>
            <a:off x="4160327" y="1470488"/>
            <a:ext cx="2791725" cy="178171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cxnSp>
          <p:nvCxnSpPr>
            <p:cNvPr id="411" name="Straight Connector 410">
              <a:extLst>
                <a:ext uri="{FF2B5EF4-FFF2-40B4-BE49-F238E27FC236}">
                  <a16:creationId xmlns:a16="http://schemas.microsoft.com/office/drawing/2014/main" id="{89A117CA-CFF6-412E-AE1E-90E1352BAE6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527496" y="1478297"/>
              <a:ext cx="2" cy="1828381"/>
            </a:xfrm>
            <a:prstGeom prst="line">
              <a:avLst/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aphicFrame>
          <p:nvGraphicFramePr>
            <p:cNvPr id="414" name="Chart 413">
              <a:extLst>
                <a:ext uri="{FF2B5EF4-FFF2-40B4-BE49-F238E27FC236}">
                  <a16:creationId xmlns:a16="http://schemas.microsoft.com/office/drawing/2014/main" id="{F77E409F-B826-410B-9FD0-844EEE807211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748262838"/>
                </p:ext>
              </p:extLst>
            </p:nvPr>
          </p:nvGraphicFramePr>
          <p:xfrm>
            <a:off x="638591" y="1477877"/>
            <a:ext cx="3789628" cy="185575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</p:grpSp>
      <p:sp>
        <p:nvSpPr>
          <p:cNvPr id="124" name="TextBox 1">
            <a:extLst>
              <a:ext uri="{FF2B5EF4-FFF2-40B4-BE49-F238E27FC236}">
                <a16:creationId xmlns:a16="http://schemas.microsoft.com/office/drawing/2014/main" id="{F766D7E7-8D07-48A9-B3A1-72EA7DBEA621}"/>
              </a:ext>
            </a:extLst>
          </p:cNvPr>
          <p:cNvSpPr txBox="1"/>
          <p:nvPr/>
        </p:nvSpPr>
        <p:spPr>
          <a:xfrm>
            <a:off x="5381100" y="2969226"/>
            <a:ext cx="1780642" cy="1555561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 sz="1500">
                <a:solidFill>
                  <a:schemeClr val="tx2"/>
                </a:solidFill>
              </a:rPr>
              <a:t>N/A</a:t>
            </a:r>
          </a:p>
        </p:txBody>
      </p:sp>
    </p:spTree>
    <p:extLst>
      <p:ext uri="{BB962C8B-B14F-4D97-AF65-F5344CB8AC3E}">
        <p14:creationId xmlns:p14="http://schemas.microsoft.com/office/powerpoint/2010/main" val="246024238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2" name="think-cell Slide" r:id="rId5" imgW="293" imgH="274" progId="TCLayout.ActiveDocument.1">
                  <p:embed/>
                </p:oleObj>
              </mc:Choice>
              <mc:Fallback>
                <p:oleObj name="think-cell Slide" r:id="rId5" imgW="293" imgH="274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1" name="Title 5"/>
          <p:cNvSpPr txBox="1">
            <a:spLocks/>
          </p:cNvSpPr>
          <p:nvPr/>
        </p:nvSpPr>
        <p:spPr>
          <a:xfrm>
            <a:off x="0" y="-4772"/>
            <a:ext cx="12192000" cy="1081733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61427" y="266394"/>
            <a:ext cx="8154804" cy="416216"/>
          </a:xfrm>
          <a:noFill/>
        </p:spPr>
        <p:txBody>
          <a:bodyPr anchor="t"/>
          <a:lstStyle/>
          <a:p>
            <a:pPr algn="l"/>
            <a:r>
              <a:rPr lang="en-US" sz="4889">
                <a:solidFill>
                  <a:schemeClr val="bg1"/>
                </a:solidFill>
              </a:rPr>
              <a:t>Week Planned Activities</a:t>
            </a:r>
            <a:br>
              <a:rPr lang="en-US" sz="4889">
                <a:solidFill>
                  <a:schemeClr val="bg1"/>
                </a:solidFill>
              </a:rPr>
            </a:br>
            <a:endParaRPr lang="en-US" sz="4889">
              <a:solidFill>
                <a:schemeClr val="bg1"/>
              </a:solidFill>
            </a:endParaRPr>
          </a:p>
        </p:txBody>
      </p:sp>
      <p:sp>
        <p:nvSpPr>
          <p:cNvPr id="235" name="Title 5"/>
          <p:cNvSpPr txBox="1">
            <a:spLocks/>
          </p:cNvSpPr>
          <p:nvPr/>
        </p:nvSpPr>
        <p:spPr>
          <a:xfrm>
            <a:off x="3" y="-4772"/>
            <a:ext cx="60959" cy="1081733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graphicFrame>
        <p:nvGraphicFramePr>
          <p:cNvPr id="126" name="Table 17">
            <a:extLst>
              <a:ext uri="{FF2B5EF4-FFF2-40B4-BE49-F238E27FC236}">
                <a16:creationId xmlns:a16="http://schemas.microsoft.com/office/drawing/2014/main" id="{C61DB3E8-4094-4EC0-8DD8-41D5437FD1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7698478"/>
              </p:ext>
            </p:extLst>
          </p:nvPr>
        </p:nvGraphicFramePr>
        <p:xfrm>
          <a:off x="313762" y="1924079"/>
          <a:ext cx="4997101" cy="24868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33211">
                  <a:extLst>
                    <a:ext uri="{9D8B030D-6E8A-4147-A177-3AD203B41FA5}">
                      <a16:colId xmlns:a16="http://schemas.microsoft.com/office/drawing/2014/main" val="296437597"/>
                    </a:ext>
                  </a:extLst>
                </a:gridCol>
                <a:gridCol w="1563890">
                  <a:extLst>
                    <a:ext uri="{9D8B030D-6E8A-4147-A177-3AD203B41FA5}">
                      <a16:colId xmlns:a16="http://schemas.microsoft.com/office/drawing/2014/main" val="499901164"/>
                    </a:ext>
                  </a:extLst>
                </a:gridCol>
              </a:tblGrid>
              <a:tr h="486867">
                <a:tc>
                  <a:txBody>
                    <a:bodyPr/>
                    <a:lstStyle/>
                    <a:p>
                      <a:r>
                        <a:rPr lang="en-US"/>
                        <a:t>Action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Owner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3193029576"/>
                  </a:ext>
                </a:extLst>
              </a:tr>
              <a:tr h="1000010">
                <a:tc>
                  <a:txBody>
                    <a:bodyPr/>
                    <a:lstStyle/>
                    <a:p>
                      <a:r>
                        <a:rPr lang="en-US" sz="1800" dirty="0"/>
                        <a:t>Prepare for training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aad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0684926"/>
                  </a:ext>
                </a:extLst>
              </a:tr>
              <a:tr h="1000010">
                <a:tc>
                  <a:txBody>
                    <a:bodyPr/>
                    <a:lstStyle/>
                    <a:p>
                      <a:r>
                        <a:rPr lang="en-US" sz="1800" dirty="0"/>
                        <a:t>Finalize Testing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aad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0293556"/>
                  </a:ext>
                </a:extLst>
              </a:tr>
            </a:tbl>
          </a:graphicData>
        </a:graphic>
      </p:graphicFrame>
      <p:graphicFrame>
        <p:nvGraphicFramePr>
          <p:cNvPr id="127" name="Table 17">
            <a:extLst>
              <a:ext uri="{FF2B5EF4-FFF2-40B4-BE49-F238E27FC236}">
                <a16:creationId xmlns:a16="http://schemas.microsoft.com/office/drawing/2014/main" id="{6BB49F05-B6D6-4A98-B667-DDCA133051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7540365"/>
              </p:ext>
            </p:extLst>
          </p:nvPr>
        </p:nvGraphicFramePr>
        <p:xfrm>
          <a:off x="6218549" y="1924079"/>
          <a:ext cx="5235018" cy="21734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46640">
                  <a:extLst>
                    <a:ext uri="{9D8B030D-6E8A-4147-A177-3AD203B41FA5}">
                      <a16:colId xmlns:a16="http://schemas.microsoft.com/office/drawing/2014/main" val="296437597"/>
                    </a:ext>
                  </a:extLst>
                </a:gridCol>
                <a:gridCol w="1288378">
                  <a:extLst>
                    <a:ext uri="{9D8B030D-6E8A-4147-A177-3AD203B41FA5}">
                      <a16:colId xmlns:a16="http://schemas.microsoft.com/office/drawing/2014/main" val="499901164"/>
                    </a:ext>
                  </a:extLst>
                </a:gridCol>
              </a:tblGrid>
              <a:tr h="516492">
                <a:tc>
                  <a:txBody>
                    <a:bodyPr/>
                    <a:lstStyle/>
                    <a:p>
                      <a:r>
                        <a:rPr lang="en-US"/>
                        <a:t>Action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Owner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3193029576"/>
                  </a:ext>
                </a:extLst>
              </a:tr>
              <a:tr h="742601">
                <a:tc>
                  <a:txBody>
                    <a:bodyPr/>
                    <a:lstStyle/>
                    <a:p>
                      <a:r>
                        <a:rPr lang="en-US" sz="1800" dirty="0"/>
                        <a:t>Follow up on payments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aad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0684926"/>
                  </a:ext>
                </a:extLst>
              </a:tr>
              <a:tr h="74260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Discuss with KPMG India on next steps and risk mitigation plan</a:t>
                      </a:r>
                    </a:p>
                    <a:p>
                      <a:endParaRPr lang="en-US" sz="1800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aad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0933656"/>
                  </a:ext>
                </a:extLst>
              </a:tr>
            </a:tbl>
          </a:graphicData>
        </a:graphic>
      </p:graphicFrame>
      <p:sp>
        <p:nvSpPr>
          <p:cNvPr id="128" name="TextBox 127">
            <a:extLst>
              <a:ext uri="{FF2B5EF4-FFF2-40B4-BE49-F238E27FC236}">
                <a16:creationId xmlns:a16="http://schemas.microsoft.com/office/drawing/2014/main" id="{EEF0C109-852E-4562-9C9E-36891A97C81F}"/>
              </a:ext>
            </a:extLst>
          </p:cNvPr>
          <p:cNvSpPr txBox="1"/>
          <p:nvPr/>
        </p:nvSpPr>
        <p:spPr>
          <a:xfrm>
            <a:off x="5692618" y="1289219"/>
            <a:ext cx="468983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2"/>
            <a:r>
              <a:rPr lang="en-US" b="1"/>
              <a:t>Next Week Activities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1588BF1D-E64C-495F-A40A-34195FDCFF69}"/>
              </a:ext>
            </a:extLst>
          </p:cNvPr>
          <p:cNvSpPr txBox="1"/>
          <p:nvPr/>
        </p:nvSpPr>
        <p:spPr>
          <a:xfrm>
            <a:off x="161427" y="1253098"/>
            <a:ext cx="468983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2"/>
            <a:r>
              <a:rPr lang="en-US" b="1"/>
              <a:t>Key Planned Activiti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D55E246-3967-490A-8950-4BC4222F8444}"/>
              </a:ext>
            </a:extLst>
          </p:cNvPr>
          <p:cNvGrpSpPr/>
          <p:nvPr/>
        </p:nvGrpSpPr>
        <p:grpSpPr>
          <a:xfrm>
            <a:off x="245905" y="1721690"/>
            <a:ext cx="11537600" cy="4324831"/>
            <a:chOff x="820940" y="1345294"/>
            <a:chExt cx="9714968" cy="4260578"/>
          </a:xfrm>
          <a:solidFill>
            <a:schemeClr val="accent1"/>
          </a:solidFill>
        </p:grpSpPr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15F18D54-B8EB-47C0-8A74-23B914C9439C}"/>
                </a:ext>
              </a:extLst>
            </p:cNvPr>
            <p:cNvCxnSpPr/>
            <p:nvPr/>
          </p:nvCxnSpPr>
          <p:spPr>
            <a:xfrm>
              <a:off x="820940" y="1348740"/>
              <a:ext cx="4389120" cy="0"/>
            </a:xfrm>
            <a:prstGeom prst="line">
              <a:avLst/>
            </a:prstGeom>
            <a:grpFill/>
            <a:ln w="19050">
              <a:solidFill>
                <a:schemeClr val="accent1"/>
              </a:solidFill>
              <a:round/>
              <a:headEnd/>
              <a:tailEnd/>
            </a:ln>
          </p:spPr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A1AA525-5A93-41C4-B85F-348B4C9410EF}"/>
                </a:ext>
              </a:extLst>
            </p:cNvPr>
            <p:cNvCxnSpPr/>
            <p:nvPr/>
          </p:nvCxnSpPr>
          <p:spPr>
            <a:xfrm>
              <a:off x="5488420" y="1345294"/>
              <a:ext cx="5047488" cy="0"/>
            </a:xfrm>
            <a:prstGeom prst="line">
              <a:avLst/>
            </a:prstGeom>
            <a:grpFill/>
            <a:ln w="19050">
              <a:solidFill>
                <a:schemeClr val="accent1"/>
              </a:solidFill>
              <a:round/>
              <a:headEnd/>
              <a:tailEnd/>
            </a:ln>
          </p:spPr>
        </p:cxnSp>
        <p:grpSp>
          <p:nvGrpSpPr>
            <p:cNvPr id="133" name="Group 132">
              <a:extLst>
                <a:ext uri="{FF2B5EF4-FFF2-40B4-BE49-F238E27FC236}">
                  <a16:creationId xmlns:a16="http://schemas.microsoft.com/office/drawing/2014/main" id="{A607214F-07F5-4EFE-B00E-52D7837A97F1}"/>
                </a:ext>
              </a:extLst>
            </p:cNvPr>
            <p:cNvGrpSpPr/>
            <p:nvPr/>
          </p:nvGrpSpPr>
          <p:grpSpPr>
            <a:xfrm>
              <a:off x="5357998" y="1407495"/>
              <a:ext cx="219842" cy="4198377"/>
              <a:chOff x="7792398" y="2498501"/>
              <a:chExt cx="148875" cy="2182369"/>
            </a:xfrm>
            <a:grpFill/>
          </p:grpSpPr>
          <p:sp>
            <p:nvSpPr>
              <p:cNvPr id="134" name="Rechteck 10">
                <a:extLst>
                  <a:ext uri="{FF2B5EF4-FFF2-40B4-BE49-F238E27FC236}">
                    <a16:creationId xmlns:a16="http://schemas.microsoft.com/office/drawing/2014/main" id="{C37C57D0-5A6A-4480-8822-C02E391FCA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6701213" y="3589686"/>
                <a:ext cx="2182369" cy="0"/>
              </a:xfrm>
              <a:custGeom>
                <a:avLst/>
                <a:gdLst>
                  <a:gd name="connsiteX0" fmla="*/ 0 w 8928000"/>
                  <a:gd name="connsiteY0" fmla="*/ 0 h 216000"/>
                  <a:gd name="connsiteX1" fmla="*/ 8928000 w 8928000"/>
                  <a:gd name="connsiteY1" fmla="*/ 0 h 216000"/>
                  <a:gd name="connsiteX2" fmla="*/ 8928000 w 8928000"/>
                  <a:gd name="connsiteY2" fmla="*/ 216000 h 216000"/>
                  <a:gd name="connsiteX3" fmla="*/ 0 w 8928000"/>
                  <a:gd name="connsiteY3" fmla="*/ 216000 h 216000"/>
                  <a:gd name="connsiteX4" fmla="*/ 0 w 8928000"/>
                  <a:gd name="connsiteY4" fmla="*/ 0 h 216000"/>
                  <a:gd name="connsiteX0" fmla="*/ 8928000 w 9019440"/>
                  <a:gd name="connsiteY0" fmla="*/ 0 h 216000"/>
                  <a:gd name="connsiteX1" fmla="*/ 8928000 w 9019440"/>
                  <a:gd name="connsiteY1" fmla="*/ 216000 h 216000"/>
                  <a:gd name="connsiteX2" fmla="*/ 0 w 9019440"/>
                  <a:gd name="connsiteY2" fmla="*/ 216000 h 216000"/>
                  <a:gd name="connsiteX3" fmla="*/ 0 w 9019440"/>
                  <a:gd name="connsiteY3" fmla="*/ 0 h 216000"/>
                  <a:gd name="connsiteX4" fmla="*/ 9019440 w 9019440"/>
                  <a:gd name="connsiteY4" fmla="*/ 91440 h 216000"/>
                  <a:gd name="connsiteX0" fmla="*/ 8928000 w 8928000"/>
                  <a:gd name="connsiteY0" fmla="*/ 0 h 216000"/>
                  <a:gd name="connsiteX1" fmla="*/ 8928000 w 8928000"/>
                  <a:gd name="connsiteY1" fmla="*/ 216000 h 216000"/>
                  <a:gd name="connsiteX2" fmla="*/ 0 w 8928000"/>
                  <a:gd name="connsiteY2" fmla="*/ 216000 h 216000"/>
                  <a:gd name="connsiteX3" fmla="*/ 0 w 8928000"/>
                  <a:gd name="connsiteY3" fmla="*/ 0 h 216000"/>
                  <a:gd name="connsiteX0" fmla="*/ 8928000 w 8928000"/>
                  <a:gd name="connsiteY0" fmla="*/ 216000 h 216000"/>
                  <a:gd name="connsiteX1" fmla="*/ 0 w 8928000"/>
                  <a:gd name="connsiteY1" fmla="*/ 216000 h 216000"/>
                  <a:gd name="connsiteX2" fmla="*/ 0 w 8928000"/>
                  <a:gd name="connsiteY2" fmla="*/ 0 h 216000"/>
                  <a:gd name="connsiteX0" fmla="*/ 8928000 w 8928000"/>
                  <a:gd name="connsiteY0" fmla="*/ 0 h 0"/>
                  <a:gd name="connsiteX1" fmla="*/ 0 w 8928000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928000">
                    <a:moveTo>
                      <a:pt x="8928000" y="0"/>
                    </a:moveTo>
                    <a:lnTo>
                      <a:pt x="0" y="0"/>
                    </a:lnTo>
                  </a:path>
                </a:pathLst>
              </a:custGeom>
              <a:grpFill/>
              <a:ln w="1905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lIns="0" tIns="0" rIns="0" bIns="34368" anchor="b" anchorCtr="0"/>
              <a:lstStyle/>
              <a:p>
                <a:pPr algn="ctr" defTabSz="872947">
                  <a:defRPr/>
                </a:pPr>
                <a:endParaRPr lang="en-US" sz="954" b="1" kern="0">
                  <a:solidFill>
                    <a:srgbClr val="00338D"/>
                  </a:solidFill>
                </a:endParaRPr>
              </a:p>
            </p:txBody>
          </p:sp>
          <p:sp>
            <p:nvSpPr>
              <p:cNvPr id="135" name="Gleichschenkliges Dreieck 18">
                <a:extLst>
                  <a:ext uri="{FF2B5EF4-FFF2-40B4-BE49-F238E27FC236}">
                    <a16:creationId xmlns:a16="http://schemas.microsoft.com/office/drawing/2014/main" id="{0400274D-634D-4EE3-9E59-41B9B9D02ADC}"/>
                  </a:ext>
                </a:extLst>
              </p:cNvPr>
              <p:cNvSpPr/>
              <p:nvPr/>
            </p:nvSpPr>
            <p:spPr>
              <a:xfrm rot="5400000">
                <a:off x="7584763" y="3509320"/>
                <a:ext cx="567530" cy="145491"/>
              </a:xfrm>
              <a:prstGeom prst="triangle">
                <a:avLst/>
              </a:prstGeom>
              <a:grpFill/>
              <a:ln w="12700" cap="flat" cmpd="sng" algn="ctr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1552" tIns="51552" rIns="51552" bIns="51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06221" indent="-206221" algn="ctr" defTabSz="872947">
                  <a:spcAft>
                    <a:spcPts val="572"/>
                  </a:spcAft>
                  <a:buFont typeface="Arial" panose="020B0604020202020204" pitchFamily="34" charset="0"/>
                  <a:buChar char="—"/>
                  <a:defRPr/>
                </a:pPr>
                <a:endParaRPr lang="en-US" sz="860" kern="0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7491736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6" name="think-cell Slide" r:id="rId5" imgW="293" imgH="274" progId="TCLayout.ActiveDocument.1">
                  <p:embed/>
                </p:oleObj>
              </mc:Choice>
              <mc:Fallback>
                <p:oleObj name="think-cell Slide" r:id="rId5" imgW="293" imgH="274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1" name="Title 5"/>
          <p:cNvSpPr txBox="1">
            <a:spLocks/>
          </p:cNvSpPr>
          <p:nvPr/>
        </p:nvSpPr>
        <p:spPr>
          <a:xfrm>
            <a:off x="0" y="-4772"/>
            <a:ext cx="12192000" cy="1081733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61427" y="266394"/>
            <a:ext cx="8154804" cy="416216"/>
          </a:xfrm>
          <a:noFill/>
        </p:spPr>
        <p:txBody>
          <a:bodyPr anchor="t"/>
          <a:lstStyle/>
          <a:p>
            <a:pPr algn="l"/>
            <a:r>
              <a:rPr lang="en-US" sz="4889">
                <a:solidFill>
                  <a:schemeClr val="bg1"/>
                </a:solidFill>
              </a:rPr>
              <a:t>Key Accomplishments</a:t>
            </a:r>
            <a:br>
              <a:rPr lang="en-US" sz="4889">
                <a:solidFill>
                  <a:schemeClr val="bg1"/>
                </a:solidFill>
              </a:rPr>
            </a:br>
            <a:endParaRPr lang="en-US" sz="4889">
              <a:solidFill>
                <a:schemeClr val="bg1"/>
              </a:solidFill>
            </a:endParaRPr>
          </a:p>
        </p:txBody>
      </p:sp>
      <p:sp>
        <p:nvSpPr>
          <p:cNvPr id="235" name="Title 5"/>
          <p:cNvSpPr txBox="1">
            <a:spLocks/>
          </p:cNvSpPr>
          <p:nvPr/>
        </p:nvSpPr>
        <p:spPr>
          <a:xfrm>
            <a:off x="3" y="-4772"/>
            <a:ext cx="60959" cy="1081733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graphicFrame>
        <p:nvGraphicFramePr>
          <p:cNvPr id="17" name="Table 17">
            <a:extLst>
              <a:ext uri="{FF2B5EF4-FFF2-40B4-BE49-F238E27FC236}">
                <a16:creationId xmlns:a16="http://schemas.microsoft.com/office/drawing/2014/main" id="{99161DF2-A3DF-4C2F-8B40-ABC6AA2DC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1068514"/>
              </p:ext>
            </p:extLst>
          </p:nvPr>
        </p:nvGraphicFramePr>
        <p:xfrm>
          <a:off x="203200" y="1289078"/>
          <a:ext cx="11493500" cy="12304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1700">
                  <a:extLst>
                    <a:ext uri="{9D8B030D-6E8A-4147-A177-3AD203B41FA5}">
                      <a16:colId xmlns:a16="http://schemas.microsoft.com/office/drawing/2014/main" val="296437597"/>
                    </a:ext>
                  </a:extLst>
                </a:gridCol>
                <a:gridCol w="10591800">
                  <a:extLst>
                    <a:ext uri="{9D8B030D-6E8A-4147-A177-3AD203B41FA5}">
                      <a16:colId xmlns:a16="http://schemas.microsoft.com/office/drawing/2014/main" val="499901164"/>
                    </a:ext>
                  </a:extLst>
                </a:gridCol>
              </a:tblGrid>
              <a:tr h="407485">
                <a:tc>
                  <a:txBody>
                    <a:bodyPr/>
                    <a:lstStyle/>
                    <a:p>
                      <a:pPr algn="ctr"/>
                      <a:r>
                        <a:rPr lang="en-US" b="1"/>
                        <a:t>#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AU"/>
                        <a:t>Accomplishment Description </a:t>
                      </a:r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3193029576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algn="ctr"/>
                      <a:r>
                        <a:rPr lang="en-US" sz="1800" b="1"/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dirty="0"/>
                        <a:t>N/A</a:t>
                      </a:r>
                      <a:endParaRPr lang="en-US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06849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0877739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0" name="think-cell Slide" r:id="rId5" imgW="293" imgH="274" progId="TCLayout.ActiveDocument.1">
                  <p:embed/>
                </p:oleObj>
              </mc:Choice>
              <mc:Fallback>
                <p:oleObj name="think-cell Slide" r:id="rId5" imgW="293" imgH="274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1" name="Title 5"/>
          <p:cNvSpPr txBox="1">
            <a:spLocks/>
          </p:cNvSpPr>
          <p:nvPr/>
        </p:nvSpPr>
        <p:spPr>
          <a:xfrm>
            <a:off x="0" y="-4772"/>
            <a:ext cx="12192000" cy="1081733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61427" y="266394"/>
            <a:ext cx="8154804" cy="416216"/>
          </a:xfrm>
          <a:noFill/>
        </p:spPr>
        <p:txBody>
          <a:bodyPr anchor="t"/>
          <a:lstStyle/>
          <a:p>
            <a:pPr algn="l"/>
            <a:r>
              <a:rPr lang="en-US" sz="4889" dirty="0">
                <a:solidFill>
                  <a:schemeClr val="bg1"/>
                </a:solidFill>
              </a:rPr>
              <a:t>Risks or Issues</a:t>
            </a:r>
          </a:p>
        </p:txBody>
      </p:sp>
      <p:sp>
        <p:nvSpPr>
          <p:cNvPr id="235" name="Title 5"/>
          <p:cNvSpPr txBox="1">
            <a:spLocks/>
          </p:cNvSpPr>
          <p:nvPr/>
        </p:nvSpPr>
        <p:spPr>
          <a:xfrm>
            <a:off x="3" y="-4772"/>
            <a:ext cx="60959" cy="1081733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graphicFrame>
        <p:nvGraphicFramePr>
          <p:cNvPr id="8" name="Table 2">
            <a:extLst>
              <a:ext uri="{FF2B5EF4-FFF2-40B4-BE49-F238E27FC236}">
                <a16:creationId xmlns:a16="http://schemas.microsoft.com/office/drawing/2014/main" id="{2793979A-DDCD-48F1-AB14-6021A109B3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0741050"/>
              </p:ext>
            </p:extLst>
          </p:nvPr>
        </p:nvGraphicFramePr>
        <p:xfrm>
          <a:off x="161427" y="1348127"/>
          <a:ext cx="11420974" cy="17159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7549">
                  <a:extLst>
                    <a:ext uri="{9D8B030D-6E8A-4147-A177-3AD203B41FA5}">
                      <a16:colId xmlns:a16="http://schemas.microsoft.com/office/drawing/2014/main" val="1196179294"/>
                    </a:ext>
                  </a:extLst>
                </a:gridCol>
                <a:gridCol w="4453960">
                  <a:extLst>
                    <a:ext uri="{9D8B030D-6E8A-4147-A177-3AD203B41FA5}">
                      <a16:colId xmlns:a16="http://schemas.microsoft.com/office/drawing/2014/main" val="2144674027"/>
                    </a:ext>
                  </a:extLst>
                </a:gridCol>
                <a:gridCol w="1861075">
                  <a:extLst>
                    <a:ext uri="{9D8B030D-6E8A-4147-A177-3AD203B41FA5}">
                      <a16:colId xmlns:a16="http://schemas.microsoft.com/office/drawing/2014/main" val="3809724858"/>
                    </a:ext>
                  </a:extLst>
                </a:gridCol>
                <a:gridCol w="2284195">
                  <a:extLst>
                    <a:ext uri="{9D8B030D-6E8A-4147-A177-3AD203B41FA5}">
                      <a16:colId xmlns:a16="http://schemas.microsoft.com/office/drawing/2014/main" val="2590904650"/>
                    </a:ext>
                  </a:extLst>
                </a:gridCol>
                <a:gridCol w="2284195">
                  <a:extLst>
                    <a:ext uri="{9D8B030D-6E8A-4147-A177-3AD203B41FA5}">
                      <a16:colId xmlns:a16="http://schemas.microsoft.com/office/drawing/2014/main" val="1885760172"/>
                    </a:ext>
                  </a:extLst>
                </a:gridCol>
              </a:tblGrid>
              <a:tr h="537922">
                <a:tc>
                  <a:txBody>
                    <a:bodyPr/>
                    <a:lstStyle/>
                    <a:p>
                      <a:r>
                        <a:rPr lang="en-US"/>
                        <a:t>#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Risk or Issue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Priority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Plan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Owner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2666802610"/>
                  </a:ext>
                </a:extLst>
              </a:tr>
              <a:tr h="537922"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t's unclear KPMG KSA interest in pursuing phase 3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ollow-up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aad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0138590"/>
                  </a:ext>
                </a:extLst>
              </a:tr>
              <a:tr h="537922"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prstClr val="black"/>
                          </a:solidFill>
                          <a:latin typeface="+mn-lt"/>
                          <a:cs typeface="Arial" panose="020B0604020202020204" pitchFamily="34" charset="0"/>
                        </a:rPr>
                        <a:t>Delay on invoice sign-off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ollow-up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aad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01574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0565003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4" name="think-cell Slide" r:id="rId5" imgW="293" imgH="274" progId="TCLayout.ActiveDocument.1">
                  <p:embed/>
                </p:oleObj>
              </mc:Choice>
              <mc:Fallback>
                <p:oleObj name="think-cell Slide" r:id="rId5" imgW="293" imgH="274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2" name="Rectangle 381"/>
          <p:cNvSpPr/>
          <p:nvPr/>
        </p:nvSpPr>
        <p:spPr>
          <a:xfrm>
            <a:off x="154597" y="4305118"/>
            <a:ext cx="3182519" cy="23750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defTabSz="1058286"/>
            <a:endParaRPr lang="en-US" sz="1500" err="1">
              <a:solidFill>
                <a:prstClr val="white"/>
              </a:solidFill>
              <a:latin typeface="Arial"/>
            </a:endParaRPr>
          </a:p>
        </p:txBody>
      </p:sp>
      <p:sp>
        <p:nvSpPr>
          <p:cNvPr id="431" name="Title 5"/>
          <p:cNvSpPr txBox="1">
            <a:spLocks/>
          </p:cNvSpPr>
          <p:nvPr/>
        </p:nvSpPr>
        <p:spPr>
          <a:xfrm>
            <a:off x="0" y="-4772"/>
            <a:ext cx="12192000" cy="1081733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61427" y="266394"/>
            <a:ext cx="8154804" cy="416216"/>
          </a:xfrm>
          <a:noFill/>
        </p:spPr>
        <p:txBody>
          <a:bodyPr anchor="t"/>
          <a:lstStyle/>
          <a:p>
            <a:pPr algn="l"/>
            <a:r>
              <a:rPr lang="en-US" sz="4889">
                <a:solidFill>
                  <a:schemeClr val="bg1"/>
                </a:solidFill>
              </a:rPr>
              <a:t>MMIR Project Health</a:t>
            </a:r>
          </a:p>
        </p:txBody>
      </p:sp>
      <p:sp>
        <p:nvSpPr>
          <p:cNvPr id="235" name="Title 5"/>
          <p:cNvSpPr txBox="1">
            <a:spLocks/>
          </p:cNvSpPr>
          <p:nvPr/>
        </p:nvSpPr>
        <p:spPr>
          <a:xfrm>
            <a:off x="3" y="-4772"/>
            <a:ext cx="60959" cy="1081733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cxnSp>
        <p:nvCxnSpPr>
          <p:cNvPr id="237" name="Straight Connector 236"/>
          <p:cNvCxnSpPr>
            <a:cxnSpLocks/>
          </p:cNvCxnSpPr>
          <p:nvPr/>
        </p:nvCxnSpPr>
        <p:spPr>
          <a:xfrm>
            <a:off x="308631" y="4305118"/>
            <a:ext cx="0" cy="231920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4" name="Round Same Side Corner Rectangle 243"/>
          <p:cNvSpPr/>
          <p:nvPr/>
        </p:nvSpPr>
        <p:spPr>
          <a:xfrm>
            <a:off x="154597" y="4289365"/>
            <a:ext cx="3182519" cy="331382"/>
          </a:xfrm>
          <a:prstGeom prst="round2Same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</p:spPr>
        <p:txBody>
          <a:bodyPr wrap="square" lIns="121920" tIns="0" bIns="60960" anchor="ctr">
            <a:noAutofit/>
          </a:bodyPr>
          <a:lstStyle/>
          <a:p>
            <a:pPr defTabSz="1058286"/>
            <a:r>
              <a:rPr lang="en-US" sz="1400" b="1">
                <a:solidFill>
                  <a:prstClr val="white"/>
                </a:solidFill>
                <a:latin typeface="Arial"/>
                <a:cs typeface="DIN Next LT Arabic"/>
              </a:rPr>
              <a:t>Other Key updates &amp; notes</a:t>
            </a:r>
          </a:p>
        </p:txBody>
      </p:sp>
      <p:grpSp>
        <p:nvGrpSpPr>
          <p:cNvPr id="383" name="Group 382"/>
          <p:cNvGrpSpPr/>
          <p:nvPr/>
        </p:nvGrpSpPr>
        <p:grpSpPr>
          <a:xfrm>
            <a:off x="172640" y="6624523"/>
            <a:ext cx="3164476" cy="104129"/>
            <a:chOff x="170119" y="2637607"/>
            <a:chExt cx="2373357" cy="130724"/>
          </a:xfrm>
        </p:grpSpPr>
        <p:sp>
          <p:nvSpPr>
            <p:cNvPr id="384" name="Right Triangle 383"/>
            <p:cNvSpPr/>
            <p:nvPr/>
          </p:nvSpPr>
          <p:spPr>
            <a:xfrm flipH="1" flipV="1">
              <a:off x="173559" y="2637607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85" name="Right Triangle 384"/>
            <p:cNvSpPr/>
            <p:nvPr/>
          </p:nvSpPr>
          <p:spPr>
            <a:xfrm flipV="1">
              <a:off x="170119" y="2637607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</p:grpSp>
      <p:sp>
        <p:nvSpPr>
          <p:cNvPr id="388" name="Rectangle 387"/>
          <p:cNvSpPr/>
          <p:nvPr/>
        </p:nvSpPr>
        <p:spPr>
          <a:xfrm>
            <a:off x="7518400" y="2655532"/>
            <a:ext cx="4579204" cy="26302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defTabSz="1058286"/>
            <a:endParaRPr lang="en-US" sz="1500" err="1">
              <a:solidFill>
                <a:prstClr val="white"/>
              </a:solidFill>
              <a:latin typeface="Arial"/>
            </a:endParaRPr>
          </a:p>
        </p:txBody>
      </p:sp>
      <p:grpSp>
        <p:nvGrpSpPr>
          <p:cNvPr id="389" name="Group 388"/>
          <p:cNvGrpSpPr/>
          <p:nvPr/>
        </p:nvGrpSpPr>
        <p:grpSpPr>
          <a:xfrm>
            <a:off x="7527930" y="6612634"/>
            <a:ext cx="4558976" cy="135134"/>
            <a:chOff x="170119" y="2402504"/>
            <a:chExt cx="2373357" cy="130725"/>
          </a:xfrm>
        </p:grpSpPr>
        <p:sp>
          <p:nvSpPr>
            <p:cNvPr id="390" name="Right Triangle 389"/>
            <p:cNvSpPr/>
            <p:nvPr/>
          </p:nvSpPr>
          <p:spPr>
            <a:xfrm flipH="1" flipV="1">
              <a:off x="173559" y="2402505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91" name="Right Triangle 390"/>
            <p:cNvSpPr/>
            <p:nvPr/>
          </p:nvSpPr>
          <p:spPr>
            <a:xfrm flipV="1">
              <a:off x="170119" y="2402504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</p:grpSp>
      <p:sp>
        <p:nvSpPr>
          <p:cNvPr id="582" name="Rectangle 581"/>
          <p:cNvSpPr/>
          <p:nvPr/>
        </p:nvSpPr>
        <p:spPr>
          <a:xfrm>
            <a:off x="7518400" y="3993261"/>
            <a:ext cx="4579204" cy="7858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</p:spPr>
        <p:txBody>
          <a:bodyPr wrap="square" lIns="121920" tIns="0" bIns="60960" anchor="ctr">
            <a:noAutofit/>
          </a:bodyPr>
          <a:lstStyle/>
          <a:p>
            <a:pPr algn="ctr" defTabSz="1058286"/>
            <a:endParaRPr lang="en-US" sz="1400" b="1" err="1">
              <a:solidFill>
                <a:prstClr val="white"/>
              </a:solidFill>
              <a:latin typeface="Arial"/>
              <a:cs typeface="DIN Next LT Arabic"/>
            </a:endParaRPr>
          </a:p>
        </p:txBody>
      </p:sp>
      <p:sp>
        <p:nvSpPr>
          <p:cNvPr id="403" name="Freeform 402"/>
          <p:cNvSpPr>
            <a:spLocks/>
          </p:cNvSpPr>
          <p:nvPr/>
        </p:nvSpPr>
        <p:spPr bwMode="auto">
          <a:xfrm>
            <a:off x="7647207" y="3629794"/>
            <a:ext cx="293866" cy="302299"/>
          </a:xfrm>
          <a:custGeom>
            <a:avLst/>
            <a:gdLst>
              <a:gd name="connsiteX0" fmla="*/ 189015 w 931448"/>
              <a:gd name="connsiteY0" fmla="*/ 777 h 970477"/>
              <a:gd name="connsiteX1" fmla="*/ 194858 w 931448"/>
              <a:gd name="connsiteY1" fmla="*/ 8026 h 970477"/>
              <a:gd name="connsiteX2" fmla="*/ 255296 w 931448"/>
              <a:gd name="connsiteY2" fmla="*/ 26885 h 970477"/>
              <a:gd name="connsiteX3" fmla="*/ 451720 w 931448"/>
              <a:gd name="connsiteY3" fmla="*/ 57059 h 970477"/>
              <a:gd name="connsiteX4" fmla="*/ 648144 w 931448"/>
              <a:gd name="connsiteY4" fmla="*/ 155125 h 970477"/>
              <a:gd name="connsiteX5" fmla="*/ 931448 w 931448"/>
              <a:gd name="connsiteY5" fmla="*/ 158897 h 970477"/>
              <a:gd name="connsiteX6" fmla="*/ 878565 w 931448"/>
              <a:gd name="connsiteY6" fmla="*/ 471953 h 970477"/>
              <a:gd name="connsiteX7" fmla="*/ 871010 w 931448"/>
              <a:gd name="connsiteY7" fmla="*/ 498355 h 970477"/>
              <a:gd name="connsiteX8" fmla="*/ 708582 w 931448"/>
              <a:gd name="connsiteY8" fmla="*/ 622823 h 970477"/>
              <a:gd name="connsiteX9" fmla="*/ 512158 w 931448"/>
              <a:gd name="connsiteY9" fmla="*/ 554932 h 970477"/>
              <a:gd name="connsiteX10" fmla="*/ 334621 w 931448"/>
              <a:gd name="connsiteY10" fmla="*/ 468181 h 970477"/>
              <a:gd name="connsiteX11" fmla="*/ 240187 w 931448"/>
              <a:gd name="connsiteY11" fmla="*/ 453094 h 970477"/>
              <a:gd name="connsiteX12" fmla="*/ 111756 w 931448"/>
              <a:gd name="connsiteY12" fmla="*/ 562475 h 970477"/>
              <a:gd name="connsiteX13" fmla="*/ 39114 w 931448"/>
              <a:gd name="connsiteY13" fmla="*/ 970477 h 970477"/>
              <a:gd name="connsiteX14" fmla="*/ 0 w 931448"/>
              <a:gd name="connsiteY14" fmla="*/ 938205 h 970477"/>
              <a:gd name="connsiteX15" fmla="*/ 149529 w 931448"/>
              <a:gd name="connsiteY15" fmla="*/ 79690 h 970477"/>
              <a:gd name="connsiteX16" fmla="*/ 160862 w 931448"/>
              <a:gd name="connsiteY16" fmla="*/ 19341 h 970477"/>
              <a:gd name="connsiteX17" fmla="*/ 189015 w 931448"/>
              <a:gd name="connsiteY17" fmla="*/ 777 h 9704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931448" h="970477">
                <a:moveTo>
                  <a:pt x="189015" y="777"/>
                </a:moveTo>
                <a:cubicBezTo>
                  <a:pt x="191789" y="1897"/>
                  <a:pt x="193914" y="4254"/>
                  <a:pt x="194858" y="8026"/>
                </a:cubicBezTo>
                <a:cubicBezTo>
                  <a:pt x="206190" y="57059"/>
                  <a:pt x="232632" y="30657"/>
                  <a:pt x="255296" y="26885"/>
                </a:cubicBezTo>
                <a:cubicBezTo>
                  <a:pt x="323289" y="15570"/>
                  <a:pt x="391282" y="26885"/>
                  <a:pt x="451720" y="57059"/>
                </a:cubicBezTo>
                <a:cubicBezTo>
                  <a:pt x="519713" y="87233"/>
                  <a:pt x="583929" y="124951"/>
                  <a:pt x="648144" y="155125"/>
                </a:cubicBezTo>
                <a:cubicBezTo>
                  <a:pt x="738802" y="196614"/>
                  <a:pt x="829459" y="211701"/>
                  <a:pt x="931448" y="158897"/>
                </a:cubicBezTo>
                <a:cubicBezTo>
                  <a:pt x="912561" y="268278"/>
                  <a:pt x="893674" y="370115"/>
                  <a:pt x="878565" y="471953"/>
                </a:cubicBezTo>
                <a:cubicBezTo>
                  <a:pt x="874787" y="479496"/>
                  <a:pt x="874787" y="490812"/>
                  <a:pt x="871010" y="498355"/>
                </a:cubicBezTo>
                <a:cubicBezTo>
                  <a:pt x="855900" y="600193"/>
                  <a:pt x="814349" y="630367"/>
                  <a:pt x="708582" y="622823"/>
                </a:cubicBezTo>
                <a:cubicBezTo>
                  <a:pt x="640589" y="615280"/>
                  <a:pt x="576374" y="588877"/>
                  <a:pt x="512158" y="554932"/>
                </a:cubicBezTo>
                <a:cubicBezTo>
                  <a:pt x="455498" y="524757"/>
                  <a:pt x="398837" y="490812"/>
                  <a:pt x="334621" y="468181"/>
                </a:cubicBezTo>
                <a:cubicBezTo>
                  <a:pt x="304402" y="460637"/>
                  <a:pt x="274183" y="453094"/>
                  <a:pt x="240187" y="453094"/>
                </a:cubicBezTo>
                <a:cubicBezTo>
                  <a:pt x="145752" y="449322"/>
                  <a:pt x="126865" y="464409"/>
                  <a:pt x="111756" y="562475"/>
                </a:cubicBezTo>
                <a:lnTo>
                  <a:pt x="39114" y="970477"/>
                </a:lnTo>
                <a:lnTo>
                  <a:pt x="0" y="938205"/>
                </a:lnTo>
                <a:lnTo>
                  <a:pt x="149529" y="79690"/>
                </a:lnTo>
                <a:cubicBezTo>
                  <a:pt x="153307" y="60831"/>
                  <a:pt x="153307" y="38200"/>
                  <a:pt x="160862" y="19341"/>
                </a:cubicBezTo>
                <a:cubicBezTo>
                  <a:pt x="166528" y="5198"/>
                  <a:pt x="180693" y="-2582"/>
                  <a:pt x="189015" y="777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Autofit/>
          </a:bodyPr>
          <a:lstStyle/>
          <a:p>
            <a:pPr defTabSz="914391"/>
            <a:endParaRPr lang="en-US" sz="2533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5" name="Freeform 404"/>
          <p:cNvSpPr>
            <a:spLocks/>
          </p:cNvSpPr>
          <p:nvPr/>
        </p:nvSpPr>
        <p:spPr bwMode="auto">
          <a:xfrm flipH="1">
            <a:off x="11685154" y="3703426"/>
            <a:ext cx="293869" cy="302299"/>
          </a:xfrm>
          <a:custGeom>
            <a:avLst/>
            <a:gdLst>
              <a:gd name="connsiteX0" fmla="*/ 189015 w 931448"/>
              <a:gd name="connsiteY0" fmla="*/ 777 h 970477"/>
              <a:gd name="connsiteX1" fmla="*/ 194858 w 931448"/>
              <a:gd name="connsiteY1" fmla="*/ 8026 h 970477"/>
              <a:gd name="connsiteX2" fmla="*/ 255296 w 931448"/>
              <a:gd name="connsiteY2" fmla="*/ 26885 h 970477"/>
              <a:gd name="connsiteX3" fmla="*/ 451720 w 931448"/>
              <a:gd name="connsiteY3" fmla="*/ 57059 h 970477"/>
              <a:gd name="connsiteX4" fmla="*/ 648144 w 931448"/>
              <a:gd name="connsiteY4" fmla="*/ 155125 h 970477"/>
              <a:gd name="connsiteX5" fmla="*/ 931448 w 931448"/>
              <a:gd name="connsiteY5" fmla="*/ 158897 h 970477"/>
              <a:gd name="connsiteX6" fmla="*/ 878565 w 931448"/>
              <a:gd name="connsiteY6" fmla="*/ 471953 h 970477"/>
              <a:gd name="connsiteX7" fmla="*/ 871010 w 931448"/>
              <a:gd name="connsiteY7" fmla="*/ 498355 h 970477"/>
              <a:gd name="connsiteX8" fmla="*/ 708582 w 931448"/>
              <a:gd name="connsiteY8" fmla="*/ 622823 h 970477"/>
              <a:gd name="connsiteX9" fmla="*/ 512158 w 931448"/>
              <a:gd name="connsiteY9" fmla="*/ 554932 h 970477"/>
              <a:gd name="connsiteX10" fmla="*/ 334621 w 931448"/>
              <a:gd name="connsiteY10" fmla="*/ 468181 h 970477"/>
              <a:gd name="connsiteX11" fmla="*/ 240187 w 931448"/>
              <a:gd name="connsiteY11" fmla="*/ 453094 h 970477"/>
              <a:gd name="connsiteX12" fmla="*/ 111756 w 931448"/>
              <a:gd name="connsiteY12" fmla="*/ 562475 h 970477"/>
              <a:gd name="connsiteX13" fmla="*/ 39114 w 931448"/>
              <a:gd name="connsiteY13" fmla="*/ 970477 h 970477"/>
              <a:gd name="connsiteX14" fmla="*/ 0 w 931448"/>
              <a:gd name="connsiteY14" fmla="*/ 938205 h 970477"/>
              <a:gd name="connsiteX15" fmla="*/ 149529 w 931448"/>
              <a:gd name="connsiteY15" fmla="*/ 79690 h 970477"/>
              <a:gd name="connsiteX16" fmla="*/ 160862 w 931448"/>
              <a:gd name="connsiteY16" fmla="*/ 19341 h 970477"/>
              <a:gd name="connsiteX17" fmla="*/ 189015 w 931448"/>
              <a:gd name="connsiteY17" fmla="*/ 777 h 9704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931448" h="970477">
                <a:moveTo>
                  <a:pt x="189015" y="777"/>
                </a:moveTo>
                <a:cubicBezTo>
                  <a:pt x="191789" y="1897"/>
                  <a:pt x="193914" y="4254"/>
                  <a:pt x="194858" y="8026"/>
                </a:cubicBezTo>
                <a:cubicBezTo>
                  <a:pt x="206190" y="57059"/>
                  <a:pt x="232632" y="30657"/>
                  <a:pt x="255296" y="26885"/>
                </a:cubicBezTo>
                <a:cubicBezTo>
                  <a:pt x="323289" y="15570"/>
                  <a:pt x="391282" y="26885"/>
                  <a:pt x="451720" y="57059"/>
                </a:cubicBezTo>
                <a:cubicBezTo>
                  <a:pt x="519713" y="87233"/>
                  <a:pt x="583929" y="124951"/>
                  <a:pt x="648144" y="155125"/>
                </a:cubicBezTo>
                <a:cubicBezTo>
                  <a:pt x="738802" y="196614"/>
                  <a:pt x="829459" y="211701"/>
                  <a:pt x="931448" y="158897"/>
                </a:cubicBezTo>
                <a:cubicBezTo>
                  <a:pt x="912561" y="268278"/>
                  <a:pt x="893674" y="370115"/>
                  <a:pt x="878565" y="471953"/>
                </a:cubicBezTo>
                <a:cubicBezTo>
                  <a:pt x="874787" y="479496"/>
                  <a:pt x="874787" y="490812"/>
                  <a:pt x="871010" y="498355"/>
                </a:cubicBezTo>
                <a:cubicBezTo>
                  <a:pt x="855900" y="600193"/>
                  <a:pt x="814349" y="630367"/>
                  <a:pt x="708582" y="622823"/>
                </a:cubicBezTo>
                <a:cubicBezTo>
                  <a:pt x="640589" y="615280"/>
                  <a:pt x="576374" y="588877"/>
                  <a:pt x="512158" y="554932"/>
                </a:cubicBezTo>
                <a:cubicBezTo>
                  <a:pt x="455498" y="524757"/>
                  <a:pt x="398837" y="490812"/>
                  <a:pt x="334621" y="468181"/>
                </a:cubicBezTo>
                <a:cubicBezTo>
                  <a:pt x="304402" y="460637"/>
                  <a:pt x="274183" y="453094"/>
                  <a:pt x="240187" y="453094"/>
                </a:cubicBezTo>
                <a:cubicBezTo>
                  <a:pt x="145752" y="449322"/>
                  <a:pt x="126865" y="464409"/>
                  <a:pt x="111756" y="562475"/>
                </a:cubicBezTo>
                <a:lnTo>
                  <a:pt x="39114" y="970477"/>
                </a:lnTo>
                <a:lnTo>
                  <a:pt x="0" y="938205"/>
                </a:lnTo>
                <a:lnTo>
                  <a:pt x="149529" y="79690"/>
                </a:lnTo>
                <a:cubicBezTo>
                  <a:pt x="153307" y="60831"/>
                  <a:pt x="153307" y="38200"/>
                  <a:pt x="160862" y="19341"/>
                </a:cubicBezTo>
                <a:cubicBezTo>
                  <a:pt x="166528" y="5198"/>
                  <a:pt x="180693" y="-2582"/>
                  <a:pt x="189015" y="777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Autofit/>
          </a:bodyPr>
          <a:lstStyle/>
          <a:p>
            <a:pPr defTabSz="914391"/>
            <a:endParaRPr lang="en-US" sz="2533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10591584" y="3450103"/>
            <a:ext cx="95070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127"/>
            <a:r>
              <a:rPr lang="en-US" sz="1200">
                <a:solidFill>
                  <a:prstClr val="white">
                    <a:lumMod val="50000"/>
                  </a:prstClr>
                </a:solidFill>
                <a:latin typeface="Arial"/>
                <a:cs typeface="Arial" panose="020B0604020202020204" pitchFamily="34" charset="0"/>
              </a:rPr>
              <a:t>END DATE</a:t>
            </a:r>
          </a:p>
        </p:txBody>
      </p:sp>
      <p:sp>
        <p:nvSpPr>
          <p:cNvPr id="406" name="Rectangle 405"/>
          <p:cNvSpPr/>
          <p:nvPr/>
        </p:nvSpPr>
        <p:spPr>
          <a:xfrm>
            <a:off x="10581190" y="3687170"/>
            <a:ext cx="115608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127"/>
            <a:r>
              <a:rPr lang="en-US" sz="1200" b="1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January 2023</a:t>
            </a:r>
          </a:p>
        </p:txBody>
      </p:sp>
      <p:sp>
        <p:nvSpPr>
          <p:cNvPr id="408" name="Rectangle 407"/>
          <p:cNvSpPr/>
          <p:nvPr/>
        </p:nvSpPr>
        <p:spPr>
          <a:xfrm>
            <a:off x="7941073" y="3450103"/>
            <a:ext cx="111492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127"/>
            <a:r>
              <a:rPr lang="en-US" sz="1200">
                <a:solidFill>
                  <a:prstClr val="white">
                    <a:lumMod val="50000"/>
                  </a:prstClr>
                </a:solidFill>
                <a:latin typeface="Arial"/>
                <a:cs typeface="Arial" panose="020B0604020202020204" pitchFamily="34" charset="0"/>
              </a:rPr>
              <a:t>START DATE</a:t>
            </a:r>
          </a:p>
        </p:txBody>
      </p:sp>
      <p:sp>
        <p:nvSpPr>
          <p:cNvPr id="409" name="Rectangle 408"/>
          <p:cNvSpPr/>
          <p:nvPr/>
        </p:nvSpPr>
        <p:spPr>
          <a:xfrm>
            <a:off x="7898340" y="3687170"/>
            <a:ext cx="92685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127"/>
            <a:r>
              <a:rPr lang="en-US" sz="1200" b="1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June 2022</a:t>
            </a:r>
          </a:p>
        </p:txBody>
      </p:sp>
      <p:sp>
        <p:nvSpPr>
          <p:cNvPr id="410" name="Round Same Side Corner Rectangle 409"/>
          <p:cNvSpPr/>
          <p:nvPr/>
        </p:nvSpPr>
        <p:spPr>
          <a:xfrm>
            <a:off x="7592024" y="4294033"/>
            <a:ext cx="4443494" cy="290140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chemeClr val="tx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</a:gradFill>
          <a:ln>
            <a:solidFill>
              <a:schemeClr val="accent3"/>
            </a:solidFill>
          </a:ln>
        </p:spPr>
        <p:txBody>
          <a:bodyPr wrap="square" lIns="121920">
            <a:noAutofit/>
          </a:bodyPr>
          <a:lstStyle/>
          <a:p>
            <a:pPr defTabSz="1058286"/>
            <a:endParaRPr lang="en-US" sz="1400" b="1">
              <a:solidFill>
                <a:prstClr val="white"/>
              </a:solidFill>
              <a:latin typeface="Arial"/>
              <a:cs typeface="DIN Next LT Arabic"/>
            </a:endParaRPr>
          </a:p>
        </p:txBody>
      </p:sp>
      <p:graphicFrame>
        <p:nvGraphicFramePr>
          <p:cNvPr id="44" name="Table 43"/>
          <p:cNvGraphicFramePr>
            <a:graphicFrameLocks noGrp="1"/>
          </p:cNvGraphicFramePr>
          <p:nvPr/>
        </p:nvGraphicFramePr>
        <p:xfrm>
          <a:off x="7595578" y="4312867"/>
          <a:ext cx="4439944" cy="2773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42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71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71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77333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Apr</a:t>
                      </a:r>
                    </a:p>
                  </a:txBody>
                  <a:tcPr marL="18000" marR="18000" marT="54000" marB="54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May</a:t>
                      </a:r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Jun</a:t>
                      </a:r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Jul.</a:t>
                      </a:r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Aug</a:t>
                      </a:r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Sep</a:t>
                      </a:r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Oct</a:t>
                      </a:r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427" name="Table 426"/>
          <p:cNvGraphicFramePr>
            <a:graphicFrameLocks noGrp="1"/>
          </p:cNvGraphicFramePr>
          <p:nvPr/>
        </p:nvGraphicFramePr>
        <p:xfrm>
          <a:off x="7595578" y="4583797"/>
          <a:ext cx="4439944" cy="17735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42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71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71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1773579">
                <a:tc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16" name="Rounded Rectangle 415"/>
          <p:cNvSpPr/>
          <p:nvPr/>
        </p:nvSpPr>
        <p:spPr>
          <a:xfrm>
            <a:off x="7853699" y="4683626"/>
            <a:ext cx="1038687" cy="18442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 w="10172">
            <a:noFill/>
          </a:ln>
        </p:spPr>
        <p:txBody>
          <a:bodyPr wrap="square" lIns="121920" tIns="121920" rIns="121920" bIns="121920" rtlCol="0" anchor="ctr"/>
          <a:lstStyle/>
          <a:p>
            <a:pPr algn="ctr" defTabSz="1219176"/>
            <a:r>
              <a:rPr lang="en-US" sz="889" b="1">
                <a:solidFill>
                  <a:schemeClr val="bg1"/>
                </a:solidFill>
                <a:latin typeface="Arial"/>
                <a:ea typeface="Univers for KPMG Light" charset="0"/>
                <a:cs typeface="Univers for KPMG Light" charset="0"/>
              </a:rPr>
              <a:t>Activity 1</a:t>
            </a:r>
          </a:p>
        </p:txBody>
      </p:sp>
      <p:sp>
        <p:nvSpPr>
          <p:cNvPr id="418" name="Rounded Rectangle 417"/>
          <p:cNvSpPr/>
          <p:nvPr/>
        </p:nvSpPr>
        <p:spPr>
          <a:xfrm>
            <a:off x="8712458" y="5082583"/>
            <a:ext cx="939542" cy="18442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0172">
            <a:noFill/>
          </a:ln>
        </p:spPr>
        <p:txBody>
          <a:bodyPr wrap="square" lIns="121920" tIns="121920" rIns="121920" bIns="121920" rtlCol="0" anchor="ctr"/>
          <a:lstStyle/>
          <a:p>
            <a:pPr algn="ctr" defTabSz="1219176">
              <a:defRPr/>
            </a:pPr>
            <a:r>
              <a:rPr lang="en-US" sz="889" b="1">
                <a:solidFill>
                  <a:schemeClr val="bg1"/>
                </a:solidFill>
                <a:latin typeface="Arial"/>
                <a:ea typeface="Univers for KPMG Light" charset="0"/>
                <a:cs typeface="Univers for KPMG Light" charset="0"/>
              </a:rPr>
              <a:t>Activity 2</a:t>
            </a:r>
          </a:p>
        </p:txBody>
      </p:sp>
      <p:sp>
        <p:nvSpPr>
          <p:cNvPr id="420" name="Rounded Rectangle 419"/>
          <p:cNvSpPr/>
          <p:nvPr/>
        </p:nvSpPr>
        <p:spPr>
          <a:xfrm>
            <a:off x="9067706" y="5422530"/>
            <a:ext cx="1884777" cy="18442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10172">
            <a:noFill/>
          </a:ln>
        </p:spPr>
        <p:txBody>
          <a:bodyPr wrap="square" lIns="121920" tIns="121920" rIns="121920" bIns="121920" rtlCol="0" anchor="ctr"/>
          <a:lstStyle/>
          <a:p>
            <a:pPr algn="ctr" defTabSz="1219176">
              <a:defRPr/>
            </a:pPr>
            <a:r>
              <a:rPr lang="en-US" sz="889" b="1">
                <a:solidFill>
                  <a:schemeClr val="bg1"/>
                </a:solidFill>
                <a:latin typeface="Arial"/>
                <a:ea typeface="Univers for KPMG Light" charset="0"/>
                <a:cs typeface="Univers for KPMG Light" charset="0"/>
              </a:rPr>
              <a:t>Activity 3</a:t>
            </a:r>
          </a:p>
        </p:txBody>
      </p:sp>
      <p:grpSp>
        <p:nvGrpSpPr>
          <p:cNvPr id="132" name="Group 131"/>
          <p:cNvGrpSpPr/>
          <p:nvPr/>
        </p:nvGrpSpPr>
        <p:grpSpPr>
          <a:xfrm>
            <a:off x="7527930" y="3097452"/>
            <a:ext cx="4558976" cy="135133"/>
            <a:chOff x="5645947" y="4054307"/>
            <a:chExt cx="3419232" cy="146922"/>
          </a:xfrm>
        </p:grpSpPr>
        <p:sp>
          <p:nvSpPr>
            <p:cNvPr id="435" name="Right Triangle 434"/>
            <p:cNvSpPr/>
            <p:nvPr/>
          </p:nvSpPr>
          <p:spPr>
            <a:xfrm flipH="1" flipV="1">
              <a:off x="5650903" y="4054307"/>
              <a:ext cx="3414276" cy="146922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436" name="Right Triangle 435"/>
            <p:cNvSpPr/>
            <p:nvPr/>
          </p:nvSpPr>
          <p:spPr>
            <a:xfrm flipV="1">
              <a:off x="5645947" y="4054307"/>
              <a:ext cx="3414276" cy="146922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</p:grpSp>
      <p:sp>
        <p:nvSpPr>
          <p:cNvPr id="437" name="Rectangle 436"/>
          <p:cNvSpPr/>
          <p:nvPr/>
        </p:nvSpPr>
        <p:spPr>
          <a:xfrm>
            <a:off x="7518400" y="1127265"/>
            <a:ext cx="4579204" cy="13745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defTabSz="1058286"/>
            <a:endParaRPr lang="en-US" sz="1500" err="1">
              <a:solidFill>
                <a:prstClr val="white"/>
              </a:solidFill>
              <a:latin typeface="Arial"/>
            </a:endParaRPr>
          </a:p>
        </p:txBody>
      </p:sp>
      <p:sp>
        <p:nvSpPr>
          <p:cNvPr id="439" name="Rectangle 438"/>
          <p:cNvSpPr/>
          <p:nvPr/>
        </p:nvSpPr>
        <p:spPr>
          <a:xfrm>
            <a:off x="7829747" y="1158904"/>
            <a:ext cx="1335622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27"/>
            <a:r>
              <a:rPr lang="en-US" sz="1333" b="1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Project Health</a:t>
            </a:r>
          </a:p>
        </p:txBody>
      </p:sp>
      <p:sp>
        <p:nvSpPr>
          <p:cNvPr id="440" name="Rectangle 439"/>
          <p:cNvSpPr/>
          <p:nvPr/>
        </p:nvSpPr>
        <p:spPr>
          <a:xfrm>
            <a:off x="10403346" y="1158904"/>
            <a:ext cx="925253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27"/>
            <a:r>
              <a:rPr lang="en-US" sz="1333" b="1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Progress</a:t>
            </a:r>
          </a:p>
        </p:txBody>
      </p:sp>
      <p:cxnSp>
        <p:nvCxnSpPr>
          <p:cNvPr id="444" name="Straight Connector 443"/>
          <p:cNvCxnSpPr/>
          <p:nvPr/>
        </p:nvCxnSpPr>
        <p:spPr>
          <a:xfrm>
            <a:off x="10152800" y="2452170"/>
            <a:ext cx="1426344" cy="0"/>
          </a:xfrm>
          <a:prstGeom prst="line">
            <a:avLst/>
          </a:prstGeom>
          <a:ln w="3175">
            <a:solidFill>
              <a:schemeClr val="bg1">
                <a:alpha val="2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7" name="Oval 446"/>
          <p:cNvSpPr/>
          <p:nvPr/>
        </p:nvSpPr>
        <p:spPr>
          <a:xfrm>
            <a:off x="10190609" y="1699559"/>
            <a:ext cx="1264898" cy="1264896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91"/>
            <a:endParaRPr lang="en-IN" sz="2154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57" name="Straight Connector 56"/>
          <p:cNvCxnSpPr/>
          <p:nvPr/>
        </p:nvCxnSpPr>
        <p:spPr>
          <a:xfrm>
            <a:off x="7661463" y="1451278"/>
            <a:ext cx="167219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8" name="Straight Connector 447"/>
          <p:cNvCxnSpPr/>
          <p:nvPr/>
        </p:nvCxnSpPr>
        <p:spPr>
          <a:xfrm>
            <a:off x="9910209" y="1451278"/>
            <a:ext cx="197021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0" name="Group 449"/>
          <p:cNvGrpSpPr/>
          <p:nvPr/>
        </p:nvGrpSpPr>
        <p:grpSpPr>
          <a:xfrm>
            <a:off x="8249008" y="1724075"/>
            <a:ext cx="605432" cy="944212"/>
            <a:chOff x="722750" y="906549"/>
            <a:chExt cx="553597" cy="863372"/>
          </a:xfrm>
        </p:grpSpPr>
        <p:grpSp>
          <p:nvGrpSpPr>
            <p:cNvPr id="451" name="Group 450"/>
            <p:cNvGrpSpPr/>
            <p:nvPr/>
          </p:nvGrpSpPr>
          <p:grpSpPr>
            <a:xfrm>
              <a:off x="722750" y="906549"/>
              <a:ext cx="553597" cy="863372"/>
              <a:chOff x="5997254" y="2460747"/>
              <a:chExt cx="1616607" cy="2521202"/>
            </a:xfrm>
          </p:grpSpPr>
          <p:sp>
            <p:nvSpPr>
              <p:cNvPr id="470" name="Rectangle 469"/>
              <p:cNvSpPr/>
              <p:nvPr/>
            </p:nvSpPr>
            <p:spPr>
              <a:xfrm>
                <a:off x="6718885" y="4188898"/>
                <a:ext cx="177760" cy="793051"/>
              </a:xfrm>
              <a:prstGeom prst="rect">
                <a:avLst/>
              </a:prstGeom>
              <a:gradFill>
                <a:gsLst>
                  <a:gs pos="0">
                    <a:sysClr val="windowText" lastClr="000000">
                      <a:lumMod val="75000"/>
                      <a:lumOff val="25000"/>
                      <a:shade val="30000"/>
                      <a:satMod val="115000"/>
                    </a:sysClr>
                  </a:gs>
                  <a:gs pos="50000">
                    <a:sysClr val="window" lastClr="FFFFFF"/>
                  </a:gs>
                  <a:gs pos="100000">
                    <a:sysClr val="windowText" lastClr="000000">
                      <a:lumMod val="75000"/>
                      <a:lumOff val="25000"/>
                      <a:shade val="100000"/>
                      <a:satMod val="115000"/>
                    </a:sysClr>
                  </a:gs>
                </a:gsLst>
                <a:lin ang="0" scaled="0"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060737">
                  <a:defRPr/>
                </a:pPr>
                <a:endParaRPr lang="en-US" sz="2088" kern="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471" name="Freeform 26"/>
              <p:cNvSpPr>
                <a:spLocks noEditPoints="1"/>
              </p:cNvSpPr>
              <p:nvPr/>
            </p:nvSpPr>
            <p:spPr bwMode="auto">
              <a:xfrm>
                <a:off x="5997254" y="2460747"/>
                <a:ext cx="1616607" cy="1618702"/>
              </a:xfrm>
              <a:custGeom>
                <a:avLst/>
                <a:gdLst>
                  <a:gd name="T0" fmla="*/ 323 w 326"/>
                  <a:gd name="T1" fmla="*/ 157 h 326"/>
                  <a:gd name="T2" fmla="*/ 169 w 326"/>
                  <a:gd name="T3" fmla="*/ 2 h 326"/>
                  <a:gd name="T4" fmla="*/ 163 w 326"/>
                  <a:gd name="T5" fmla="*/ 0 h 326"/>
                  <a:gd name="T6" fmla="*/ 157 w 326"/>
                  <a:gd name="T7" fmla="*/ 2 h 326"/>
                  <a:gd name="T8" fmla="*/ 3 w 326"/>
                  <a:gd name="T9" fmla="*/ 157 h 326"/>
                  <a:gd name="T10" fmla="*/ 0 w 326"/>
                  <a:gd name="T11" fmla="*/ 163 h 326"/>
                  <a:gd name="T12" fmla="*/ 3 w 326"/>
                  <a:gd name="T13" fmla="*/ 169 h 326"/>
                  <a:gd name="T14" fmla="*/ 157 w 326"/>
                  <a:gd name="T15" fmla="*/ 323 h 326"/>
                  <a:gd name="T16" fmla="*/ 163 w 326"/>
                  <a:gd name="T17" fmla="*/ 326 h 326"/>
                  <a:gd name="T18" fmla="*/ 169 w 326"/>
                  <a:gd name="T19" fmla="*/ 323 h 326"/>
                  <a:gd name="T20" fmla="*/ 323 w 326"/>
                  <a:gd name="T21" fmla="*/ 169 h 326"/>
                  <a:gd name="T22" fmla="*/ 326 w 326"/>
                  <a:gd name="T23" fmla="*/ 163 h 326"/>
                  <a:gd name="T24" fmla="*/ 323 w 326"/>
                  <a:gd name="T25" fmla="*/ 157 h 326"/>
                  <a:gd name="T26" fmla="*/ 306 w 326"/>
                  <a:gd name="T27" fmla="*/ 168 h 326"/>
                  <a:gd name="T28" fmla="*/ 168 w 326"/>
                  <a:gd name="T29" fmla="*/ 306 h 326"/>
                  <a:gd name="T30" fmla="*/ 163 w 326"/>
                  <a:gd name="T31" fmla="*/ 308 h 326"/>
                  <a:gd name="T32" fmla="*/ 157 w 326"/>
                  <a:gd name="T33" fmla="*/ 306 h 326"/>
                  <a:gd name="T34" fmla="*/ 20 w 326"/>
                  <a:gd name="T35" fmla="*/ 168 h 326"/>
                  <a:gd name="T36" fmla="*/ 17 w 326"/>
                  <a:gd name="T37" fmla="*/ 163 h 326"/>
                  <a:gd name="T38" fmla="*/ 20 w 326"/>
                  <a:gd name="T39" fmla="*/ 157 h 326"/>
                  <a:gd name="T40" fmla="*/ 157 w 326"/>
                  <a:gd name="T41" fmla="*/ 19 h 326"/>
                  <a:gd name="T42" fmla="*/ 163 w 326"/>
                  <a:gd name="T43" fmla="*/ 17 h 326"/>
                  <a:gd name="T44" fmla="*/ 168 w 326"/>
                  <a:gd name="T45" fmla="*/ 19 h 326"/>
                  <a:gd name="T46" fmla="*/ 306 w 326"/>
                  <a:gd name="T47" fmla="*/ 157 h 326"/>
                  <a:gd name="T48" fmla="*/ 309 w 326"/>
                  <a:gd name="T49" fmla="*/ 163 h 326"/>
                  <a:gd name="T50" fmla="*/ 306 w 326"/>
                  <a:gd name="T51" fmla="*/ 168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6" h="326">
                    <a:moveTo>
                      <a:pt x="323" y="157"/>
                    </a:moveTo>
                    <a:cubicBezTo>
                      <a:pt x="169" y="2"/>
                      <a:pt x="169" y="2"/>
                      <a:pt x="169" y="2"/>
                    </a:cubicBezTo>
                    <a:cubicBezTo>
                      <a:pt x="167" y="0"/>
                      <a:pt x="164" y="0"/>
                      <a:pt x="163" y="0"/>
                    </a:cubicBezTo>
                    <a:cubicBezTo>
                      <a:pt x="162" y="0"/>
                      <a:pt x="159" y="0"/>
                      <a:pt x="157" y="2"/>
                    </a:cubicBezTo>
                    <a:cubicBezTo>
                      <a:pt x="3" y="157"/>
                      <a:pt x="3" y="157"/>
                      <a:pt x="3" y="157"/>
                    </a:cubicBezTo>
                    <a:cubicBezTo>
                      <a:pt x="1" y="158"/>
                      <a:pt x="0" y="160"/>
                      <a:pt x="0" y="163"/>
                    </a:cubicBezTo>
                    <a:cubicBezTo>
                      <a:pt x="0" y="165"/>
                      <a:pt x="1" y="167"/>
                      <a:pt x="3" y="169"/>
                    </a:cubicBezTo>
                    <a:cubicBezTo>
                      <a:pt x="157" y="323"/>
                      <a:pt x="157" y="323"/>
                      <a:pt x="157" y="323"/>
                    </a:cubicBezTo>
                    <a:cubicBezTo>
                      <a:pt x="159" y="325"/>
                      <a:pt x="162" y="326"/>
                      <a:pt x="163" y="326"/>
                    </a:cubicBezTo>
                    <a:cubicBezTo>
                      <a:pt x="164" y="326"/>
                      <a:pt x="167" y="325"/>
                      <a:pt x="169" y="323"/>
                    </a:cubicBezTo>
                    <a:cubicBezTo>
                      <a:pt x="323" y="169"/>
                      <a:pt x="323" y="169"/>
                      <a:pt x="323" y="169"/>
                    </a:cubicBezTo>
                    <a:cubicBezTo>
                      <a:pt x="325" y="167"/>
                      <a:pt x="326" y="164"/>
                      <a:pt x="326" y="163"/>
                    </a:cubicBezTo>
                    <a:cubicBezTo>
                      <a:pt x="326" y="161"/>
                      <a:pt x="325" y="159"/>
                      <a:pt x="323" y="157"/>
                    </a:cubicBezTo>
                    <a:close/>
                    <a:moveTo>
                      <a:pt x="306" y="168"/>
                    </a:moveTo>
                    <a:cubicBezTo>
                      <a:pt x="168" y="306"/>
                      <a:pt x="168" y="306"/>
                      <a:pt x="168" y="306"/>
                    </a:cubicBezTo>
                    <a:cubicBezTo>
                      <a:pt x="167" y="308"/>
                      <a:pt x="164" y="308"/>
                      <a:pt x="163" y="308"/>
                    </a:cubicBezTo>
                    <a:cubicBezTo>
                      <a:pt x="162" y="308"/>
                      <a:pt x="159" y="308"/>
                      <a:pt x="157" y="306"/>
                    </a:cubicBezTo>
                    <a:cubicBezTo>
                      <a:pt x="20" y="168"/>
                      <a:pt x="20" y="168"/>
                      <a:pt x="20" y="168"/>
                    </a:cubicBezTo>
                    <a:cubicBezTo>
                      <a:pt x="18" y="167"/>
                      <a:pt x="17" y="165"/>
                      <a:pt x="17" y="163"/>
                    </a:cubicBezTo>
                    <a:cubicBezTo>
                      <a:pt x="17" y="161"/>
                      <a:pt x="18" y="159"/>
                      <a:pt x="20" y="157"/>
                    </a:cubicBezTo>
                    <a:cubicBezTo>
                      <a:pt x="157" y="19"/>
                      <a:pt x="157" y="19"/>
                      <a:pt x="157" y="19"/>
                    </a:cubicBezTo>
                    <a:cubicBezTo>
                      <a:pt x="159" y="17"/>
                      <a:pt x="162" y="17"/>
                      <a:pt x="163" y="17"/>
                    </a:cubicBezTo>
                    <a:cubicBezTo>
                      <a:pt x="164" y="17"/>
                      <a:pt x="167" y="17"/>
                      <a:pt x="168" y="19"/>
                    </a:cubicBezTo>
                    <a:cubicBezTo>
                      <a:pt x="306" y="157"/>
                      <a:pt x="306" y="157"/>
                      <a:pt x="306" y="157"/>
                    </a:cubicBezTo>
                    <a:cubicBezTo>
                      <a:pt x="308" y="159"/>
                      <a:pt x="309" y="161"/>
                      <a:pt x="309" y="163"/>
                    </a:cubicBezTo>
                    <a:cubicBezTo>
                      <a:pt x="309" y="164"/>
                      <a:pt x="308" y="166"/>
                      <a:pt x="306" y="16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106072" tIns="53034" rIns="106072" bIns="53034" numCol="1" anchor="t" anchorCtr="0" compatLnSpc="1">
                <a:prstTxWarp prst="textNoShape">
                  <a:avLst/>
                </a:prstTxWarp>
              </a:bodyPr>
              <a:lstStyle/>
              <a:p>
                <a:pPr defTabSz="1060737">
                  <a:defRPr/>
                </a:pPr>
                <a:endParaRPr lang="en-US" sz="2088" kern="0">
                  <a:solidFill>
                    <a:prstClr val="black"/>
                  </a:solidFill>
                  <a:latin typeface="Arial"/>
                </a:endParaRPr>
              </a:p>
            </p:txBody>
          </p:sp>
        </p:grpSp>
        <p:grpSp>
          <p:nvGrpSpPr>
            <p:cNvPr id="452" name="Group 37"/>
            <p:cNvGrpSpPr/>
            <p:nvPr/>
          </p:nvGrpSpPr>
          <p:grpSpPr>
            <a:xfrm>
              <a:off x="758945" y="928520"/>
              <a:ext cx="476130" cy="740410"/>
              <a:chOff x="1903412" y="1676400"/>
              <a:chExt cx="1776606" cy="2835299"/>
            </a:xfrm>
          </p:grpSpPr>
          <p:sp>
            <p:nvSpPr>
              <p:cNvPr id="453" name="Freeform 7"/>
              <p:cNvSpPr>
                <a:spLocks/>
              </p:cNvSpPr>
              <p:nvPr/>
            </p:nvSpPr>
            <p:spPr bwMode="auto">
              <a:xfrm>
                <a:off x="2239650" y="1690031"/>
                <a:ext cx="1114733" cy="2809552"/>
              </a:xfrm>
              <a:custGeom>
                <a:avLst/>
                <a:gdLst/>
                <a:ahLst/>
                <a:cxnLst>
                  <a:cxn ang="0">
                    <a:pos x="79" y="0"/>
                  </a:cxn>
                  <a:cxn ang="0">
                    <a:pos x="657" y="0"/>
                  </a:cxn>
                  <a:cxn ang="0">
                    <a:pos x="675" y="2"/>
                  </a:cxn>
                  <a:cxn ang="0">
                    <a:pos x="691" y="8"/>
                  </a:cxn>
                  <a:cxn ang="0">
                    <a:pos x="706" y="17"/>
                  </a:cxn>
                  <a:cxn ang="0">
                    <a:pos x="718" y="29"/>
                  </a:cxn>
                  <a:cxn ang="0">
                    <a:pos x="728" y="44"/>
                  </a:cxn>
                  <a:cxn ang="0">
                    <a:pos x="733" y="60"/>
                  </a:cxn>
                  <a:cxn ang="0">
                    <a:pos x="736" y="79"/>
                  </a:cxn>
                  <a:cxn ang="0">
                    <a:pos x="736" y="1776"/>
                  </a:cxn>
                  <a:cxn ang="0">
                    <a:pos x="733" y="1794"/>
                  </a:cxn>
                  <a:cxn ang="0">
                    <a:pos x="728" y="1811"/>
                  </a:cxn>
                  <a:cxn ang="0">
                    <a:pos x="718" y="1825"/>
                  </a:cxn>
                  <a:cxn ang="0">
                    <a:pos x="706" y="1838"/>
                  </a:cxn>
                  <a:cxn ang="0">
                    <a:pos x="691" y="1847"/>
                  </a:cxn>
                  <a:cxn ang="0">
                    <a:pos x="675" y="1853"/>
                  </a:cxn>
                  <a:cxn ang="0">
                    <a:pos x="657" y="1855"/>
                  </a:cxn>
                  <a:cxn ang="0">
                    <a:pos x="79" y="1855"/>
                  </a:cxn>
                  <a:cxn ang="0">
                    <a:pos x="61" y="1853"/>
                  </a:cxn>
                  <a:cxn ang="0">
                    <a:pos x="44" y="1847"/>
                  </a:cxn>
                  <a:cxn ang="0">
                    <a:pos x="30" y="1838"/>
                  </a:cxn>
                  <a:cxn ang="0">
                    <a:pos x="17" y="1825"/>
                  </a:cxn>
                  <a:cxn ang="0">
                    <a:pos x="8" y="1811"/>
                  </a:cxn>
                  <a:cxn ang="0">
                    <a:pos x="2" y="1794"/>
                  </a:cxn>
                  <a:cxn ang="0">
                    <a:pos x="0" y="1776"/>
                  </a:cxn>
                  <a:cxn ang="0">
                    <a:pos x="0" y="79"/>
                  </a:cxn>
                  <a:cxn ang="0">
                    <a:pos x="2" y="60"/>
                  </a:cxn>
                  <a:cxn ang="0">
                    <a:pos x="8" y="44"/>
                  </a:cxn>
                  <a:cxn ang="0">
                    <a:pos x="17" y="29"/>
                  </a:cxn>
                  <a:cxn ang="0">
                    <a:pos x="30" y="17"/>
                  </a:cxn>
                  <a:cxn ang="0">
                    <a:pos x="44" y="8"/>
                  </a:cxn>
                  <a:cxn ang="0">
                    <a:pos x="61" y="2"/>
                  </a:cxn>
                  <a:cxn ang="0">
                    <a:pos x="79" y="0"/>
                  </a:cxn>
                </a:cxnLst>
                <a:rect l="0" t="0" r="r" b="b"/>
                <a:pathLst>
                  <a:path w="736" h="1855">
                    <a:moveTo>
                      <a:pt x="79" y="0"/>
                    </a:moveTo>
                    <a:lnTo>
                      <a:pt x="657" y="0"/>
                    </a:lnTo>
                    <a:lnTo>
                      <a:pt x="675" y="2"/>
                    </a:lnTo>
                    <a:lnTo>
                      <a:pt x="691" y="8"/>
                    </a:lnTo>
                    <a:lnTo>
                      <a:pt x="706" y="17"/>
                    </a:lnTo>
                    <a:lnTo>
                      <a:pt x="718" y="29"/>
                    </a:lnTo>
                    <a:lnTo>
                      <a:pt x="728" y="44"/>
                    </a:lnTo>
                    <a:lnTo>
                      <a:pt x="733" y="60"/>
                    </a:lnTo>
                    <a:lnTo>
                      <a:pt x="736" y="79"/>
                    </a:lnTo>
                    <a:lnTo>
                      <a:pt x="736" y="1776"/>
                    </a:lnTo>
                    <a:lnTo>
                      <a:pt x="733" y="1794"/>
                    </a:lnTo>
                    <a:lnTo>
                      <a:pt x="728" y="1811"/>
                    </a:lnTo>
                    <a:lnTo>
                      <a:pt x="718" y="1825"/>
                    </a:lnTo>
                    <a:lnTo>
                      <a:pt x="706" y="1838"/>
                    </a:lnTo>
                    <a:lnTo>
                      <a:pt x="691" y="1847"/>
                    </a:lnTo>
                    <a:lnTo>
                      <a:pt x="675" y="1853"/>
                    </a:lnTo>
                    <a:lnTo>
                      <a:pt x="657" y="1855"/>
                    </a:lnTo>
                    <a:lnTo>
                      <a:pt x="79" y="1855"/>
                    </a:lnTo>
                    <a:lnTo>
                      <a:pt x="61" y="1853"/>
                    </a:lnTo>
                    <a:lnTo>
                      <a:pt x="44" y="1847"/>
                    </a:lnTo>
                    <a:lnTo>
                      <a:pt x="30" y="1838"/>
                    </a:lnTo>
                    <a:lnTo>
                      <a:pt x="17" y="1825"/>
                    </a:lnTo>
                    <a:lnTo>
                      <a:pt x="8" y="1811"/>
                    </a:lnTo>
                    <a:lnTo>
                      <a:pt x="2" y="1794"/>
                    </a:lnTo>
                    <a:lnTo>
                      <a:pt x="0" y="1776"/>
                    </a:lnTo>
                    <a:lnTo>
                      <a:pt x="0" y="79"/>
                    </a:lnTo>
                    <a:lnTo>
                      <a:pt x="2" y="60"/>
                    </a:lnTo>
                    <a:lnTo>
                      <a:pt x="8" y="44"/>
                    </a:lnTo>
                    <a:lnTo>
                      <a:pt x="17" y="29"/>
                    </a:lnTo>
                    <a:lnTo>
                      <a:pt x="30" y="17"/>
                    </a:lnTo>
                    <a:lnTo>
                      <a:pt x="44" y="8"/>
                    </a:lnTo>
                    <a:lnTo>
                      <a:pt x="61" y="2"/>
                    </a:lnTo>
                    <a:lnTo>
                      <a:pt x="79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95000"/>
                      <a:lumOff val="5000"/>
                    </a:schemeClr>
                  </a:gs>
                  <a:gs pos="100000">
                    <a:schemeClr val="tx1">
                      <a:lumMod val="75000"/>
                      <a:lumOff val="2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4" name="Freeform 8"/>
              <p:cNvSpPr>
                <a:spLocks noEditPoints="1"/>
              </p:cNvSpPr>
              <p:nvPr/>
            </p:nvSpPr>
            <p:spPr bwMode="auto">
              <a:xfrm>
                <a:off x="2226018" y="1676400"/>
                <a:ext cx="1140482" cy="2835299"/>
              </a:xfrm>
              <a:custGeom>
                <a:avLst/>
                <a:gdLst/>
                <a:ahLst/>
                <a:cxnLst>
                  <a:cxn ang="0">
                    <a:pos x="72" y="19"/>
                  </a:cxn>
                  <a:cxn ang="0">
                    <a:pos x="44" y="33"/>
                  </a:cxn>
                  <a:cxn ang="0">
                    <a:pos x="25" y="56"/>
                  </a:cxn>
                  <a:cxn ang="0">
                    <a:pos x="18" y="88"/>
                  </a:cxn>
                  <a:cxn ang="0">
                    <a:pos x="20" y="1801"/>
                  </a:cxn>
                  <a:cxn ang="0">
                    <a:pos x="33" y="1829"/>
                  </a:cxn>
                  <a:cxn ang="0">
                    <a:pos x="57" y="1848"/>
                  </a:cxn>
                  <a:cxn ang="0">
                    <a:pos x="88" y="1855"/>
                  </a:cxn>
                  <a:cxn ang="0">
                    <a:pos x="682" y="1853"/>
                  </a:cxn>
                  <a:cxn ang="0">
                    <a:pos x="709" y="1840"/>
                  </a:cxn>
                  <a:cxn ang="0">
                    <a:pos x="729" y="1816"/>
                  </a:cxn>
                  <a:cxn ang="0">
                    <a:pos x="735" y="1785"/>
                  </a:cxn>
                  <a:cxn ang="0">
                    <a:pos x="734" y="72"/>
                  </a:cxn>
                  <a:cxn ang="0">
                    <a:pos x="720" y="44"/>
                  </a:cxn>
                  <a:cxn ang="0">
                    <a:pos x="697" y="25"/>
                  </a:cxn>
                  <a:cxn ang="0">
                    <a:pos x="666" y="18"/>
                  </a:cxn>
                  <a:cxn ang="0">
                    <a:pos x="88" y="0"/>
                  </a:cxn>
                  <a:cxn ang="0">
                    <a:pos x="686" y="3"/>
                  </a:cxn>
                  <a:cxn ang="0">
                    <a:pos x="720" y="19"/>
                  </a:cxn>
                  <a:cxn ang="0">
                    <a:pos x="744" y="49"/>
                  </a:cxn>
                  <a:cxn ang="0">
                    <a:pos x="753" y="88"/>
                  </a:cxn>
                  <a:cxn ang="0">
                    <a:pos x="751" y="1805"/>
                  </a:cxn>
                  <a:cxn ang="0">
                    <a:pos x="734" y="1840"/>
                  </a:cxn>
                  <a:cxn ang="0">
                    <a:pos x="704" y="1863"/>
                  </a:cxn>
                  <a:cxn ang="0">
                    <a:pos x="666" y="1872"/>
                  </a:cxn>
                  <a:cxn ang="0">
                    <a:pos x="68" y="1870"/>
                  </a:cxn>
                  <a:cxn ang="0">
                    <a:pos x="33" y="1853"/>
                  </a:cxn>
                  <a:cxn ang="0">
                    <a:pos x="10" y="1824"/>
                  </a:cxn>
                  <a:cxn ang="0">
                    <a:pos x="0" y="1785"/>
                  </a:cxn>
                  <a:cxn ang="0">
                    <a:pos x="3" y="67"/>
                  </a:cxn>
                  <a:cxn ang="0">
                    <a:pos x="20" y="33"/>
                  </a:cxn>
                  <a:cxn ang="0">
                    <a:pos x="50" y="9"/>
                  </a:cxn>
                  <a:cxn ang="0">
                    <a:pos x="88" y="0"/>
                  </a:cxn>
                </a:cxnLst>
                <a:rect l="0" t="0" r="r" b="b"/>
                <a:pathLst>
                  <a:path w="753" h="1872">
                    <a:moveTo>
                      <a:pt x="88" y="18"/>
                    </a:moveTo>
                    <a:lnTo>
                      <a:pt x="72" y="19"/>
                    </a:lnTo>
                    <a:lnTo>
                      <a:pt x="57" y="25"/>
                    </a:lnTo>
                    <a:lnTo>
                      <a:pt x="44" y="33"/>
                    </a:lnTo>
                    <a:lnTo>
                      <a:pt x="33" y="44"/>
                    </a:lnTo>
                    <a:lnTo>
                      <a:pt x="25" y="56"/>
                    </a:lnTo>
                    <a:lnTo>
                      <a:pt x="20" y="72"/>
                    </a:lnTo>
                    <a:lnTo>
                      <a:pt x="18" y="88"/>
                    </a:lnTo>
                    <a:lnTo>
                      <a:pt x="18" y="1785"/>
                    </a:lnTo>
                    <a:lnTo>
                      <a:pt x="20" y="1801"/>
                    </a:lnTo>
                    <a:lnTo>
                      <a:pt x="25" y="1816"/>
                    </a:lnTo>
                    <a:lnTo>
                      <a:pt x="33" y="1829"/>
                    </a:lnTo>
                    <a:lnTo>
                      <a:pt x="44" y="1840"/>
                    </a:lnTo>
                    <a:lnTo>
                      <a:pt x="57" y="1848"/>
                    </a:lnTo>
                    <a:lnTo>
                      <a:pt x="72" y="1853"/>
                    </a:lnTo>
                    <a:lnTo>
                      <a:pt x="88" y="1855"/>
                    </a:lnTo>
                    <a:lnTo>
                      <a:pt x="666" y="1855"/>
                    </a:lnTo>
                    <a:lnTo>
                      <a:pt x="682" y="1853"/>
                    </a:lnTo>
                    <a:lnTo>
                      <a:pt x="697" y="1848"/>
                    </a:lnTo>
                    <a:lnTo>
                      <a:pt x="709" y="1840"/>
                    </a:lnTo>
                    <a:lnTo>
                      <a:pt x="720" y="1829"/>
                    </a:lnTo>
                    <a:lnTo>
                      <a:pt x="729" y="1816"/>
                    </a:lnTo>
                    <a:lnTo>
                      <a:pt x="734" y="1801"/>
                    </a:lnTo>
                    <a:lnTo>
                      <a:pt x="735" y="1785"/>
                    </a:lnTo>
                    <a:lnTo>
                      <a:pt x="735" y="88"/>
                    </a:lnTo>
                    <a:lnTo>
                      <a:pt x="734" y="72"/>
                    </a:lnTo>
                    <a:lnTo>
                      <a:pt x="729" y="56"/>
                    </a:lnTo>
                    <a:lnTo>
                      <a:pt x="720" y="44"/>
                    </a:lnTo>
                    <a:lnTo>
                      <a:pt x="709" y="33"/>
                    </a:lnTo>
                    <a:lnTo>
                      <a:pt x="697" y="25"/>
                    </a:lnTo>
                    <a:lnTo>
                      <a:pt x="682" y="19"/>
                    </a:lnTo>
                    <a:lnTo>
                      <a:pt x="666" y="18"/>
                    </a:lnTo>
                    <a:lnTo>
                      <a:pt x="88" y="18"/>
                    </a:lnTo>
                    <a:close/>
                    <a:moveTo>
                      <a:pt x="88" y="0"/>
                    </a:moveTo>
                    <a:lnTo>
                      <a:pt x="666" y="0"/>
                    </a:lnTo>
                    <a:lnTo>
                      <a:pt x="686" y="3"/>
                    </a:lnTo>
                    <a:lnTo>
                      <a:pt x="704" y="9"/>
                    </a:lnTo>
                    <a:lnTo>
                      <a:pt x="720" y="19"/>
                    </a:lnTo>
                    <a:lnTo>
                      <a:pt x="734" y="33"/>
                    </a:lnTo>
                    <a:lnTo>
                      <a:pt x="744" y="49"/>
                    </a:lnTo>
                    <a:lnTo>
                      <a:pt x="751" y="67"/>
                    </a:lnTo>
                    <a:lnTo>
                      <a:pt x="753" y="88"/>
                    </a:lnTo>
                    <a:lnTo>
                      <a:pt x="753" y="1785"/>
                    </a:lnTo>
                    <a:lnTo>
                      <a:pt x="751" y="1805"/>
                    </a:lnTo>
                    <a:lnTo>
                      <a:pt x="744" y="1824"/>
                    </a:lnTo>
                    <a:lnTo>
                      <a:pt x="734" y="1840"/>
                    </a:lnTo>
                    <a:lnTo>
                      <a:pt x="720" y="1853"/>
                    </a:lnTo>
                    <a:lnTo>
                      <a:pt x="704" y="1863"/>
                    </a:lnTo>
                    <a:lnTo>
                      <a:pt x="686" y="1870"/>
                    </a:lnTo>
                    <a:lnTo>
                      <a:pt x="666" y="1872"/>
                    </a:lnTo>
                    <a:lnTo>
                      <a:pt x="88" y="1872"/>
                    </a:lnTo>
                    <a:lnTo>
                      <a:pt x="68" y="1870"/>
                    </a:lnTo>
                    <a:lnTo>
                      <a:pt x="50" y="1863"/>
                    </a:lnTo>
                    <a:lnTo>
                      <a:pt x="33" y="1853"/>
                    </a:lnTo>
                    <a:lnTo>
                      <a:pt x="20" y="1840"/>
                    </a:lnTo>
                    <a:lnTo>
                      <a:pt x="10" y="1824"/>
                    </a:lnTo>
                    <a:lnTo>
                      <a:pt x="3" y="1805"/>
                    </a:lnTo>
                    <a:lnTo>
                      <a:pt x="0" y="1785"/>
                    </a:lnTo>
                    <a:lnTo>
                      <a:pt x="0" y="88"/>
                    </a:lnTo>
                    <a:lnTo>
                      <a:pt x="3" y="67"/>
                    </a:lnTo>
                    <a:lnTo>
                      <a:pt x="10" y="49"/>
                    </a:lnTo>
                    <a:lnTo>
                      <a:pt x="20" y="33"/>
                    </a:lnTo>
                    <a:lnTo>
                      <a:pt x="33" y="19"/>
                    </a:lnTo>
                    <a:lnTo>
                      <a:pt x="50" y="9"/>
                    </a:lnTo>
                    <a:lnTo>
                      <a:pt x="68" y="3"/>
                    </a:lnTo>
                    <a:lnTo>
                      <a:pt x="88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  <a:shade val="30000"/>
                      <a:satMod val="115000"/>
                    </a:schemeClr>
                  </a:gs>
                  <a:gs pos="50000">
                    <a:schemeClr val="tx1">
                      <a:lumMod val="75000"/>
                      <a:lumOff val="25000"/>
                      <a:shade val="67500"/>
                      <a:satMod val="115000"/>
                    </a:schemeClr>
                  </a:gs>
                  <a:gs pos="100000">
                    <a:schemeClr val="tx1">
                      <a:lumMod val="75000"/>
                      <a:lumOff val="2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5" name="Freeform 24"/>
              <p:cNvSpPr>
                <a:spLocks/>
              </p:cNvSpPr>
              <p:nvPr/>
            </p:nvSpPr>
            <p:spPr bwMode="auto">
              <a:xfrm>
                <a:off x="1903412" y="1853606"/>
                <a:ext cx="322607" cy="75880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3" y="0"/>
                  </a:cxn>
                  <a:cxn ang="0">
                    <a:pos x="213" y="501"/>
                  </a:cxn>
                  <a:cxn ang="0">
                    <a:pos x="163" y="501"/>
                  </a:cxn>
                  <a:cxn ang="0">
                    <a:pos x="163" y="250"/>
                  </a:cxn>
                  <a:cxn ang="0">
                    <a:pos x="0" y="0"/>
                  </a:cxn>
                </a:cxnLst>
                <a:rect l="0" t="0" r="r" b="b"/>
                <a:pathLst>
                  <a:path w="213" h="501">
                    <a:moveTo>
                      <a:pt x="0" y="0"/>
                    </a:moveTo>
                    <a:lnTo>
                      <a:pt x="213" y="0"/>
                    </a:lnTo>
                    <a:lnTo>
                      <a:pt x="213" y="501"/>
                    </a:lnTo>
                    <a:lnTo>
                      <a:pt x="163" y="501"/>
                    </a:lnTo>
                    <a:lnTo>
                      <a:pt x="163" y="25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6" name="Freeform 25"/>
              <p:cNvSpPr>
                <a:spLocks/>
              </p:cNvSpPr>
              <p:nvPr/>
            </p:nvSpPr>
            <p:spPr bwMode="auto">
              <a:xfrm>
                <a:off x="1903412" y="2724491"/>
                <a:ext cx="322607" cy="75880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3" y="0"/>
                  </a:cxn>
                  <a:cxn ang="0">
                    <a:pos x="213" y="501"/>
                  </a:cxn>
                  <a:cxn ang="0">
                    <a:pos x="163" y="501"/>
                  </a:cxn>
                  <a:cxn ang="0">
                    <a:pos x="163" y="250"/>
                  </a:cxn>
                  <a:cxn ang="0">
                    <a:pos x="0" y="0"/>
                  </a:cxn>
                </a:cxnLst>
                <a:rect l="0" t="0" r="r" b="b"/>
                <a:pathLst>
                  <a:path w="213" h="501">
                    <a:moveTo>
                      <a:pt x="0" y="0"/>
                    </a:moveTo>
                    <a:lnTo>
                      <a:pt x="213" y="0"/>
                    </a:lnTo>
                    <a:lnTo>
                      <a:pt x="213" y="501"/>
                    </a:lnTo>
                    <a:lnTo>
                      <a:pt x="163" y="501"/>
                    </a:lnTo>
                    <a:lnTo>
                      <a:pt x="163" y="25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7" name="Freeform 26"/>
              <p:cNvSpPr>
                <a:spLocks/>
              </p:cNvSpPr>
              <p:nvPr/>
            </p:nvSpPr>
            <p:spPr bwMode="auto">
              <a:xfrm>
                <a:off x="1903412" y="3554483"/>
                <a:ext cx="322607" cy="75729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3" y="0"/>
                  </a:cxn>
                  <a:cxn ang="0">
                    <a:pos x="213" y="500"/>
                  </a:cxn>
                  <a:cxn ang="0">
                    <a:pos x="163" y="500"/>
                  </a:cxn>
                  <a:cxn ang="0">
                    <a:pos x="163" y="250"/>
                  </a:cxn>
                  <a:cxn ang="0">
                    <a:pos x="0" y="0"/>
                  </a:cxn>
                </a:cxnLst>
                <a:rect l="0" t="0" r="r" b="b"/>
                <a:pathLst>
                  <a:path w="213" h="500">
                    <a:moveTo>
                      <a:pt x="0" y="0"/>
                    </a:moveTo>
                    <a:lnTo>
                      <a:pt x="213" y="0"/>
                    </a:lnTo>
                    <a:lnTo>
                      <a:pt x="213" y="500"/>
                    </a:lnTo>
                    <a:lnTo>
                      <a:pt x="163" y="500"/>
                    </a:lnTo>
                    <a:lnTo>
                      <a:pt x="163" y="25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8" name="Freeform 27"/>
              <p:cNvSpPr>
                <a:spLocks/>
              </p:cNvSpPr>
              <p:nvPr/>
            </p:nvSpPr>
            <p:spPr bwMode="auto">
              <a:xfrm>
                <a:off x="3358926" y="1853606"/>
                <a:ext cx="321092" cy="75880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2" y="0"/>
                  </a:cxn>
                  <a:cxn ang="0">
                    <a:pos x="50" y="250"/>
                  </a:cxn>
                  <a:cxn ang="0">
                    <a:pos x="50" y="501"/>
                  </a:cxn>
                  <a:cxn ang="0">
                    <a:pos x="0" y="501"/>
                  </a:cxn>
                  <a:cxn ang="0">
                    <a:pos x="0" y="0"/>
                  </a:cxn>
                </a:cxnLst>
                <a:rect l="0" t="0" r="r" b="b"/>
                <a:pathLst>
                  <a:path w="212" h="501">
                    <a:moveTo>
                      <a:pt x="0" y="0"/>
                    </a:moveTo>
                    <a:lnTo>
                      <a:pt x="212" y="0"/>
                    </a:lnTo>
                    <a:lnTo>
                      <a:pt x="50" y="250"/>
                    </a:lnTo>
                    <a:lnTo>
                      <a:pt x="50" y="501"/>
                    </a:lnTo>
                    <a:lnTo>
                      <a:pt x="0" y="501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9" name="Freeform 28"/>
              <p:cNvSpPr>
                <a:spLocks/>
              </p:cNvSpPr>
              <p:nvPr/>
            </p:nvSpPr>
            <p:spPr bwMode="auto">
              <a:xfrm>
                <a:off x="3358926" y="2724491"/>
                <a:ext cx="321092" cy="75880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2" y="0"/>
                  </a:cxn>
                  <a:cxn ang="0">
                    <a:pos x="50" y="250"/>
                  </a:cxn>
                  <a:cxn ang="0">
                    <a:pos x="50" y="501"/>
                  </a:cxn>
                  <a:cxn ang="0">
                    <a:pos x="0" y="501"/>
                  </a:cxn>
                  <a:cxn ang="0">
                    <a:pos x="0" y="0"/>
                  </a:cxn>
                </a:cxnLst>
                <a:rect l="0" t="0" r="r" b="b"/>
                <a:pathLst>
                  <a:path w="212" h="501">
                    <a:moveTo>
                      <a:pt x="0" y="0"/>
                    </a:moveTo>
                    <a:lnTo>
                      <a:pt x="212" y="0"/>
                    </a:lnTo>
                    <a:lnTo>
                      <a:pt x="50" y="250"/>
                    </a:lnTo>
                    <a:lnTo>
                      <a:pt x="50" y="501"/>
                    </a:lnTo>
                    <a:lnTo>
                      <a:pt x="0" y="501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60" name="Freeform 29"/>
              <p:cNvSpPr>
                <a:spLocks/>
              </p:cNvSpPr>
              <p:nvPr/>
            </p:nvSpPr>
            <p:spPr bwMode="auto">
              <a:xfrm>
                <a:off x="3358926" y="3554483"/>
                <a:ext cx="321092" cy="75729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2" y="0"/>
                  </a:cxn>
                  <a:cxn ang="0">
                    <a:pos x="50" y="250"/>
                  </a:cxn>
                  <a:cxn ang="0">
                    <a:pos x="50" y="500"/>
                  </a:cxn>
                  <a:cxn ang="0">
                    <a:pos x="0" y="500"/>
                  </a:cxn>
                  <a:cxn ang="0">
                    <a:pos x="0" y="0"/>
                  </a:cxn>
                </a:cxnLst>
                <a:rect l="0" t="0" r="r" b="b"/>
                <a:pathLst>
                  <a:path w="212" h="500">
                    <a:moveTo>
                      <a:pt x="0" y="0"/>
                    </a:moveTo>
                    <a:lnTo>
                      <a:pt x="212" y="0"/>
                    </a:lnTo>
                    <a:lnTo>
                      <a:pt x="50" y="250"/>
                    </a:lnTo>
                    <a:lnTo>
                      <a:pt x="50" y="500"/>
                    </a:lnTo>
                    <a:lnTo>
                      <a:pt x="0" y="50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grpSp>
            <p:nvGrpSpPr>
              <p:cNvPr id="461" name="Group 33"/>
              <p:cNvGrpSpPr/>
              <p:nvPr/>
            </p:nvGrpSpPr>
            <p:grpSpPr>
              <a:xfrm>
                <a:off x="2442604" y="1894500"/>
                <a:ext cx="708825" cy="707311"/>
                <a:chOff x="5722938" y="1676401"/>
                <a:chExt cx="742950" cy="741363"/>
              </a:xfrm>
              <a:effectLst>
                <a:outerShdw blurRad="38100" dist="63500" dir="2700000" algn="tl" rotWithShape="0">
                  <a:prstClr val="black">
                    <a:alpha val="99000"/>
                  </a:prstClr>
                </a:outerShdw>
              </a:effectLst>
            </p:grpSpPr>
            <p:sp>
              <p:nvSpPr>
                <p:cNvPr id="468" name="Freeform 17"/>
                <p:cNvSpPr>
                  <a:spLocks/>
                </p:cNvSpPr>
                <p:nvPr/>
              </p:nvSpPr>
              <p:spPr bwMode="auto">
                <a:xfrm>
                  <a:off x="5722938" y="1676401"/>
                  <a:ext cx="742950" cy="741363"/>
                </a:xfrm>
                <a:custGeom>
                  <a:avLst/>
                  <a:gdLst/>
                  <a:ahLst/>
                  <a:cxnLst>
                    <a:cxn ang="0">
                      <a:pos x="234" y="0"/>
                    </a:cxn>
                    <a:cxn ang="0">
                      <a:pos x="266" y="2"/>
                    </a:cxn>
                    <a:cxn ang="0">
                      <a:pos x="296" y="8"/>
                    </a:cxn>
                    <a:cxn ang="0">
                      <a:pos x="325" y="18"/>
                    </a:cxn>
                    <a:cxn ang="0">
                      <a:pos x="352" y="32"/>
                    </a:cxn>
                    <a:cxn ang="0">
                      <a:pos x="377" y="48"/>
                    </a:cxn>
                    <a:cxn ang="0">
                      <a:pos x="400" y="68"/>
                    </a:cxn>
                    <a:cxn ang="0">
                      <a:pos x="420" y="90"/>
                    </a:cxn>
                    <a:cxn ang="0">
                      <a:pos x="436" y="115"/>
                    </a:cxn>
                    <a:cxn ang="0">
                      <a:pos x="450" y="142"/>
                    </a:cxn>
                    <a:cxn ang="0">
                      <a:pos x="460" y="171"/>
                    </a:cxn>
                    <a:cxn ang="0">
                      <a:pos x="466" y="201"/>
                    </a:cxn>
                    <a:cxn ang="0">
                      <a:pos x="468" y="233"/>
                    </a:cxn>
                    <a:cxn ang="0">
                      <a:pos x="466" y="265"/>
                    </a:cxn>
                    <a:cxn ang="0">
                      <a:pos x="460" y="295"/>
                    </a:cxn>
                    <a:cxn ang="0">
                      <a:pos x="450" y="324"/>
                    </a:cxn>
                    <a:cxn ang="0">
                      <a:pos x="436" y="351"/>
                    </a:cxn>
                    <a:cxn ang="0">
                      <a:pos x="420" y="376"/>
                    </a:cxn>
                    <a:cxn ang="0">
                      <a:pos x="400" y="399"/>
                    </a:cxn>
                    <a:cxn ang="0">
                      <a:pos x="377" y="418"/>
                    </a:cxn>
                    <a:cxn ang="0">
                      <a:pos x="352" y="435"/>
                    </a:cxn>
                    <a:cxn ang="0">
                      <a:pos x="325" y="449"/>
                    </a:cxn>
                    <a:cxn ang="0">
                      <a:pos x="296" y="459"/>
                    </a:cxn>
                    <a:cxn ang="0">
                      <a:pos x="266" y="465"/>
                    </a:cxn>
                    <a:cxn ang="0">
                      <a:pos x="234" y="467"/>
                    </a:cxn>
                    <a:cxn ang="0">
                      <a:pos x="202" y="465"/>
                    </a:cxn>
                    <a:cxn ang="0">
                      <a:pos x="171" y="459"/>
                    </a:cxn>
                    <a:cxn ang="0">
                      <a:pos x="142" y="449"/>
                    </a:cxn>
                    <a:cxn ang="0">
                      <a:pos x="116" y="435"/>
                    </a:cxn>
                    <a:cxn ang="0">
                      <a:pos x="91" y="418"/>
                    </a:cxn>
                    <a:cxn ang="0">
                      <a:pos x="68" y="399"/>
                    </a:cxn>
                    <a:cxn ang="0">
                      <a:pos x="49" y="376"/>
                    </a:cxn>
                    <a:cxn ang="0">
                      <a:pos x="32" y="351"/>
                    </a:cxn>
                    <a:cxn ang="0">
                      <a:pos x="18" y="324"/>
                    </a:cxn>
                    <a:cxn ang="0">
                      <a:pos x="8" y="295"/>
                    </a:cxn>
                    <a:cxn ang="0">
                      <a:pos x="2" y="265"/>
                    </a:cxn>
                    <a:cxn ang="0">
                      <a:pos x="0" y="233"/>
                    </a:cxn>
                    <a:cxn ang="0">
                      <a:pos x="2" y="201"/>
                    </a:cxn>
                    <a:cxn ang="0">
                      <a:pos x="8" y="171"/>
                    </a:cxn>
                    <a:cxn ang="0">
                      <a:pos x="18" y="142"/>
                    </a:cxn>
                    <a:cxn ang="0">
                      <a:pos x="32" y="115"/>
                    </a:cxn>
                    <a:cxn ang="0">
                      <a:pos x="49" y="90"/>
                    </a:cxn>
                    <a:cxn ang="0">
                      <a:pos x="68" y="68"/>
                    </a:cxn>
                    <a:cxn ang="0">
                      <a:pos x="91" y="48"/>
                    </a:cxn>
                    <a:cxn ang="0">
                      <a:pos x="116" y="32"/>
                    </a:cxn>
                    <a:cxn ang="0">
                      <a:pos x="142" y="18"/>
                    </a:cxn>
                    <a:cxn ang="0">
                      <a:pos x="171" y="8"/>
                    </a:cxn>
                    <a:cxn ang="0">
                      <a:pos x="202" y="2"/>
                    </a:cxn>
                    <a:cxn ang="0">
                      <a:pos x="234" y="0"/>
                    </a:cxn>
                  </a:cxnLst>
                  <a:rect l="0" t="0" r="r" b="b"/>
                  <a:pathLst>
                    <a:path w="468" h="467">
                      <a:moveTo>
                        <a:pt x="234" y="0"/>
                      </a:moveTo>
                      <a:lnTo>
                        <a:pt x="266" y="2"/>
                      </a:lnTo>
                      <a:lnTo>
                        <a:pt x="296" y="8"/>
                      </a:lnTo>
                      <a:lnTo>
                        <a:pt x="325" y="18"/>
                      </a:lnTo>
                      <a:lnTo>
                        <a:pt x="352" y="32"/>
                      </a:lnTo>
                      <a:lnTo>
                        <a:pt x="377" y="48"/>
                      </a:lnTo>
                      <a:lnTo>
                        <a:pt x="400" y="68"/>
                      </a:lnTo>
                      <a:lnTo>
                        <a:pt x="420" y="90"/>
                      </a:lnTo>
                      <a:lnTo>
                        <a:pt x="436" y="115"/>
                      </a:lnTo>
                      <a:lnTo>
                        <a:pt x="450" y="142"/>
                      </a:lnTo>
                      <a:lnTo>
                        <a:pt x="460" y="171"/>
                      </a:lnTo>
                      <a:lnTo>
                        <a:pt x="466" y="201"/>
                      </a:lnTo>
                      <a:lnTo>
                        <a:pt x="468" y="233"/>
                      </a:lnTo>
                      <a:lnTo>
                        <a:pt x="466" y="265"/>
                      </a:lnTo>
                      <a:lnTo>
                        <a:pt x="460" y="295"/>
                      </a:lnTo>
                      <a:lnTo>
                        <a:pt x="450" y="324"/>
                      </a:lnTo>
                      <a:lnTo>
                        <a:pt x="436" y="351"/>
                      </a:lnTo>
                      <a:lnTo>
                        <a:pt x="420" y="376"/>
                      </a:lnTo>
                      <a:lnTo>
                        <a:pt x="400" y="399"/>
                      </a:lnTo>
                      <a:lnTo>
                        <a:pt x="377" y="418"/>
                      </a:lnTo>
                      <a:lnTo>
                        <a:pt x="352" y="435"/>
                      </a:lnTo>
                      <a:lnTo>
                        <a:pt x="325" y="449"/>
                      </a:lnTo>
                      <a:lnTo>
                        <a:pt x="296" y="459"/>
                      </a:lnTo>
                      <a:lnTo>
                        <a:pt x="266" y="465"/>
                      </a:lnTo>
                      <a:lnTo>
                        <a:pt x="234" y="467"/>
                      </a:lnTo>
                      <a:lnTo>
                        <a:pt x="202" y="465"/>
                      </a:lnTo>
                      <a:lnTo>
                        <a:pt x="171" y="459"/>
                      </a:lnTo>
                      <a:lnTo>
                        <a:pt x="142" y="449"/>
                      </a:lnTo>
                      <a:lnTo>
                        <a:pt x="116" y="435"/>
                      </a:lnTo>
                      <a:lnTo>
                        <a:pt x="91" y="418"/>
                      </a:lnTo>
                      <a:lnTo>
                        <a:pt x="68" y="399"/>
                      </a:lnTo>
                      <a:lnTo>
                        <a:pt x="49" y="376"/>
                      </a:lnTo>
                      <a:lnTo>
                        <a:pt x="32" y="351"/>
                      </a:lnTo>
                      <a:lnTo>
                        <a:pt x="18" y="324"/>
                      </a:lnTo>
                      <a:lnTo>
                        <a:pt x="8" y="295"/>
                      </a:lnTo>
                      <a:lnTo>
                        <a:pt x="2" y="265"/>
                      </a:lnTo>
                      <a:lnTo>
                        <a:pt x="0" y="233"/>
                      </a:lnTo>
                      <a:lnTo>
                        <a:pt x="2" y="201"/>
                      </a:lnTo>
                      <a:lnTo>
                        <a:pt x="8" y="171"/>
                      </a:lnTo>
                      <a:lnTo>
                        <a:pt x="18" y="142"/>
                      </a:lnTo>
                      <a:lnTo>
                        <a:pt x="32" y="115"/>
                      </a:lnTo>
                      <a:lnTo>
                        <a:pt x="49" y="90"/>
                      </a:lnTo>
                      <a:lnTo>
                        <a:pt x="68" y="68"/>
                      </a:lnTo>
                      <a:lnTo>
                        <a:pt x="91" y="48"/>
                      </a:lnTo>
                      <a:lnTo>
                        <a:pt x="116" y="32"/>
                      </a:lnTo>
                      <a:lnTo>
                        <a:pt x="142" y="18"/>
                      </a:lnTo>
                      <a:lnTo>
                        <a:pt x="171" y="8"/>
                      </a:lnTo>
                      <a:lnTo>
                        <a:pt x="202" y="2"/>
                      </a:lnTo>
                      <a:lnTo>
                        <a:pt x="234" y="0"/>
                      </a:lnTo>
                      <a:close/>
                    </a:path>
                  </a:pathLst>
                </a:custGeom>
                <a:noFill/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128302" tIns="64151" rIns="128302" bIns="6415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710448"/>
                  <a:endParaRPr lang="en-US" sz="3368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469" name="Freeform 18"/>
                <p:cNvSpPr>
                  <a:spLocks/>
                </p:cNvSpPr>
                <p:nvPr/>
              </p:nvSpPr>
              <p:spPr bwMode="auto">
                <a:xfrm>
                  <a:off x="5746750" y="2032001"/>
                  <a:ext cx="695325" cy="36036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" y="31"/>
                    </a:cxn>
                    <a:cxn ang="0">
                      <a:pos x="12" y="61"/>
                    </a:cxn>
                    <a:cxn ang="0">
                      <a:pos x="23" y="89"/>
                    </a:cxn>
                    <a:cxn ang="0">
                      <a:pos x="38" y="115"/>
                    </a:cxn>
                    <a:cxn ang="0">
                      <a:pos x="56" y="138"/>
                    </a:cxn>
                    <a:cxn ang="0">
                      <a:pos x="78" y="159"/>
                    </a:cxn>
                    <a:cxn ang="0">
                      <a:pos x="102" y="176"/>
                    </a:cxn>
                    <a:cxn ang="0">
                      <a:pos x="128" y="190"/>
                    </a:cxn>
                    <a:cxn ang="0">
                      <a:pos x="157" y="200"/>
                    </a:cxn>
                    <a:cxn ang="0">
                      <a:pos x="187" y="207"/>
                    </a:cxn>
                    <a:cxn ang="0">
                      <a:pos x="219" y="209"/>
                    </a:cxn>
                    <a:cxn ang="0">
                      <a:pos x="250" y="207"/>
                    </a:cxn>
                    <a:cxn ang="0">
                      <a:pos x="280" y="200"/>
                    </a:cxn>
                    <a:cxn ang="0">
                      <a:pos x="309" y="190"/>
                    </a:cxn>
                    <a:cxn ang="0">
                      <a:pos x="335" y="176"/>
                    </a:cxn>
                    <a:cxn ang="0">
                      <a:pos x="360" y="159"/>
                    </a:cxn>
                    <a:cxn ang="0">
                      <a:pos x="381" y="138"/>
                    </a:cxn>
                    <a:cxn ang="0">
                      <a:pos x="399" y="115"/>
                    </a:cxn>
                    <a:cxn ang="0">
                      <a:pos x="414" y="89"/>
                    </a:cxn>
                    <a:cxn ang="0">
                      <a:pos x="426" y="61"/>
                    </a:cxn>
                    <a:cxn ang="0">
                      <a:pos x="433" y="31"/>
                    </a:cxn>
                    <a:cxn ang="0">
                      <a:pos x="437" y="0"/>
                    </a:cxn>
                    <a:cxn ang="0">
                      <a:pos x="437" y="3"/>
                    </a:cxn>
                    <a:cxn ang="0">
                      <a:pos x="438" y="6"/>
                    </a:cxn>
                    <a:cxn ang="0">
                      <a:pos x="438" y="8"/>
                    </a:cxn>
                    <a:cxn ang="0">
                      <a:pos x="436" y="41"/>
                    </a:cxn>
                    <a:cxn ang="0">
                      <a:pos x="429" y="71"/>
                    </a:cxn>
                    <a:cxn ang="0">
                      <a:pos x="417" y="100"/>
                    </a:cxn>
                    <a:cxn ang="0">
                      <a:pos x="403" y="127"/>
                    </a:cxn>
                    <a:cxn ang="0">
                      <a:pos x="384" y="152"/>
                    </a:cxn>
                    <a:cxn ang="0">
                      <a:pos x="363" y="173"/>
                    </a:cxn>
                    <a:cxn ang="0">
                      <a:pos x="338" y="192"/>
                    </a:cxn>
                    <a:cxn ang="0">
                      <a:pos x="311" y="206"/>
                    </a:cxn>
                    <a:cxn ang="0">
                      <a:pos x="282" y="218"/>
                    </a:cxn>
                    <a:cxn ang="0">
                      <a:pos x="251" y="225"/>
                    </a:cxn>
                    <a:cxn ang="0">
                      <a:pos x="219" y="227"/>
                    </a:cxn>
                    <a:cxn ang="0">
                      <a:pos x="186" y="225"/>
                    </a:cxn>
                    <a:cxn ang="0">
                      <a:pos x="155" y="218"/>
                    </a:cxn>
                    <a:cxn ang="0">
                      <a:pos x="127" y="206"/>
                    </a:cxn>
                    <a:cxn ang="0">
                      <a:pos x="100" y="192"/>
                    </a:cxn>
                    <a:cxn ang="0">
                      <a:pos x="76" y="173"/>
                    </a:cxn>
                    <a:cxn ang="0">
                      <a:pos x="53" y="152"/>
                    </a:cxn>
                    <a:cxn ang="0">
                      <a:pos x="35" y="127"/>
                    </a:cxn>
                    <a:cxn ang="0">
                      <a:pos x="21" y="100"/>
                    </a:cxn>
                    <a:cxn ang="0">
                      <a:pos x="9" y="71"/>
                    </a:cxn>
                    <a:cxn ang="0">
                      <a:pos x="2" y="41"/>
                    </a:cxn>
                    <a:cxn ang="0">
                      <a:pos x="0" y="8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38" h="227">
                      <a:moveTo>
                        <a:pt x="0" y="0"/>
                      </a:moveTo>
                      <a:lnTo>
                        <a:pt x="4" y="31"/>
                      </a:lnTo>
                      <a:lnTo>
                        <a:pt x="12" y="61"/>
                      </a:lnTo>
                      <a:lnTo>
                        <a:pt x="23" y="89"/>
                      </a:lnTo>
                      <a:lnTo>
                        <a:pt x="38" y="115"/>
                      </a:lnTo>
                      <a:lnTo>
                        <a:pt x="56" y="138"/>
                      </a:lnTo>
                      <a:lnTo>
                        <a:pt x="78" y="159"/>
                      </a:lnTo>
                      <a:lnTo>
                        <a:pt x="102" y="176"/>
                      </a:lnTo>
                      <a:lnTo>
                        <a:pt x="128" y="190"/>
                      </a:lnTo>
                      <a:lnTo>
                        <a:pt x="157" y="200"/>
                      </a:lnTo>
                      <a:lnTo>
                        <a:pt x="187" y="207"/>
                      </a:lnTo>
                      <a:lnTo>
                        <a:pt x="219" y="209"/>
                      </a:lnTo>
                      <a:lnTo>
                        <a:pt x="250" y="207"/>
                      </a:lnTo>
                      <a:lnTo>
                        <a:pt x="280" y="200"/>
                      </a:lnTo>
                      <a:lnTo>
                        <a:pt x="309" y="190"/>
                      </a:lnTo>
                      <a:lnTo>
                        <a:pt x="335" y="176"/>
                      </a:lnTo>
                      <a:lnTo>
                        <a:pt x="360" y="159"/>
                      </a:lnTo>
                      <a:lnTo>
                        <a:pt x="381" y="138"/>
                      </a:lnTo>
                      <a:lnTo>
                        <a:pt x="399" y="115"/>
                      </a:lnTo>
                      <a:lnTo>
                        <a:pt x="414" y="89"/>
                      </a:lnTo>
                      <a:lnTo>
                        <a:pt x="426" y="61"/>
                      </a:lnTo>
                      <a:lnTo>
                        <a:pt x="433" y="31"/>
                      </a:lnTo>
                      <a:lnTo>
                        <a:pt x="437" y="0"/>
                      </a:lnTo>
                      <a:lnTo>
                        <a:pt x="437" y="3"/>
                      </a:lnTo>
                      <a:lnTo>
                        <a:pt x="438" y="6"/>
                      </a:lnTo>
                      <a:lnTo>
                        <a:pt x="438" y="8"/>
                      </a:lnTo>
                      <a:lnTo>
                        <a:pt x="436" y="41"/>
                      </a:lnTo>
                      <a:lnTo>
                        <a:pt x="429" y="71"/>
                      </a:lnTo>
                      <a:lnTo>
                        <a:pt x="417" y="100"/>
                      </a:lnTo>
                      <a:lnTo>
                        <a:pt x="403" y="127"/>
                      </a:lnTo>
                      <a:lnTo>
                        <a:pt x="384" y="152"/>
                      </a:lnTo>
                      <a:lnTo>
                        <a:pt x="363" y="173"/>
                      </a:lnTo>
                      <a:lnTo>
                        <a:pt x="338" y="192"/>
                      </a:lnTo>
                      <a:lnTo>
                        <a:pt x="311" y="206"/>
                      </a:lnTo>
                      <a:lnTo>
                        <a:pt x="282" y="218"/>
                      </a:lnTo>
                      <a:lnTo>
                        <a:pt x="251" y="225"/>
                      </a:lnTo>
                      <a:lnTo>
                        <a:pt x="219" y="227"/>
                      </a:lnTo>
                      <a:lnTo>
                        <a:pt x="186" y="225"/>
                      </a:lnTo>
                      <a:lnTo>
                        <a:pt x="155" y="218"/>
                      </a:lnTo>
                      <a:lnTo>
                        <a:pt x="127" y="206"/>
                      </a:lnTo>
                      <a:lnTo>
                        <a:pt x="100" y="192"/>
                      </a:lnTo>
                      <a:lnTo>
                        <a:pt x="76" y="173"/>
                      </a:lnTo>
                      <a:lnTo>
                        <a:pt x="53" y="152"/>
                      </a:lnTo>
                      <a:lnTo>
                        <a:pt x="35" y="127"/>
                      </a:lnTo>
                      <a:lnTo>
                        <a:pt x="21" y="100"/>
                      </a:lnTo>
                      <a:lnTo>
                        <a:pt x="9" y="71"/>
                      </a:lnTo>
                      <a:lnTo>
                        <a:pt x="2" y="41"/>
                      </a:ln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>
                    <a:alpha val="33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128302" tIns="64151" rIns="128302" bIns="6415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710448"/>
                  <a:endParaRPr lang="en-US" sz="3368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462" name="Group 34"/>
              <p:cNvGrpSpPr/>
              <p:nvPr/>
            </p:nvGrpSpPr>
            <p:grpSpPr>
              <a:xfrm>
                <a:off x="2442609" y="1856926"/>
                <a:ext cx="708825" cy="1582447"/>
                <a:chOff x="5722936" y="1637019"/>
                <a:chExt cx="742949" cy="1658632"/>
              </a:xfrm>
              <a:effectLst>
                <a:outerShdw blurRad="38100" dist="63500" dir="2700000" algn="tl" rotWithShape="0">
                  <a:prstClr val="black">
                    <a:alpha val="99000"/>
                  </a:prstClr>
                </a:outerShdw>
              </a:effectLst>
            </p:grpSpPr>
            <p:sp>
              <p:nvSpPr>
                <p:cNvPr id="466" name="Freeform 13"/>
                <p:cNvSpPr>
                  <a:spLocks/>
                </p:cNvSpPr>
                <p:nvPr/>
              </p:nvSpPr>
              <p:spPr bwMode="auto">
                <a:xfrm>
                  <a:off x="5722936" y="1637019"/>
                  <a:ext cx="742949" cy="741360"/>
                </a:xfrm>
                <a:custGeom>
                  <a:avLst/>
                  <a:gdLst/>
                  <a:ahLst/>
                  <a:cxnLst>
                    <a:cxn ang="0">
                      <a:pos x="234" y="0"/>
                    </a:cxn>
                    <a:cxn ang="0">
                      <a:pos x="266" y="2"/>
                    </a:cxn>
                    <a:cxn ang="0">
                      <a:pos x="296" y="8"/>
                    </a:cxn>
                    <a:cxn ang="0">
                      <a:pos x="325" y="18"/>
                    </a:cxn>
                    <a:cxn ang="0">
                      <a:pos x="352" y="32"/>
                    </a:cxn>
                    <a:cxn ang="0">
                      <a:pos x="377" y="48"/>
                    </a:cxn>
                    <a:cxn ang="0">
                      <a:pos x="400" y="68"/>
                    </a:cxn>
                    <a:cxn ang="0">
                      <a:pos x="420" y="90"/>
                    </a:cxn>
                    <a:cxn ang="0">
                      <a:pos x="436" y="115"/>
                    </a:cxn>
                    <a:cxn ang="0">
                      <a:pos x="450" y="142"/>
                    </a:cxn>
                    <a:cxn ang="0">
                      <a:pos x="460" y="171"/>
                    </a:cxn>
                    <a:cxn ang="0">
                      <a:pos x="466" y="201"/>
                    </a:cxn>
                    <a:cxn ang="0">
                      <a:pos x="468" y="233"/>
                    </a:cxn>
                    <a:cxn ang="0">
                      <a:pos x="466" y="265"/>
                    </a:cxn>
                    <a:cxn ang="0">
                      <a:pos x="460" y="295"/>
                    </a:cxn>
                    <a:cxn ang="0">
                      <a:pos x="450" y="324"/>
                    </a:cxn>
                    <a:cxn ang="0">
                      <a:pos x="436" y="351"/>
                    </a:cxn>
                    <a:cxn ang="0">
                      <a:pos x="420" y="376"/>
                    </a:cxn>
                    <a:cxn ang="0">
                      <a:pos x="400" y="398"/>
                    </a:cxn>
                    <a:cxn ang="0">
                      <a:pos x="377" y="418"/>
                    </a:cxn>
                    <a:cxn ang="0">
                      <a:pos x="352" y="435"/>
                    </a:cxn>
                    <a:cxn ang="0">
                      <a:pos x="325" y="448"/>
                    </a:cxn>
                    <a:cxn ang="0">
                      <a:pos x="296" y="458"/>
                    </a:cxn>
                    <a:cxn ang="0">
                      <a:pos x="266" y="464"/>
                    </a:cxn>
                    <a:cxn ang="0">
                      <a:pos x="234" y="467"/>
                    </a:cxn>
                    <a:cxn ang="0">
                      <a:pos x="202" y="464"/>
                    </a:cxn>
                    <a:cxn ang="0">
                      <a:pos x="171" y="458"/>
                    </a:cxn>
                    <a:cxn ang="0">
                      <a:pos x="142" y="448"/>
                    </a:cxn>
                    <a:cxn ang="0">
                      <a:pos x="116" y="435"/>
                    </a:cxn>
                    <a:cxn ang="0">
                      <a:pos x="91" y="418"/>
                    </a:cxn>
                    <a:cxn ang="0">
                      <a:pos x="68" y="398"/>
                    </a:cxn>
                    <a:cxn ang="0">
                      <a:pos x="49" y="376"/>
                    </a:cxn>
                    <a:cxn ang="0">
                      <a:pos x="32" y="351"/>
                    </a:cxn>
                    <a:cxn ang="0">
                      <a:pos x="18" y="324"/>
                    </a:cxn>
                    <a:cxn ang="0">
                      <a:pos x="8" y="295"/>
                    </a:cxn>
                    <a:cxn ang="0">
                      <a:pos x="2" y="265"/>
                    </a:cxn>
                    <a:cxn ang="0">
                      <a:pos x="0" y="233"/>
                    </a:cxn>
                    <a:cxn ang="0">
                      <a:pos x="2" y="201"/>
                    </a:cxn>
                    <a:cxn ang="0">
                      <a:pos x="8" y="171"/>
                    </a:cxn>
                    <a:cxn ang="0">
                      <a:pos x="18" y="142"/>
                    </a:cxn>
                    <a:cxn ang="0">
                      <a:pos x="32" y="115"/>
                    </a:cxn>
                    <a:cxn ang="0">
                      <a:pos x="49" y="90"/>
                    </a:cxn>
                    <a:cxn ang="0">
                      <a:pos x="68" y="68"/>
                    </a:cxn>
                    <a:cxn ang="0">
                      <a:pos x="91" y="48"/>
                    </a:cxn>
                    <a:cxn ang="0">
                      <a:pos x="116" y="32"/>
                    </a:cxn>
                    <a:cxn ang="0">
                      <a:pos x="142" y="18"/>
                    </a:cxn>
                    <a:cxn ang="0">
                      <a:pos x="171" y="8"/>
                    </a:cxn>
                    <a:cxn ang="0">
                      <a:pos x="202" y="2"/>
                    </a:cxn>
                    <a:cxn ang="0">
                      <a:pos x="234" y="0"/>
                    </a:cxn>
                  </a:cxnLst>
                  <a:rect l="0" t="0" r="r" b="b"/>
                  <a:pathLst>
                    <a:path w="468" h="467">
                      <a:moveTo>
                        <a:pt x="234" y="0"/>
                      </a:moveTo>
                      <a:lnTo>
                        <a:pt x="266" y="2"/>
                      </a:lnTo>
                      <a:lnTo>
                        <a:pt x="296" y="8"/>
                      </a:lnTo>
                      <a:lnTo>
                        <a:pt x="325" y="18"/>
                      </a:lnTo>
                      <a:lnTo>
                        <a:pt x="352" y="32"/>
                      </a:lnTo>
                      <a:lnTo>
                        <a:pt x="377" y="48"/>
                      </a:lnTo>
                      <a:lnTo>
                        <a:pt x="400" y="68"/>
                      </a:lnTo>
                      <a:lnTo>
                        <a:pt x="420" y="90"/>
                      </a:lnTo>
                      <a:lnTo>
                        <a:pt x="436" y="115"/>
                      </a:lnTo>
                      <a:lnTo>
                        <a:pt x="450" y="142"/>
                      </a:lnTo>
                      <a:lnTo>
                        <a:pt x="460" y="171"/>
                      </a:lnTo>
                      <a:lnTo>
                        <a:pt x="466" y="201"/>
                      </a:lnTo>
                      <a:lnTo>
                        <a:pt x="468" y="233"/>
                      </a:lnTo>
                      <a:lnTo>
                        <a:pt x="466" y="265"/>
                      </a:lnTo>
                      <a:lnTo>
                        <a:pt x="460" y="295"/>
                      </a:lnTo>
                      <a:lnTo>
                        <a:pt x="450" y="324"/>
                      </a:lnTo>
                      <a:lnTo>
                        <a:pt x="436" y="351"/>
                      </a:lnTo>
                      <a:lnTo>
                        <a:pt x="420" y="376"/>
                      </a:lnTo>
                      <a:lnTo>
                        <a:pt x="400" y="398"/>
                      </a:lnTo>
                      <a:lnTo>
                        <a:pt x="377" y="418"/>
                      </a:lnTo>
                      <a:lnTo>
                        <a:pt x="352" y="435"/>
                      </a:lnTo>
                      <a:lnTo>
                        <a:pt x="325" y="448"/>
                      </a:lnTo>
                      <a:lnTo>
                        <a:pt x="296" y="458"/>
                      </a:lnTo>
                      <a:lnTo>
                        <a:pt x="266" y="464"/>
                      </a:lnTo>
                      <a:lnTo>
                        <a:pt x="234" y="467"/>
                      </a:lnTo>
                      <a:lnTo>
                        <a:pt x="202" y="464"/>
                      </a:lnTo>
                      <a:lnTo>
                        <a:pt x="171" y="458"/>
                      </a:lnTo>
                      <a:lnTo>
                        <a:pt x="142" y="448"/>
                      </a:lnTo>
                      <a:lnTo>
                        <a:pt x="116" y="435"/>
                      </a:lnTo>
                      <a:lnTo>
                        <a:pt x="91" y="418"/>
                      </a:lnTo>
                      <a:lnTo>
                        <a:pt x="68" y="398"/>
                      </a:lnTo>
                      <a:lnTo>
                        <a:pt x="49" y="376"/>
                      </a:lnTo>
                      <a:lnTo>
                        <a:pt x="32" y="351"/>
                      </a:lnTo>
                      <a:lnTo>
                        <a:pt x="18" y="324"/>
                      </a:lnTo>
                      <a:lnTo>
                        <a:pt x="8" y="295"/>
                      </a:lnTo>
                      <a:lnTo>
                        <a:pt x="2" y="265"/>
                      </a:lnTo>
                      <a:lnTo>
                        <a:pt x="0" y="233"/>
                      </a:lnTo>
                      <a:lnTo>
                        <a:pt x="2" y="201"/>
                      </a:lnTo>
                      <a:lnTo>
                        <a:pt x="8" y="171"/>
                      </a:lnTo>
                      <a:lnTo>
                        <a:pt x="18" y="142"/>
                      </a:lnTo>
                      <a:lnTo>
                        <a:pt x="32" y="115"/>
                      </a:lnTo>
                      <a:lnTo>
                        <a:pt x="49" y="90"/>
                      </a:lnTo>
                      <a:lnTo>
                        <a:pt x="68" y="68"/>
                      </a:lnTo>
                      <a:lnTo>
                        <a:pt x="91" y="48"/>
                      </a:lnTo>
                      <a:lnTo>
                        <a:pt x="116" y="32"/>
                      </a:lnTo>
                      <a:lnTo>
                        <a:pt x="142" y="18"/>
                      </a:lnTo>
                      <a:lnTo>
                        <a:pt x="171" y="8"/>
                      </a:lnTo>
                      <a:lnTo>
                        <a:pt x="202" y="2"/>
                      </a:lnTo>
                      <a:lnTo>
                        <a:pt x="234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128302" tIns="64151" rIns="128302" bIns="6415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710448"/>
                  <a:endParaRPr lang="en-US" sz="3368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467" name="Freeform 14"/>
                <p:cNvSpPr>
                  <a:spLocks/>
                </p:cNvSpPr>
                <p:nvPr/>
              </p:nvSpPr>
              <p:spPr bwMode="auto">
                <a:xfrm>
                  <a:off x="5746750" y="2935288"/>
                  <a:ext cx="695325" cy="36036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" y="31"/>
                    </a:cxn>
                    <a:cxn ang="0">
                      <a:pos x="12" y="60"/>
                    </a:cxn>
                    <a:cxn ang="0">
                      <a:pos x="23" y="89"/>
                    </a:cxn>
                    <a:cxn ang="0">
                      <a:pos x="38" y="114"/>
                    </a:cxn>
                    <a:cxn ang="0">
                      <a:pos x="56" y="137"/>
                    </a:cxn>
                    <a:cxn ang="0">
                      <a:pos x="78" y="158"/>
                    </a:cxn>
                    <a:cxn ang="0">
                      <a:pos x="102" y="176"/>
                    </a:cxn>
                    <a:cxn ang="0">
                      <a:pos x="128" y="190"/>
                    </a:cxn>
                    <a:cxn ang="0">
                      <a:pos x="157" y="200"/>
                    </a:cxn>
                    <a:cxn ang="0">
                      <a:pos x="187" y="207"/>
                    </a:cxn>
                    <a:cxn ang="0">
                      <a:pos x="219" y="209"/>
                    </a:cxn>
                    <a:cxn ang="0">
                      <a:pos x="250" y="207"/>
                    </a:cxn>
                    <a:cxn ang="0">
                      <a:pos x="280" y="200"/>
                    </a:cxn>
                    <a:cxn ang="0">
                      <a:pos x="309" y="190"/>
                    </a:cxn>
                    <a:cxn ang="0">
                      <a:pos x="335" y="176"/>
                    </a:cxn>
                    <a:cxn ang="0">
                      <a:pos x="360" y="158"/>
                    </a:cxn>
                    <a:cxn ang="0">
                      <a:pos x="381" y="137"/>
                    </a:cxn>
                    <a:cxn ang="0">
                      <a:pos x="399" y="114"/>
                    </a:cxn>
                    <a:cxn ang="0">
                      <a:pos x="414" y="89"/>
                    </a:cxn>
                    <a:cxn ang="0">
                      <a:pos x="426" y="60"/>
                    </a:cxn>
                    <a:cxn ang="0">
                      <a:pos x="433" y="31"/>
                    </a:cxn>
                    <a:cxn ang="0">
                      <a:pos x="437" y="0"/>
                    </a:cxn>
                    <a:cxn ang="0">
                      <a:pos x="437" y="3"/>
                    </a:cxn>
                    <a:cxn ang="0">
                      <a:pos x="438" y="5"/>
                    </a:cxn>
                    <a:cxn ang="0">
                      <a:pos x="438" y="8"/>
                    </a:cxn>
                    <a:cxn ang="0">
                      <a:pos x="436" y="41"/>
                    </a:cxn>
                    <a:cxn ang="0">
                      <a:pos x="429" y="71"/>
                    </a:cxn>
                    <a:cxn ang="0">
                      <a:pos x="417" y="100"/>
                    </a:cxn>
                    <a:cxn ang="0">
                      <a:pos x="403" y="127"/>
                    </a:cxn>
                    <a:cxn ang="0">
                      <a:pos x="384" y="152"/>
                    </a:cxn>
                    <a:cxn ang="0">
                      <a:pos x="363" y="173"/>
                    </a:cxn>
                    <a:cxn ang="0">
                      <a:pos x="338" y="192"/>
                    </a:cxn>
                    <a:cxn ang="0">
                      <a:pos x="311" y="206"/>
                    </a:cxn>
                    <a:cxn ang="0">
                      <a:pos x="282" y="218"/>
                    </a:cxn>
                    <a:cxn ang="0">
                      <a:pos x="251" y="224"/>
                    </a:cxn>
                    <a:cxn ang="0">
                      <a:pos x="219" y="227"/>
                    </a:cxn>
                    <a:cxn ang="0">
                      <a:pos x="186" y="224"/>
                    </a:cxn>
                    <a:cxn ang="0">
                      <a:pos x="155" y="218"/>
                    </a:cxn>
                    <a:cxn ang="0">
                      <a:pos x="127" y="206"/>
                    </a:cxn>
                    <a:cxn ang="0">
                      <a:pos x="100" y="192"/>
                    </a:cxn>
                    <a:cxn ang="0">
                      <a:pos x="76" y="173"/>
                    </a:cxn>
                    <a:cxn ang="0">
                      <a:pos x="53" y="152"/>
                    </a:cxn>
                    <a:cxn ang="0">
                      <a:pos x="35" y="127"/>
                    </a:cxn>
                    <a:cxn ang="0">
                      <a:pos x="21" y="100"/>
                    </a:cxn>
                    <a:cxn ang="0">
                      <a:pos x="9" y="71"/>
                    </a:cxn>
                    <a:cxn ang="0">
                      <a:pos x="2" y="41"/>
                    </a:cxn>
                    <a:cxn ang="0">
                      <a:pos x="0" y="8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38" h="227">
                      <a:moveTo>
                        <a:pt x="0" y="0"/>
                      </a:moveTo>
                      <a:lnTo>
                        <a:pt x="4" y="31"/>
                      </a:lnTo>
                      <a:lnTo>
                        <a:pt x="12" y="60"/>
                      </a:lnTo>
                      <a:lnTo>
                        <a:pt x="23" y="89"/>
                      </a:lnTo>
                      <a:lnTo>
                        <a:pt x="38" y="114"/>
                      </a:lnTo>
                      <a:lnTo>
                        <a:pt x="56" y="137"/>
                      </a:lnTo>
                      <a:lnTo>
                        <a:pt x="78" y="158"/>
                      </a:lnTo>
                      <a:lnTo>
                        <a:pt x="102" y="176"/>
                      </a:lnTo>
                      <a:lnTo>
                        <a:pt x="128" y="190"/>
                      </a:lnTo>
                      <a:lnTo>
                        <a:pt x="157" y="200"/>
                      </a:lnTo>
                      <a:lnTo>
                        <a:pt x="187" y="207"/>
                      </a:lnTo>
                      <a:lnTo>
                        <a:pt x="219" y="209"/>
                      </a:lnTo>
                      <a:lnTo>
                        <a:pt x="250" y="207"/>
                      </a:lnTo>
                      <a:lnTo>
                        <a:pt x="280" y="200"/>
                      </a:lnTo>
                      <a:lnTo>
                        <a:pt x="309" y="190"/>
                      </a:lnTo>
                      <a:lnTo>
                        <a:pt x="335" y="176"/>
                      </a:lnTo>
                      <a:lnTo>
                        <a:pt x="360" y="158"/>
                      </a:lnTo>
                      <a:lnTo>
                        <a:pt x="381" y="137"/>
                      </a:lnTo>
                      <a:lnTo>
                        <a:pt x="399" y="114"/>
                      </a:lnTo>
                      <a:lnTo>
                        <a:pt x="414" y="89"/>
                      </a:lnTo>
                      <a:lnTo>
                        <a:pt x="426" y="60"/>
                      </a:lnTo>
                      <a:lnTo>
                        <a:pt x="433" y="31"/>
                      </a:lnTo>
                      <a:lnTo>
                        <a:pt x="437" y="0"/>
                      </a:lnTo>
                      <a:lnTo>
                        <a:pt x="437" y="3"/>
                      </a:lnTo>
                      <a:lnTo>
                        <a:pt x="438" y="5"/>
                      </a:lnTo>
                      <a:lnTo>
                        <a:pt x="438" y="8"/>
                      </a:lnTo>
                      <a:lnTo>
                        <a:pt x="436" y="41"/>
                      </a:lnTo>
                      <a:lnTo>
                        <a:pt x="429" y="71"/>
                      </a:lnTo>
                      <a:lnTo>
                        <a:pt x="417" y="100"/>
                      </a:lnTo>
                      <a:lnTo>
                        <a:pt x="403" y="127"/>
                      </a:lnTo>
                      <a:lnTo>
                        <a:pt x="384" y="152"/>
                      </a:lnTo>
                      <a:lnTo>
                        <a:pt x="363" y="173"/>
                      </a:lnTo>
                      <a:lnTo>
                        <a:pt x="338" y="192"/>
                      </a:lnTo>
                      <a:lnTo>
                        <a:pt x="311" y="206"/>
                      </a:lnTo>
                      <a:lnTo>
                        <a:pt x="282" y="218"/>
                      </a:lnTo>
                      <a:lnTo>
                        <a:pt x="251" y="224"/>
                      </a:lnTo>
                      <a:lnTo>
                        <a:pt x="219" y="227"/>
                      </a:lnTo>
                      <a:lnTo>
                        <a:pt x="186" y="224"/>
                      </a:lnTo>
                      <a:lnTo>
                        <a:pt x="155" y="218"/>
                      </a:lnTo>
                      <a:lnTo>
                        <a:pt x="127" y="206"/>
                      </a:lnTo>
                      <a:lnTo>
                        <a:pt x="100" y="192"/>
                      </a:lnTo>
                      <a:lnTo>
                        <a:pt x="76" y="173"/>
                      </a:lnTo>
                      <a:lnTo>
                        <a:pt x="53" y="152"/>
                      </a:lnTo>
                      <a:lnTo>
                        <a:pt x="35" y="127"/>
                      </a:lnTo>
                      <a:lnTo>
                        <a:pt x="21" y="100"/>
                      </a:lnTo>
                      <a:lnTo>
                        <a:pt x="9" y="71"/>
                      </a:lnTo>
                      <a:lnTo>
                        <a:pt x="2" y="41"/>
                      </a:ln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>
                    <a:alpha val="33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128302" tIns="64151" rIns="128302" bIns="6415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710448"/>
                  <a:endParaRPr lang="en-US" sz="3368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463" name="Group 35"/>
              <p:cNvGrpSpPr/>
              <p:nvPr/>
            </p:nvGrpSpPr>
            <p:grpSpPr>
              <a:xfrm>
                <a:off x="2442609" y="3616581"/>
                <a:ext cx="708825" cy="708825"/>
                <a:chOff x="5722943" y="3481390"/>
                <a:chExt cx="742950" cy="742950"/>
              </a:xfrm>
              <a:effectLst>
                <a:outerShdw blurRad="38100" dist="63500" dir="2700000" algn="tl" rotWithShape="0">
                  <a:prstClr val="black">
                    <a:alpha val="99000"/>
                  </a:prstClr>
                </a:outerShdw>
              </a:effectLst>
            </p:grpSpPr>
            <p:sp>
              <p:nvSpPr>
                <p:cNvPr id="464" name="Freeform 9"/>
                <p:cNvSpPr>
                  <a:spLocks/>
                </p:cNvSpPr>
                <p:nvPr/>
              </p:nvSpPr>
              <p:spPr bwMode="auto">
                <a:xfrm>
                  <a:off x="5722943" y="3481390"/>
                  <a:ext cx="742950" cy="742950"/>
                </a:xfrm>
                <a:custGeom>
                  <a:avLst/>
                  <a:gdLst/>
                  <a:ahLst/>
                  <a:cxnLst>
                    <a:cxn ang="0">
                      <a:pos x="234" y="0"/>
                    </a:cxn>
                    <a:cxn ang="0">
                      <a:pos x="266" y="3"/>
                    </a:cxn>
                    <a:cxn ang="0">
                      <a:pos x="296" y="9"/>
                    </a:cxn>
                    <a:cxn ang="0">
                      <a:pos x="325" y="19"/>
                    </a:cxn>
                    <a:cxn ang="0">
                      <a:pos x="352" y="32"/>
                    </a:cxn>
                    <a:cxn ang="0">
                      <a:pos x="377" y="49"/>
                    </a:cxn>
                    <a:cxn ang="0">
                      <a:pos x="400" y="69"/>
                    </a:cxn>
                    <a:cxn ang="0">
                      <a:pos x="420" y="91"/>
                    </a:cxn>
                    <a:cxn ang="0">
                      <a:pos x="436" y="116"/>
                    </a:cxn>
                    <a:cxn ang="0">
                      <a:pos x="450" y="142"/>
                    </a:cxn>
                    <a:cxn ang="0">
                      <a:pos x="460" y="171"/>
                    </a:cxn>
                    <a:cxn ang="0">
                      <a:pos x="466" y="202"/>
                    </a:cxn>
                    <a:cxn ang="0">
                      <a:pos x="468" y="234"/>
                    </a:cxn>
                    <a:cxn ang="0">
                      <a:pos x="466" y="266"/>
                    </a:cxn>
                    <a:cxn ang="0">
                      <a:pos x="460" y="296"/>
                    </a:cxn>
                    <a:cxn ang="0">
                      <a:pos x="450" y="325"/>
                    </a:cxn>
                    <a:cxn ang="0">
                      <a:pos x="436" y="351"/>
                    </a:cxn>
                    <a:cxn ang="0">
                      <a:pos x="420" y="376"/>
                    </a:cxn>
                    <a:cxn ang="0">
                      <a:pos x="400" y="399"/>
                    </a:cxn>
                    <a:cxn ang="0">
                      <a:pos x="377" y="419"/>
                    </a:cxn>
                    <a:cxn ang="0">
                      <a:pos x="352" y="436"/>
                    </a:cxn>
                    <a:cxn ang="0">
                      <a:pos x="325" y="449"/>
                    </a:cxn>
                    <a:cxn ang="0">
                      <a:pos x="296" y="459"/>
                    </a:cxn>
                    <a:cxn ang="0">
                      <a:pos x="266" y="465"/>
                    </a:cxn>
                    <a:cxn ang="0">
                      <a:pos x="234" y="468"/>
                    </a:cxn>
                    <a:cxn ang="0">
                      <a:pos x="202" y="465"/>
                    </a:cxn>
                    <a:cxn ang="0">
                      <a:pos x="171" y="459"/>
                    </a:cxn>
                    <a:cxn ang="0">
                      <a:pos x="142" y="449"/>
                    </a:cxn>
                    <a:cxn ang="0">
                      <a:pos x="116" y="436"/>
                    </a:cxn>
                    <a:cxn ang="0">
                      <a:pos x="91" y="419"/>
                    </a:cxn>
                    <a:cxn ang="0">
                      <a:pos x="68" y="399"/>
                    </a:cxn>
                    <a:cxn ang="0">
                      <a:pos x="49" y="376"/>
                    </a:cxn>
                    <a:cxn ang="0">
                      <a:pos x="32" y="351"/>
                    </a:cxn>
                    <a:cxn ang="0">
                      <a:pos x="18" y="325"/>
                    </a:cxn>
                    <a:cxn ang="0">
                      <a:pos x="8" y="296"/>
                    </a:cxn>
                    <a:cxn ang="0">
                      <a:pos x="2" y="266"/>
                    </a:cxn>
                    <a:cxn ang="0">
                      <a:pos x="0" y="234"/>
                    </a:cxn>
                    <a:cxn ang="0">
                      <a:pos x="2" y="202"/>
                    </a:cxn>
                    <a:cxn ang="0">
                      <a:pos x="8" y="171"/>
                    </a:cxn>
                    <a:cxn ang="0">
                      <a:pos x="18" y="142"/>
                    </a:cxn>
                    <a:cxn ang="0">
                      <a:pos x="32" y="116"/>
                    </a:cxn>
                    <a:cxn ang="0">
                      <a:pos x="49" y="91"/>
                    </a:cxn>
                    <a:cxn ang="0">
                      <a:pos x="68" y="69"/>
                    </a:cxn>
                    <a:cxn ang="0">
                      <a:pos x="91" y="49"/>
                    </a:cxn>
                    <a:cxn ang="0">
                      <a:pos x="116" y="32"/>
                    </a:cxn>
                    <a:cxn ang="0">
                      <a:pos x="142" y="19"/>
                    </a:cxn>
                    <a:cxn ang="0">
                      <a:pos x="171" y="9"/>
                    </a:cxn>
                    <a:cxn ang="0">
                      <a:pos x="202" y="3"/>
                    </a:cxn>
                    <a:cxn ang="0">
                      <a:pos x="234" y="0"/>
                    </a:cxn>
                  </a:cxnLst>
                  <a:rect l="0" t="0" r="r" b="b"/>
                  <a:pathLst>
                    <a:path w="468" h="468">
                      <a:moveTo>
                        <a:pt x="234" y="0"/>
                      </a:moveTo>
                      <a:lnTo>
                        <a:pt x="266" y="3"/>
                      </a:lnTo>
                      <a:lnTo>
                        <a:pt x="296" y="9"/>
                      </a:lnTo>
                      <a:lnTo>
                        <a:pt x="325" y="19"/>
                      </a:lnTo>
                      <a:lnTo>
                        <a:pt x="352" y="32"/>
                      </a:lnTo>
                      <a:lnTo>
                        <a:pt x="377" y="49"/>
                      </a:lnTo>
                      <a:lnTo>
                        <a:pt x="400" y="69"/>
                      </a:lnTo>
                      <a:lnTo>
                        <a:pt x="420" y="91"/>
                      </a:lnTo>
                      <a:lnTo>
                        <a:pt x="436" y="116"/>
                      </a:lnTo>
                      <a:lnTo>
                        <a:pt x="450" y="142"/>
                      </a:lnTo>
                      <a:lnTo>
                        <a:pt x="460" y="171"/>
                      </a:lnTo>
                      <a:lnTo>
                        <a:pt x="466" y="202"/>
                      </a:lnTo>
                      <a:lnTo>
                        <a:pt x="468" y="234"/>
                      </a:lnTo>
                      <a:lnTo>
                        <a:pt x="466" y="266"/>
                      </a:lnTo>
                      <a:lnTo>
                        <a:pt x="460" y="296"/>
                      </a:lnTo>
                      <a:lnTo>
                        <a:pt x="450" y="325"/>
                      </a:lnTo>
                      <a:lnTo>
                        <a:pt x="436" y="351"/>
                      </a:lnTo>
                      <a:lnTo>
                        <a:pt x="420" y="376"/>
                      </a:lnTo>
                      <a:lnTo>
                        <a:pt x="400" y="399"/>
                      </a:lnTo>
                      <a:lnTo>
                        <a:pt x="377" y="419"/>
                      </a:lnTo>
                      <a:lnTo>
                        <a:pt x="352" y="436"/>
                      </a:lnTo>
                      <a:lnTo>
                        <a:pt x="325" y="449"/>
                      </a:lnTo>
                      <a:lnTo>
                        <a:pt x="296" y="459"/>
                      </a:lnTo>
                      <a:lnTo>
                        <a:pt x="266" y="465"/>
                      </a:lnTo>
                      <a:lnTo>
                        <a:pt x="234" y="468"/>
                      </a:lnTo>
                      <a:lnTo>
                        <a:pt x="202" y="465"/>
                      </a:lnTo>
                      <a:lnTo>
                        <a:pt x="171" y="459"/>
                      </a:lnTo>
                      <a:lnTo>
                        <a:pt x="142" y="449"/>
                      </a:lnTo>
                      <a:lnTo>
                        <a:pt x="116" y="436"/>
                      </a:lnTo>
                      <a:lnTo>
                        <a:pt x="91" y="419"/>
                      </a:lnTo>
                      <a:lnTo>
                        <a:pt x="68" y="399"/>
                      </a:lnTo>
                      <a:lnTo>
                        <a:pt x="49" y="376"/>
                      </a:lnTo>
                      <a:lnTo>
                        <a:pt x="32" y="351"/>
                      </a:lnTo>
                      <a:lnTo>
                        <a:pt x="18" y="325"/>
                      </a:lnTo>
                      <a:lnTo>
                        <a:pt x="8" y="296"/>
                      </a:lnTo>
                      <a:lnTo>
                        <a:pt x="2" y="266"/>
                      </a:lnTo>
                      <a:lnTo>
                        <a:pt x="0" y="234"/>
                      </a:lnTo>
                      <a:lnTo>
                        <a:pt x="2" y="202"/>
                      </a:lnTo>
                      <a:lnTo>
                        <a:pt x="8" y="171"/>
                      </a:lnTo>
                      <a:lnTo>
                        <a:pt x="18" y="142"/>
                      </a:lnTo>
                      <a:lnTo>
                        <a:pt x="32" y="116"/>
                      </a:lnTo>
                      <a:lnTo>
                        <a:pt x="49" y="91"/>
                      </a:lnTo>
                      <a:lnTo>
                        <a:pt x="68" y="69"/>
                      </a:lnTo>
                      <a:lnTo>
                        <a:pt x="91" y="49"/>
                      </a:lnTo>
                      <a:lnTo>
                        <a:pt x="116" y="32"/>
                      </a:lnTo>
                      <a:lnTo>
                        <a:pt x="142" y="19"/>
                      </a:lnTo>
                      <a:lnTo>
                        <a:pt x="171" y="9"/>
                      </a:lnTo>
                      <a:lnTo>
                        <a:pt x="202" y="3"/>
                      </a:lnTo>
                      <a:lnTo>
                        <a:pt x="234" y="0"/>
                      </a:lnTo>
                      <a:close/>
                    </a:path>
                  </a:pathLst>
                </a:custGeom>
                <a:noFill/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128302" tIns="64151" rIns="128302" bIns="6415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710448"/>
                  <a:endParaRPr lang="en-US" sz="3368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465" name="Freeform 12"/>
                <p:cNvSpPr>
                  <a:spLocks/>
                </p:cNvSpPr>
                <p:nvPr/>
              </p:nvSpPr>
              <p:spPr bwMode="auto">
                <a:xfrm>
                  <a:off x="5746750" y="3838576"/>
                  <a:ext cx="695325" cy="36036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" y="31"/>
                    </a:cxn>
                    <a:cxn ang="0">
                      <a:pos x="12" y="60"/>
                    </a:cxn>
                    <a:cxn ang="0">
                      <a:pos x="23" y="88"/>
                    </a:cxn>
                    <a:cxn ang="0">
                      <a:pos x="38" y="114"/>
                    </a:cxn>
                    <a:cxn ang="0">
                      <a:pos x="56" y="137"/>
                    </a:cxn>
                    <a:cxn ang="0">
                      <a:pos x="78" y="157"/>
                    </a:cxn>
                    <a:cxn ang="0">
                      <a:pos x="102" y="176"/>
                    </a:cxn>
                    <a:cxn ang="0">
                      <a:pos x="128" y="189"/>
                    </a:cxn>
                    <a:cxn ang="0">
                      <a:pos x="157" y="200"/>
                    </a:cxn>
                    <a:cxn ang="0">
                      <a:pos x="187" y="207"/>
                    </a:cxn>
                    <a:cxn ang="0">
                      <a:pos x="219" y="209"/>
                    </a:cxn>
                    <a:cxn ang="0">
                      <a:pos x="250" y="207"/>
                    </a:cxn>
                    <a:cxn ang="0">
                      <a:pos x="280" y="200"/>
                    </a:cxn>
                    <a:cxn ang="0">
                      <a:pos x="309" y="189"/>
                    </a:cxn>
                    <a:cxn ang="0">
                      <a:pos x="335" y="176"/>
                    </a:cxn>
                    <a:cxn ang="0">
                      <a:pos x="360" y="157"/>
                    </a:cxn>
                    <a:cxn ang="0">
                      <a:pos x="381" y="137"/>
                    </a:cxn>
                    <a:cxn ang="0">
                      <a:pos x="399" y="114"/>
                    </a:cxn>
                    <a:cxn ang="0">
                      <a:pos x="414" y="88"/>
                    </a:cxn>
                    <a:cxn ang="0">
                      <a:pos x="426" y="60"/>
                    </a:cxn>
                    <a:cxn ang="0">
                      <a:pos x="433" y="31"/>
                    </a:cxn>
                    <a:cxn ang="0">
                      <a:pos x="437" y="0"/>
                    </a:cxn>
                    <a:cxn ang="0">
                      <a:pos x="437" y="3"/>
                    </a:cxn>
                    <a:cxn ang="0">
                      <a:pos x="438" y="5"/>
                    </a:cxn>
                    <a:cxn ang="0">
                      <a:pos x="438" y="8"/>
                    </a:cxn>
                    <a:cxn ang="0">
                      <a:pos x="436" y="41"/>
                    </a:cxn>
                    <a:cxn ang="0">
                      <a:pos x="429" y="71"/>
                    </a:cxn>
                    <a:cxn ang="0">
                      <a:pos x="417" y="100"/>
                    </a:cxn>
                    <a:cxn ang="0">
                      <a:pos x="403" y="127"/>
                    </a:cxn>
                    <a:cxn ang="0">
                      <a:pos x="384" y="151"/>
                    </a:cxn>
                    <a:cxn ang="0">
                      <a:pos x="363" y="173"/>
                    </a:cxn>
                    <a:cxn ang="0">
                      <a:pos x="338" y="192"/>
                    </a:cxn>
                    <a:cxn ang="0">
                      <a:pos x="311" y="206"/>
                    </a:cxn>
                    <a:cxn ang="0">
                      <a:pos x="282" y="217"/>
                    </a:cxn>
                    <a:cxn ang="0">
                      <a:pos x="251" y="224"/>
                    </a:cxn>
                    <a:cxn ang="0">
                      <a:pos x="219" y="227"/>
                    </a:cxn>
                    <a:cxn ang="0">
                      <a:pos x="186" y="224"/>
                    </a:cxn>
                    <a:cxn ang="0">
                      <a:pos x="155" y="217"/>
                    </a:cxn>
                    <a:cxn ang="0">
                      <a:pos x="127" y="206"/>
                    </a:cxn>
                    <a:cxn ang="0">
                      <a:pos x="100" y="192"/>
                    </a:cxn>
                    <a:cxn ang="0">
                      <a:pos x="76" y="173"/>
                    </a:cxn>
                    <a:cxn ang="0">
                      <a:pos x="53" y="151"/>
                    </a:cxn>
                    <a:cxn ang="0">
                      <a:pos x="35" y="127"/>
                    </a:cxn>
                    <a:cxn ang="0">
                      <a:pos x="21" y="100"/>
                    </a:cxn>
                    <a:cxn ang="0">
                      <a:pos x="9" y="71"/>
                    </a:cxn>
                    <a:cxn ang="0">
                      <a:pos x="2" y="41"/>
                    </a:cxn>
                    <a:cxn ang="0">
                      <a:pos x="0" y="8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38" h="227">
                      <a:moveTo>
                        <a:pt x="0" y="0"/>
                      </a:moveTo>
                      <a:lnTo>
                        <a:pt x="4" y="31"/>
                      </a:lnTo>
                      <a:lnTo>
                        <a:pt x="12" y="60"/>
                      </a:lnTo>
                      <a:lnTo>
                        <a:pt x="23" y="88"/>
                      </a:lnTo>
                      <a:lnTo>
                        <a:pt x="38" y="114"/>
                      </a:lnTo>
                      <a:lnTo>
                        <a:pt x="56" y="137"/>
                      </a:lnTo>
                      <a:lnTo>
                        <a:pt x="78" y="157"/>
                      </a:lnTo>
                      <a:lnTo>
                        <a:pt x="102" y="176"/>
                      </a:lnTo>
                      <a:lnTo>
                        <a:pt x="128" y="189"/>
                      </a:lnTo>
                      <a:lnTo>
                        <a:pt x="157" y="200"/>
                      </a:lnTo>
                      <a:lnTo>
                        <a:pt x="187" y="207"/>
                      </a:lnTo>
                      <a:lnTo>
                        <a:pt x="219" y="209"/>
                      </a:lnTo>
                      <a:lnTo>
                        <a:pt x="250" y="207"/>
                      </a:lnTo>
                      <a:lnTo>
                        <a:pt x="280" y="200"/>
                      </a:lnTo>
                      <a:lnTo>
                        <a:pt x="309" y="189"/>
                      </a:lnTo>
                      <a:lnTo>
                        <a:pt x="335" y="176"/>
                      </a:lnTo>
                      <a:lnTo>
                        <a:pt x="360" y="157"/>
                      </a:lnTo>
                      <a:lnTo>
                        <a:pt x="381" y="137"/>
                      </a:lnTo>
                      <a:lnTo>
                        <a:pt x="399" y="114"/>
                      </a:lnTo>
                      <a:lnTo>
                        <a:pt x="414" y="88"/>
                      </a:lnTo>
                      <a:lnTo>
                        <a:pt x="426" y="60"/>
                      </a:lnTo>
                      <a:lnTo>
                        <a:pt x="433" y="31"/>
                      </a:lnTo>
                      <a:lnTo>
                        <a:pt x="437" y="0"/>
                      </a:lnTo>
                      <a:lnTo>
                        <a:pt x="437" y="3"/>
                      </a:lnTo>
                      <a:lnTo>
                        <a:pt x="438" y="5"/>
                      </a:lnTo>
                      <a:lnTo>
                        <a:pt x="438" y="8"/>
                      </a:lnTo>
                      <a:lnTo>
                        <a:pt x="436" y="41"/>
                      </a:lnTo>
                      <a:lnTo>
                        <a:pt x="429" y="71"/>
                      </a:lnTo>
                      <a:lnTo>
                        <a:pt x="417" y="100"/>
                      </a:lnTo>
                      <a:lnTo>
                        <a:pt x="403" y="127"/>
                      </a:lnTo>
                      <a:lnTo>
                        <a:pt x="384" y="151"/>
                      </a:lnTo>
                      <a:lnTo>
                        <a:pt x="363" y="173"/>
                      </a:lnTo>
                      <a:lnTo>
                        <a:pt x="338" y="192"/>
                      </a:lnTo>
                      <a:lnTo>
                        <a:pt x="311" y="206"/>
                      </a:lnTo>
                      <a:lnTo>
                        <a:pt x="282" y="217"/>
                      </a:lnTo>
                      <a:lnTo>
                        <a:pt x="251" y="224"/>
                      </a:lnTo>
                      <a:lnTo>
                        <a:pt x="219" y="227"/>
                      </a:lnTo>
                      <a:lnTo>
                        <a:pt x="186" y="224"/>
                      </a:lnTo>
                      <a:lnTo>
                        <a:pt x="155" y="217"/>
                      </a:lnTo>
                      <a:lnTo>
                        <a:pt x="127" y="206"/>
                      </a:lnTo>
                      <a:lnTo>
                        <a:pt x="100" y="192"/>
                      </a:lnTo>
                      <a:lnTo>
                        <a:pt x="76" y="173"/>
                      </a:lnTo>
                      <a:lnTo>
                        <a:pt x="53" y="151"/>
                      </a:lnTo>
                      <a:lnTo>
                        <a:pt x="35" y="127"/>
                      </a:lnTo>
                      <a:lnTo>
                        <a:pt x="21" y="100"/>
                      </a:lnTo>
                      <a:lnTo>
                        <a:pt x="9" y="71"/>
                      </a:lnTo>
                      <a:lnTo>
                        <a:pt x="2" y="41"/>
                      </a:ln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>
                    <a:alpha val="33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128302" tIns="64151" rIns="128302" bIns="6415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710448"/>
                  <a:endParaRPr lang="en-US" sz="3368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</p:grpSp>
        </p:grpSp>
      </p:grpSp>
      <p:sp>
        <p:nvSpPr>
          <p:cNvPr id="480" name="Rectangle 479"/>
          <p:cNvSpPr/>
          <p:nvPr/>
        </p:nvSpPr>
        <p:spPr>
          <a:xfrm>
            <a:off x="3652575" y="4610013"/>
            <a:ext cx="1717707" cy="2070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121920" rIns="54611" bIns="54611" rtlCol="0" anchor="t"/>
          <a:lstStyle/>
          <a:p>
            <a:pPr marL="228595" indent="-228595" defTabSz="1058286">
              <a:buFont typeface="Arial" panose="020B0604020202020204" pitchFamily="34" charset="0"/>
              <a:buChar char="•"/>
            </a:pPr>
            <a:endParaRPr lang="en-US" sz="1500">
              <a:solidFill>
                <a:prstClr val="white"/>
              </a:solidFill>
              <a:latin typeface="Arial"/>
            </a:endParaRPr>
          </a:p>
        </p:txBody>
      </p:sp>
      <p:sp>
        <p:nvSpPr>
          <p:cNvPr id="481" name="Round Same Side Corner Rectangle 480"/>
          <p:cNvSpPr/>
          <p:nvPr/>
        </p:nvSpPr>
        <p:spPr>
          <a:xfrm>
            <a:off x="3652575" y="4305118"/>
            <a:ext cx="1717707" cy="331382"/>
          </a:xfrm>
          <a:prstGeom prst="round2Same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</p:spPr>
        <p:txBody>
          <a:bodyPr wrap="square" lIns="121920" tIns="0" bIns="60960" anchor="ctr">
            <a:noAutofit/>
          </a:bodyPr>
          <a:lstStyle/>
          <a:p>
            <a:pPr defTabSz="1058286"/>
            <a:r>
              <a:rPr lang="en-US" sz="1400" b="1">
                <a:solidFill>
                  <a:prstClr val="white"/>
                </a:solidFill>
                <a:latin typeface="Arial"/>
                <a:cs typeface="DIN Next LT Arabic"/>
              </a:rPr>
              <a:t>Dependency </a:t>
            </a:r>
          </a:p>
        </p:txBody>
      </p:sp>
      <p:grpSp>
        <p:nvGrpSpPr>
          <p:cNvPr id="482" name="Group 481"/>
          <p:cNvGrpSpPr/>
          <p:nvPr/>
        </p:nvGrpSpPr>
        <p:grpSpPr>
          <a:xfrm>
            <a:off x="3662317" y="6624523"/>
            <a:ext cx="1707969" cy="104129"/>
            <a:chOff x="170119" y="2637607"/>
            <a:chExt cx="2373357" cy="130724"/>
          </a:xfrm>
        </p:grpSpPr>
        <p:sp>
          <p:nvSpPr>
            <p:cNvPr id="483" name="Right Triangle 482"/>
            <p:cNvSpPr/>
            <p:nvPr/>
          </p:nvSpPr>
          <p:spPr>
            <a:xfrm flipH="1" flipV="1">
              <a:off x="173559" y="2637607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484" name="Right Triangle 483"/>
            <p:cNvSpPr/>
            <p:nvPr/>
          </p:nvSpPr>
          <p:spPr>
            <a:xfrm flipV="1">
              <a:off x="170119" y="2637607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</p:grpSp>
      <p:sp>
        <p:nvSpPr>
          <p:cNvPr id="523" name="Rectangle 522"/>
          <p:cNvSpPr/>
          <p:nvPr/>
        </p:nvSpPr>
        <p:spPr>
          <a:xfrm>
            <a:off x="5502664" y="4610013"/>
            <a:ext cx="1717707" cy="2070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121920" rIns="54611" bIns="54611" rtlCol="0" anchor="t"/>
          <a:lstStyle/>
          <a:p>
            <a:pPr marL="190498" indent="-190498">
              <a:buFont typeface="Arial" panose="020B0604020202020204" pitchFamily="34" charset="0"/>
              <a:buChar char="•"/>
            </a:pP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524" name="Round Same Side Corner Rectangle 523"/>
          <p:cNvSpPr/>
          <p:nvPr/>
        </p:nvSpPr>
        <p:spPr>
          <a:xfrm>
            <a:off x="5502664" y="4305118"/>
            <a:ext cx="1717707" cy="331382"/>
          </a:xfrm>
          <a:prstGeom prst="round2Same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</p:spPr>
        <p:txBody>
          <a:bodyPr wrap="square" lIns="121920" tIns="0" bIns="60960" anchor="ctr">
            <a:noAutofit/>
          </a:bodyPr>
          <a:lstStyle/>
          <a:p>
            <a:pPr defTabSz="1058286"/>
            <a:r>
              <a:rPr lang="en-US" sz="1400" b="1">
                <a:solidFill>
                  <a:prstClr val="white"/>
                </a:solidFill>
                <a:latin typeface="Arial"/>
                <a:cs typeface="DIN Next LT Arabic"/>
              </a:rPr>
              <a:t>Risk</a:t>
            </a:r>
          </a:p>
        </p:txBody>
      </p:sp>
      <p:grpSp>
        <p:nvGrpSpPr>
          <p:cNvPr id="525" name="Group 524"/>
          <p:cNvGrpSpPr/>
          <p:nvPr/>
        </p:nvGrpSpPr>
        <p:grpSpPr>
          <a:xfrm>
            <a:off x="5512403" y="6624523"/>
            <a:ext cx="1707969" cy="104129"/>
            <a:chOff x="170119" y="2637607"/>
            <a:chExt cx="2373357" cy="130724"/>
          </a:xfrm>
        </p:grpSpPr>
        <p:sp>
          <p:nvSpPr>
            <p:cNvPr id="526" name="Right Triangle 525"/>
            <p:cNvSpPr/>
            <p:nvPr/>
          </p:nvSpPr>
          <p:spPr>
            <a:xfrm flipH="1" flipV="1">
              <a:off x="173559" y="2637607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527" name="Right Triangle 526"/>
            <p:cNvSpPr/>
            <p:nvPr/>
          </p:nvSpPr>
          <p:spPr>
            <a:xfrm flipV="1">
              <a:off x="170119" y="2637607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</p:grpSp>
      <p:grpSp>
        <p:nvGrpSpPr>
          <p:cNvPr id="534" name="Group 84"/>
          <p:cNvGrpSpPr>
            <a:grpSpLocks noChangeAspect="1"/>
          </p:cNvGrpSpPr>
          <p:nvPr/>
        </p:nvGrpSpPr>
        <p:grpSpPr bwMode="auto">
          <a:xfrm>
            <a:off x="6855887" y="4334996"/>
            <a:ext cx="310301" cy="267459"/>
            <a:chOff x="3333" y="1722"/>
            <a:chExt cx="1014" cy="874"/>
          </a:xfrm>
          <a:solidFill>
            <a:schemeClr val="bg1"/>
          </a:solidFill>
        </p:grpSpPr>
        <p:sp>
          <p:nvSpPr>
            <p:cNvPr id="535" name="Freeform 85"/>
            <p:cNvSpPr>
              <a:spLocks noEditPoints="1"/>
            </p:cNvSpPr>
            <p:nvPr/>
          </p:nvSpPr>
          <p:spPr bwMode="auto">
            <a:xfrm>
              <a:off x="3333" y="1722"/>
              <a:ext cx="1014" cy="874"/>
            </a:xfrm>
            <a:custGeom>
              <a:avLst/>
              <a:gdLst>
                <a:gd name="T0" fmla="*/ 213 w 426"/>
                <a:gd name="T1" fmla="*/ 366 h 367"/>
                <a:gd name="T2" fmla="*/ 36 w 426"/>
                <a:gd name="T3" fmla="*/ 367 h 367"/>
                <a:gd name="T4" fmla="*/ 6 w 426"/>
                <a:gd name="T5" fmla="*/ 351 h 367"/>
                <a:gd name="T6" fmla="*/ 9 w 426"/>
                <a:gd name="T7" fmla="*/ 318 h 367"/>
                <a:gd name="T8" fmla="*/ 183 w 426"/>
                <a:gd name="T9" fmla="*/ 20 h 367"/>
                <a:gd name="T10" fmla="*/ 214 w 426"/>
                <a:gd name="T11" fmla="*/ 0 h 367"/>
                <a:gd name="T12" fmla="*/ 243 w 426"/>
                <a:gd name="T13" fmla="*/ 20 h 367"/>
                <a:gd name="T14" fmla="*/ 417 w 426"/>
                <a:gd name="T15" fmla="*/ 318 h 367"/>
                <a:gd name="T16" fmla="*/ 420 w 426"/>
                <a:gd name="T17" fmla="*/ 351 h 367"/>
                <a:gd name="T18" fmla="*/ 390 w 426"/>
                <a:gd name="T19" fmla="*/ 367 h 367"/>
                <a:gd name="T20" fmla="*/ 213 w 426"/>
                <a:gd name="T21" fmla="*/ 366 h 367"/>
                <a:gd name="T22" fmla="*/ 213 w 426"/>
                <a:gd name="T23" fmla="*/ 336 h 367"/>
                <a:gd name="T24" fmla="*/ 375 w 426"/>
                <a:gd name="T25" fmla="*/ 336 h 367"/>
                <a:gd name="T26" fmla="*/ 384 w 426"/>
                <a:gd name="T27" fmla="*/ 323 h 367"/>
                <a:gd name="T28" fmla="*/ 221 w 426"/>
                <a:gd name="T29" fmla="*/ 46 h 367"/>
                <a:gd name="T30" fmla="*/ 205 w 426"/>
                <a:gd name="T31" fmla="*/ 45 h 367"/>
                <a:gd name="T32" fmla="*/ 44 w 426"/>
                <a:gd name="T33" fmla="*/ 321 h 367"/>
                <a:gd name="T34" fmla="*/ 54 w 426"/>
                <a:gd name="T35" fmla="*/ 336 h 367"/>
                <a:gd name="T36" fmla="*/ 213 w 426"/>
                <a:gd name="T37" fmla="*/ 336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26" h="367">
                  <a:moveTo>
                    <a:pt x="213" y="366"/>
                  </a:moveTo>
                  <a:cubicBezTo>
                    <a:pt x="154" y="366"/>
                    <a:pt x="95" y="366"/>
                    <a:pt x="36" y="367"/>
                  </a:cubicBezTo>
                  <a:cubicBezTo>
                    <a:pt x="23" y="367"/>
                    <a:pt x="12" y="363"/>
                    <a:pt x="6" y="351"/>
                  </a:cubicBezTo>
                  <a:cubicBezTo>
                    <a:pt x="0" y="340"/>
                    <a:pt x="3" y="329"/>
                    <a:pt x="9" y="318"/>
                  </a:cubicBezTo>
                  <a:cubicBezTo>
                    <a:pt x="67" y="219"/>
                    <a:pt x="125" y="119"/>
                    <a:pt x="183" y="20"/>
                  </a:cubicBezTo>
                  <a:cubicBezTo>
                    <a:pt x="190" y="8"/>
                    <a:pt x="199" y="0"/>
                    <a:pt x="214" y="0"/>
                  </a:cubicBezTo>
                  <a:cubicBezTo>
                    <a:pt x="228" y="0"/>
                    <a:pt x="236" y="9"/>
                    <a:pt x="243" y="20"/>
                  </a:cubicBezTo>
                  <a:cubicBezTo>
                    <a:pt x="300" y="120"/>
                    <a:pt x="358" y="219"/>
                    <a:pt x="417" y="318"/>
                  </a:cubicBezTo>
                  <a:cubicBezTo>
                    <a:pt x="423" y="329"/>
                    <a:pt x="426" y="340"/>
                    <a:pt x="420" y="351"/>
                  </a:cubicBezTo>
                  <a:cubicBezTo>
                    <a:pt x="414" y="363"/>
                    <a:pt x="403" y="367"/>
                    <a:pt x="390" y="367"/>
                  </a:cubicBezTo>
                  <a:cubicBezTo>
                    <a:pt x="331" y="366"/>
                    <a:pt x="272" y="366"/>
                    <a:pt x="213" y="366"/>
                  </a:cubicBezTo>
                  <a:close/>
                  <a:moveTo>
                    <a:pt x="213" y="336"/>
                  </a:moveTo>
                  <a:cubicBezTo>
                    <a:pt x="267" y="336"/>
                    <a:pt x="321" y="336"/>
                    <a:pt x="375" y="336"/>
                  </a:cubicBezTo>
                  <a:cubicBezTo>
                    <a:pt x="383" y="336"/>
                    <a:pt x="392" y="336"/>
                    <a:pt x="384" y="323"/>
                  </a:cubicBezTo>
                  <a:cubicBezTo>
                    <a:pt x="330" y="231"/>
                    <a:pt x="275" y="138"/>
                    <a:pt x="221" y="46"/>
                  </a:cubicBezTo>
                  <a:cubicBezTo>
                    <a:pt x="215" y="35"/>
                    <a:pt x="212" y="33"/>
                    <a:pt x="205" y="45"/>
                  </a:cubicBezTo>
                  <a:cubicBezTo>
                    <a:pt x="151" y="137"/>
                    <a:pt x="97" y="229"/>
                    <a:pt x="44" y="321"/>
                  </a:cubicBezTo>
                  <a:cubicBezTo>
                    <a:pt x="35" y="335"/>
                    <a:pt x="36" y="336"/>
                    <a:pt x="54" y="336"/>
                  </a:cubicBezTo>
                  <a:cubicBezTo>
                    <a:pt x="107" y="336"/>
                    <a:pt x="160" y="336"/>
                    <a:pt x="213" y="3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36" name="Freeform 86"/>
            <p:cNvSpPr>
              <a:spLocks/>
            </p:cNvSpPr>
            <p:nvPr/>
          </p:nvSpPr>
          <p:spPr bwMode="auto">
            <a:xfrm>
              <a:off x="3797" y="1943"/>
              <a:ext cx="88" cy="393"/>
            </a:xfrm>
            <a:custGeom>
              <a:avLst/>
              <a:gdLst>
                <a:gd name="T0" fmla="*/ 37 w 37"/>
                <a:gd name="T1" fmla="*/ 41 h 165"/>
                <a:gd name="T2" fmla="*/ 27 w 37"/>
                <a:gd name="T3" fmla="*/ 152 h 165"/>
                <a:gd name="T4" fmla="*/ 18 w 37"/>
                <a:gd name="T5" fmla="*/ 165 h 165"/>
                <a:gd name="T6" fmla="*/ 9 w 37"/>
                <a:gd name="T7" fmla="*/ 153 h 165"/>
                <a:gd name="T8" fmla="*/ 0 w 37"/>
                <a:gd name="T9" fmla="*/ 22 h 165"/>
                <a:gd name="T10" fmla="*/ 1 w 37"/>
                <a:gd name="T11" fmla="*/ 13 h 165"/>
                <a:gd name="T12" fmla="*/ 18 w 37"/>
                <a:gd name="T13" fmla="*/ 0 h 165"/>
                <a:gd name="T14" fmla="*/ 35 w 37"/>
                <a:gd name="T15" fmla="*/ 14 h 165"/>
                <a:gd name="T16" fmla="*/ 35 w 37"/>
                <a:gd name="T17" fmla="*/ 41 h 165"/>
                <a:gd name="T18" fmla="*/ 37 w 37"/>
                <a:gd name="T19" fmla="*/ 41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165">
                  <a:moveTo>
                    <a:pt x="37" y="41"/>
                  </a:moveTo>
                  <a:cubicBezTo>
                    <a:pt x="34" y="78"/>
                    <a:pt x="30" y="115"/>
                    <a:pt x="27" y="152"/>
                  </a:cubicBezTo>
                  <a:cubicBezTo>
                    <a:pt x="27" y="158"/>
                    <a:pt x="26" y="165"/>
                    <a:pt x="18" y="165"/>
                  </a:cubicBezTo>
                  <a:cubicBezTo>
                    <a:pt x="10" y="165"/>
                    <a:pt x="9" y="159"/>
                    <a:pt x="9" y="153"/>
                  </a:cubicBezTo>
                  <a:cubicBezTo>
                    <a:pt x="5" y="110"/>
                    <a:pt x="0" y="66"/>
                    <a:pt x="0" y="22"/>
                  </a:cubicBezTo>
                  <a:cubicBezTo>
                    <a:pt x="0" y="19"/>
                    <a:pt x="0" y="16"/>
                    <a:pt x="1" y="13"/>
                  </a:cubicBezTo>
                  <a:cubicBezTo>
                    <a:pt x="3" y="4"/>
                    <a:pt x="9" y="0"/>
                    <a:pt x="18" y="0"/>
                  </a:cubicBezTo>
                  <a:cubicBezTo>
                    <a:pt x="27" y="0"/>
                    <a:pt x="34" y="5"/>
                    <a:pt x="35" y="14"/>
                  </a:cubicBezTo>
                  <a:cubicBezTo>
                    <a:pt x="36" y="23"/>
                    <a:pt x="35" y="32"/>
                    <a:pt x="35" y="41"/>
                  </a:cubicBezTo>
                  <a:cubicBezTo>
                    <a:pt x="36" y="41"/>
                    <a:pt x="36" y="41"/>
                    <a:pt x="37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37" name="Freeform 87"/>
            <p:cNvSpPr>
              <a:spLocks/>
            </p:cNvSpPr>
            <p:nvPr/>
          </p:nvSpPr>
          <p:spPr bwMode="auto">
            <a:xfrm>
              <a:off x="3790" y="2379"/>
              <a:ext cx="95" cy="93"/>
            </a:xfrm>
            <a:custGeom>
              <a:avLst/>
              <a:gdLst>
                <a:gd name="T0" fmla="*/ 21 w 40"/>
                <a:gd name="T1" fmla="*/ 39 h 39"/>
                <a:gd name="T2" fmla="*/ 1 w 40"/>
                <a:gd name="T3" fmla="*/ 21 h 39"/>
                <a:gd name="T4" fmla="*/ 21 w 40"/>
                <a:gd name="T5" fmla="*/ 1 h 39"/>
                <a:gd name="T6" fmla="*/ 40 w 40"/>
                <a:gd name="T7" fmla="*/ 20 h 39"/>
                <a:gd name="T8" fmla="*/ 21 w 40"/>
                <a:gd name="T9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9">
                  <a:moveTo>
                    <a:pt x="21" y="39"/>
                  </a:moveTo>
                  <a:cubicBezTo>
                    <a:pt x="10" y="38"/>
                    <a:pt x="3" y="32"/>
                    <a:pt x="1" y="21"/>
                  </a:cubicBezTo>
                  <a:cubicBezTo>
                    <a:pt x="0" y="11"/>
                    <a:pt x="11" y="0"/>
                    <a:pt x="21" y="1"/>
                  </a:cubicBezTo>
                  <a:cubicBezTo>
                    <a:pt x="32" y="2"/>
                    <a:pt x="40" y="9"/>
                    <a:pt x="40" y="20"/>
                  </a:cubicBezTo>
                  <a:cubicBezTo>
                    <a:pt x="40" y="31"/>
                    <a:pt x="33" y="38"/>
                    <a:pt x="21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538" name="Group 55"/>
          <p:cNvGrpSpPr>
            <a:grpSpLocks noChangeAspect="1"/>
          </p:cNvGrpSpPr>
          <p:nvPr/>
        </p:nvGrpSpPr>
        <p:grpSpPr bwMode="auto">
          <a:xfrm>
            <a:off x="2982384" y="4305118"/>
            <a:ext cx="295909" cy="295666"/>
            <a:chOff x="2017" y="342"/>
            <a:chExt cx="3641" cy="3638"/>
          </a:xfrm>
          <a:solidFill>
            <a:schemeClr val="bg1"/>
          </a:solidFill>
        </p:grpSpPr>
        <p:sp>
          <p:nvSpPr>
            <p:cNvPr id="539" name="Freeform 56"/>
            <p:cNvSpPr>
              <a:spLocks noEditPoints="1"/>
            </p:cNvSpPr>
            <p:nvPr/>
          </p:nvSpPr>
          <p:spPr bwMode="auto">
            <a:xfrm>
              <a:off x="2017" y="342"/>
              <a:ext cx="3641" cy="3638"/>
            </a:xfrm>
            <a:custGeom>
              <a:avLst/>
              <a:gdLst>
                <a:gd name="T0" fmla="*/ 701 w 1538"/>
                <a:gd name="T1" fmla="*/ 0 h 1537"/>
                <a:gd name="T2" fmla="*/ 839 w 1538"/>
                <a:gd name="T3" fmla="*/ 0 h 1537"/>
                <a:gd name="T4" fmla="*/ 849 w 1538"/>
                <a:gd name="T5" fmla="*/ 4 h 1537"/>
                <a:gd name="T6" fmla="*/ 905 w 1538"/>
                <a:gd name="T7" fmla="*/ 11 h 1537"/>
                <a:gd name="T8" fmla="*/ 1083 w 1538"/>
                <a:gd name="T9" fmla="*/ 66 h 1537"/>
                <a:gd name="T10" fmla="*/ 1279 w 1538"/>
                <a:gd name="T11" fmla="*/ 192 h 1537"/>
                <a:gd name="T12" fmla="*/ 1451 w 1538"/>
                <a:gd name="T13" fmla="*/ 411 h 1537"/>
                <a:gd name="T14" fmla="*/ 1532 w 1538"/>
                <a:gd name="T15" fmla="*/ 666 h 1537"/>
                <a:gd name="T16" fmla="*/ 1538 w 1538"/>
                <a:gd name="T17" fmla="*/ 699 h 1537"/>
                <a:gd name="T18" fmla="*/ 1538 w 1538"/>
                <a:gd name="T19" fmla="*/ 837 h 1537"/>
                <a:gd name="T20" fmla="*/ 1534 w 1538"/>
                <a:gd name="T21" fmla="*/ 845 h 1537"/>
                <a:gd name="T22" fmla="*/ 1527 w 1538"/>
                <a:gd name="T23" fmla="*/ 901 h 1537"/>
                <a:gd name="T24" fmla="*/ 1440 w 1538"/>
                <a:gd name="T25" fmla="*/ 1144 h 1537"/>
                <a:gd name="T26" fmla="*/ 1258 w 1538"/>
                <a:gd name="T27" fmla="*/ 1362 h 1537"/>
                <a:gd name="T28" fmla="*/ 1055 w 1538"/>
                <a:gd name="T29" fmla="*/ 1482 h 1537"/>
                <a:gd name="T30" fmla="*/ 828 w 1538"/>
                <a:gd name="T31" fmla="*/ 1534 h 1537"/>
                <a:gd name="T32" fmla="*/ 695 w 1538"/>
                <a:gd name="T33" fmla="*/ 1533 h 1537"/>
                <a:gd name="T34" fmla="*/ 579 w 1538"/>
                <a:gd name="T35" fmla="*/ 1512 h 1537"/>
                <a:gd name="T36" fmla="*/ 372 w 1538"/>
                <a:gd name="T37" fmla="*/ 1426 h 1537"/>
                <a:gd name="T38" fmla="*/ 191 w 1538"/>
                <a:gd name="T39" fmla="*/ 1274 h 1537"/>
                <a:gd name="T40" fmla="*/ 64 w 1538"/>
                <a:gd name="T41" fmla="*/ 1073 h 1537"/>
                <a:gd name="T42" fmla="*/ 4 w 1538"/>
                <a:gd name="T43" fmla="*/ 827 h 1537"/>
                <a:gd name="T44" fmla="*/ 11 w 1538"/>
                <a:gd name="T45" fmla="*/ 646 h 1537"/>
                <a:gd name="T46" fmla="*/ 75 w 1538"/>
                <a:gd name="T47" fmla="*/ 439 h 1537"/>
                <a:gd name="T48" fmla="*/ 290 w 1538"/>
                <a:gd name="T49" fmla="*/ 168 h 1537"/>
                <a:gd name="T50" fmla="*/ 517 w 1538"/>
                <a:gd name="T51" fmla="*/ 42 h 1537"/>
                <a:gd name="T52" fmla="*/ 669 w 1538"/>
                <a:gd name="T53" fmla="*/ 6 h 1537"/>
                <a:gd name="T54" fmla="*/ 701 w 1538"/>
                <a:gd name="T55" fmla="*/ 0 h 1537"/>
                <a:gd name="T56" fmla="*/ 425 w 1538"/>
                <a:gd name="T57" fmla="*/ 775 h 1537"/>
                <a:gd name="T58" fmla="*/ 424 w 1538"/>
                <a:gd name="T59" fmla="*/ 1232 h 1537"/>
                <a:gd name="T60" fmla="*/ 441 w 1538"/>
                <a:gd name="T61" fmla="*/ 1249 h 1537"/>
                <a:gd name="T62" fmla="*/ 1097 w 1538"/>
                <a:gd name="T63" fmla="*/ 1249 h 1537"/>
                <a:gd name="T64" fmla="*/ 1113 w 1538"/>
                <a:gd name="T65" fmla="*/ 1233 h 1537"/>
                <a:gd name="T66" fmla="*/ 1113 w 1538"/>
                <a:gd name="T67" fmla="*/ 453 h 1537"/>
                <a:gd name="T68" fmla="*/ 1107 w 1538"/>
                <a:gd name="T69" fmla="*/ 432 h 1537"/>
                <a:gd name="T70" fmla="*/ 1035 w 1538"/>
                <a:gd name="T71" fmla="*/ 315 h 1537"/>
                <a:gd name="T72" fmla="*/ 1013 w 1538"/>
                <a:gd name="T73" fmla="*/ 302 h 1537"/>
                <a:gd name="T74" fmla="*/ 442 w 1538"/>
                <a:gd name="T75" fmla="*/ 302 h 1537"/>
                <a:gd name="T76" fmla="*/ 424 w 1538"/>
                <a:gd name="T77" fmla="*/ 319 h 1537"/>
                <a:gd name="T78" fmla="*/ 425 w 1538"/>
                <a:gd name="T79" fmla="*/ 775 h 1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38" h="1537">
                  <a:moveTo>
                    <a:pt x="701" y="0"/>
                  </a:moveTo>
                  <a:cubicBezTo>
                    <a:pt x="747" y="0"/>
                    <a:pt x="793" y="0"/>
                    <a:pt x="839" y="0"/>
                  </a:cubicBezTo>
                  <a:cubicBezTo>
                    <a:pt x="840" y="6"/>
                    <a:pt x="845" y="3"/>
                    <a:pt x="849" y="4"/>
                  </a:cubicBezTo>
                  <a:cubicBezTo>
                    <a:pt x="868" y="6"/>
                    <a:pt x="886" y="7"/>
                    <a:pt x="905" y="11"/>
                  </a:cubicBezTo>
                  <a:cubicBezTo>
                    <a:pt x="966" y="23"/>
                    <a:pt x="1025" y="41"/>
                    <a:pt x="1083" y="66"/>
                  </a:cubicBezTo>
                  <a:cubicBezTo>
                    <a:pt x="1155" y="97"/>
                    <a:pt x="1221" y="140"/>
                    <a:pt x="1279" y="192"/>
                  </a:cubicBezTo>
                  <a:cubicBezTo>
                    <a:pt x="1350" y="255"/>
                    <a:pt x="1407" y="327"/>
                    <a:pt x="1451" y="411"/>
                  </a:cubicBezTo>
                  <a:cubicBezTo>
                    <a:pt x="1492" y="492"/>
                    <a:pt x="1520" y="576"/>
                    <a:pt x="1532" y="666"/>
                  </a:cubicBezTo>
                  <a:cubicBezTo>
                    <a:pt x="1533" y="677"/>
                    <a:pt x="1529" y="689"/>
                    <a:pt x="1538" y="699"/>
                  </a:cubicBezTo>
                  <a:cubicBezTo>
                    <a:pt x="1538" y="745"/>
                    <a:pt x="1538" y="791"/>
                    <a:pt x="1538" y="837"/>
                  </a:cubicBezTo>
                  <a:cubicBezTo>
                    <a:pt x="1533" y="838"/>
                    <a:pt x="1534" y="842"/>
                    <a:pt x="1534" y="845"/>
                  </a:cubicBezTo>
                  <a:cubicBezTo>
                    <a:pt x="1534" y="864"/>
                    <a:pt x="1531" y="883"/>
                    <a:pt x="1527" y="901"/>
                  </a:cubicBezTo>
                  <a:cubicBezTo>
                    <a:pt x="1511" y="987"/>
                    <a:pt x="1483" y="1068"/>
                    <a:pt x="1440" y="1144"/>
                  </a:cubicBezTo>
                  <a:cubicBezTo>
                    <a:pt x="1393" y="1229"/>
                    <a:pt x="1332" y="1301"/>
                    <a:pt x="1258" y="1362"/>
                  </a:cubicBezTo>
                  <a:cubicBezTo>
                    <a:pt x="1197" y="1413"/>
                    <a:pt x="1129" y="1453"/>
                    <a:pt x="1055" y="1482"/>
                  </a:cubicBezTo>
                  <a:cubicBezTo>
                    <a:pt x="982" y="1511"/>
                    <a:pt x="906" y="1530"/>
                    <a:pt x="828" y="1534"/>
                  </a:cubicBezTo>
                  <a:cubicBezTo>
                    <a:pt x="784" y="1537"/>
                    <a:pt x="740" y="1537"/>
                    <a:pt x="695" y="1533"/>
                  </a:cubicBezTo>
                  <a:cubicBezTo>
                    <a:pt x="656" y="1529"/>
                    <a:pt x="617" y="1522"/>
                    <a:pt x="579" y="1512"/>
                  </a:cubicBezTo>
                  <a:cubicBezTo>
                    <a:pt x="505" y="1494"/>
                    <a:pt x="437" y="1464"/>
                    <a:pt x="372" y="1426"/>
                  </a:cubicBezTo>
                  <a:cubicBezTo>
                    <a:pt x="303" y="1384"/>
                    <a:pt x="243" y="1333"/>
                    <a:pt x="191" y="1274"/>
                  </a:cubicBezTo>
                  <a:cubicBezTo>
                    <a:pt x="138" y="1214"/>
                    <a:pt x="96" y="1147"/>
                    <a:pt x="64" y="1073"/>
                  </a:cubicBezTo>
                  <a:cubicBezTo>
                    <a:pt x="31" y="994"/>
                    <a:pt x="9" y="913"/>
                    <a:pt x="4" y="827"/>
                  </a:cubicBezTo>
                  <a:cubicBezTo>
                    <a:pt x="0" y="767"/>
                    <a:pt x="1" y="706"/>
                    <a:pt x="11" y="646"/>
                  </a:cubicBezTo>
                  <a:cubicBezTo>
                    <a:pt x="23" y="574"/>
                    <a:pt x="44" y="504"/>
                    <a:pt x="75" y="439"/>
                  </a:cubicBezTo>
                  <a:cubicBezTo>
                    <a:pt x="126" y="332"/>
                    <a:pt x="198" y="241"/>
                    <a:pt x="290" y="168"/>
                  </a:cubicBezTo>
                  <a:cubicBezTo>
                    <a:pt x="359" y="113"/>
                    <a:pt x="434" y="71"/>
                    <a:pt x="517" y="42"/>
                  </a:cubicBezTo>
                  <a:cubicBezTo>
                    <a:pt x="566" y="25"/>
                    <a:pt x="617" y="13"/>
                    <a:pt x="669" y="6"/>
                  </a:cubicBezTo>
                  <a:cubicBezTo>
                    <a:pt x="679" y="5"/>
                    <a:pt x="692" y="9"/>
                    <a:pt x="701" y="0"/>
                  </a:cubicBezTo>
                  <a:close/>
                  <a:moveTo>
                    <a:pt x="425" y="775"/>
                  </a:moveTo>
                  <a:cubicBezTo>
                    <a:pt x="425" y="927"/>
                    <a:pt x="425" y="1080"/>
                    <a:pt x="424" y="1232"/>
                  </a:cubicBezTo>
                  <a:cubicBezTo>
                    <a:pt x="424" y="1245"/>
                    <a:pt x="427" y="1249"/>
                    <a:pt x="441" y="1249"/>
                  </a:cubicBezTo>
                  <a:cubicBezTo>
                    <a:pt x="659" y="1248"/>
                    <a:pt x="878" y="1248"/>
                    <a:pt x="1097" y="1249"/>
                  </a:cubicBezTo>
                  <a:cubicBezTo>
                    <a:pt x="1110" y="1249"/>
                    <a:pt x="1113" y="1246"/>
                    <a:pt x="1113" y="1233"/>
                  </a:cubicBezTo>
                  <a:cubicBezTo>
                    <a:pt x="1113" y="973"/>
                    <a:pt x="1113" y="713"/>
                    <a:pt x="1113" y="453"/>
                  </a:cubicBezTo>
                  <a:cubicBezTo>
                    <a:pt x="1113" y="445"/>
                    <a:pt x="1111" y="439"/>
                    <a:pt x="1107" y="432"/>
                  </a:cubicBezTo>
                  <a:cubicBezTo>
                    <a:pt x="1083" y="393"/>
                    <a:pt x="1059" y="354"/>
                    <a:pt x="1035" y="315"/>
                  </a:cubicBezTo>
                  <a:cubicBezTo>
                    <a:pt x="1030" y="305"/>
                    <a:pt x="1024" y="302"/>
                    <a:pt x="1013" y="302"/>
                  </a:cubicBezTo>
                  <a:cubicBezTo>
                    <a:pt x="822" y="302"/>
                    <a:pt x="632" y="302"/>
                    <a:pt x="442" y="302"/>
                  </a:cubicBezTo>
                  <a:cubicBezTo>
                    <a:pt x="428" y="302"/>
                    <a:pt x="424" y="305"/>
                    <a:pt x="424" y="319"/>
                  </a:cubicBezTo>
                  <a:cubicBezTo>
                    <a:pt x="425" y="471"/>
                    <a:pt x="424" y="623"/>
                    <a:pt x="425" y="7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0" name="Freeform 57"/>
            <p:cNvSpPr>
              <a:spLocks noEditPoints="1"/>
            </p:cNvSpPr>
            <p:nvPr/>
          </p:nvSpPr>
          <p:spPr bwMode="auto">
            <a:xfrm>
              <a:off x="3187" y="1642"/>
              <a:ext cx="435" cy="291"/>
            </a:xfrm>
            <a:custGeom>
              <a:avLst/>
              <a:gdLst>
                <a:gd name="T0" fmla="*/ 119 w 184"/>
                <a:gd name="T1" fmla="*/ 35 h 123"/>
                <a:gd name="T2" fmla="*/ 163 w 184"/>
                <a:gd name="T3" fmla="*/ 5 h 123"/>
                <a:gd name="T4" fmla="*/ 176 w 184"/>
                <a:gd name="T5" fmla="*/ 8 h 123"/>
                <a:gd name="T6" fmla="*/ 175 w 184"/>
                <a:gd name="T7" fmla="*/ 23 h 123"/>
                <a:gd name="T8" fmla="*/ 128 w 184"/>
                <a:gd name="T9" fmla="*/ 54 h 123"/>
                <a:gd name="T10" fmla="*/ 118 w 184"/>
                <a:gd name="T11" fmla="*/ 73 h 123"/>
                <a:gd name="T12" fmla="*/ 119 w 184"/>
                <a:gd name="T13" fmla="*/ 112 h 123"/>
                <a:gd name="T14" fmla="*/ 107 w 184"/>
                <a:gd name="T15" fmla="*/ 123 h 123"/>
                <a:gd name="T16" fmla="*/ 11 w 184"/>
                <a:gd name="T17" fmla="*/ 123 h 123"/>
                <a:gd name="T18" fmla="*/ 0 w 184"/>
                <a:gd name="T19" fmla="*/ 112 h 123"/>
                <a:gd name="T20" fmla="*/ 0 w 184"/>
                <a:gd name="T21" fmla="*/ 16 h 123"/>
                <a:gd name="T22" fmla="*/ 12 w 184"/>
                <a:gd name="T23" fmla="*/ 3 h 123"/>
                <a:gd name="T24" fmla="*/ 106 w 184"/>
                <a:gd name="T25" fmla="*/ 3 h 123"/>
                <a:gd name="T26" fmla="*/ 119 w 184"/>
                <a:gd name="T27" fmla="*/ 16 h 123"/>
                <a:gd name="T28" fmla="*/ 119 w 184"/>
                <a:gd name="T29" fmla="*/ 35 h 123"/>
                <a:gd name="T30" fmla="*/ 107 w 184"/>
                <a:gd name="T31" fmla="*/ 69 h 123"/>
                <a:gd name="T32" fmla="*/ 85 w 184"/>
                <a:gd name="T33" fmla="*/ 84 h 123"/>
                <a:gd name="T34" fmla="*/ 34 w 184"/>
                <a:gd name="T35" fmla="*/ 80 h 123"/>
                <a:gd name="T36" fmla="*/ 31 w 184"/>
                <a:gd name="T37" fmla="*/ 64 h 123"/>
                <a:gd name="T38" fmla="*/ 49 w 184"/>
                <a:gd name="T39" fmla="*/ 64 h 123"/>
                <a:gd name="T40" fmla="*/ 66 w 184"/>
                <a:gd name="T41" fmla="*/ 71 h 123"/>
                <a:gd name="T42" fmla="*/ 103 w 184"/>
                <a:gd name="T43" fmla="*/ 45 h 123"/>
                <a:gd name="T44" fmla="*/ 108 w 184"/>
                <a:gd name="T45" fmla="*/ 19 h 123"/>
                <a:gd name="T46" fmla="*/ 93 w 184"/>
                <a:gd name="T47" fmla="*/ 15 h 123"/>
                <a:gd name="T48" fmla="*/ 22 w 184"/>
                <a:gd name="T49" fmla="*/ 14 h 123"/>
                <a:gd name="T50" fmla="*/ 9 w 184"/>
                <a:gd name="T51" fmla="*/ 27 h 123"/>
                <a:gd name="T52" fmla="*/ 9 w 184"/>
                <a:gd name="T53" fmla="*/ 101 h 123"/>
                <a:gd name="T54" fmla="*/ 21 w 184"/>
                <a:gd name="T55" fmla="*/ 113 h 123"/>
                <a:gd name="T56" fmla="*/ 71 w 184"/>
                <a:gd name="T57" fmla="*/ 113 h 123"/>
                <a:gd name="T58" fmla="*/ 107 w 184"/>
                <a:gd name="T59" fmla="*/ 69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4" h="123">
                  <a:moveTo>
                    <a:pt x="119" y="35"/>
                  </a:moveTo>
                  <a:cubicBezTo>
                    <a:pt x="135" y="24"/>
                    <a:pt x="150" y="15"/>
                    <a:pt x="163" y="5"/>
                  </a:cubicBezTo>
                  <a:cubicBezTo>
                    <a:pt x="170" y="0"/>
                    <a:pt x="172" y="3"/>
                    <a:pt x="176" y="8"/>
                  </a:cubicBezTo>
                  <a:cubicBezTo>
                    <a:pt x="179" y="13"/>
                    <a:pt x="184" y="18"/>
                    <a:pt x="175" y="23"/>
                  </a:cubicBezTo>
                  <a:cubicBezTo>
                    <a:pt x="159" y="33"/>
                    <a:pt x="144" y="44"/>
                    <a:pt x="128" y="54"/>
                  </a:cubicBezTo>
                  <a:cubicBezTo>
                    <a:pt x="121" y="59"/>
                    <a:pt x="118" y="64"/>
                    <a:pt x="118" y="73"/>
                  </a:cubicBezTo>
                  <a:cubicBezTo>
                    <a:pt x="119" y="86"/>
                    <a:pt x="118" y="99"/>
                    <a:pt x="119" y="112"/>
                  </a:cubicBezTo>
                  <a:cubicBezTo>
                    <a:pt x="119" y="120"/>
                    <a:pt x="116" y="123"/>
                    <a:pt x="107" y="123"/>
                  </a:cubicBezTo>
                  <a:cubicBezTo>
                    <a:pt x="75" y="123"/>
                    <a:pt x="43" y="123"/>
                    <a:pt x="11" y="123"/>
                  </a:cubicBezTo>
                  <a:cubicBezTo>
                    <a:pt x="3" y="123"/>
                    <a:pt x="0" y="120"/>
                    <a:pt x="0" y="112"/>
                  </a:cubicBezTo>
                  <a:cubicBezTo>
                    <a:pt x="0" y="80"/>
                    <a:pt x="0" y="48"/>
                    <a:pt x="0" y="16"/>
                  </a:cubicBezTo>
                  <a:cubicBezTo>
                    <a:pt x="0" y="7"/>
                    <a:pt x="3" y="3"/>
                    <a:pt x="12" y="3"/>
                  </a:cubicBezTo>
                  <a:cubicBezTo>
                    <a:pt x="43" y="4"/>
                    <a:pt x="75" y="4"/>
                    <a:pt x="106" y="3"/>
                  </a:cubicBezTo>
                  <a:cubicBezTo>
                    <a:pt x="115" y="3"/>
                    <a:pt x="119" y="7"/>
                    <a:pt x="119" y="16"/>
                  </a:cubicBezTo>
                  <a:cubicBezTo>
                    <a:pt x="118" y="21"/>
                    <a:pt x="119" y="26"/>
                    <a:pt x="119" y="35"/>
                  </a:cubicBezTo>
                  <a:close/>
                  <a:moveTo>
                    <a:pt x="107" y="69"/>
                  </a:moveTo>
                  <a:cubicBezTo>
                    <a:pt x="98" y="75"/>
                    <a:pt x="91" y="79"/>
                    <a:pt x="85" y="84"/>
                  </a:cubicBezTo>
                  <a:cubicBezTo>
                    <a:pt x="58" y="102"/>
                    <a:pt x="58" y="102"/>
                    <a:pt x="34" y="80"/>
                  </a:cubicBezTo>
                  <a:cubicBezTo>
                    <a:pt x="29" y="75"/>
                    <a:pt x="23" y="72"/>
                    <a:pt x="31" y="64"/>
                  </a:cubicBezTo>
                  <a:cubicBezTo>
                    <a:pt x="38" y="55"/>
                    <a:pt x="43" y="59"/>
                    <a:pt x="49" y="64"/>
                  </a:cubicBezTo>
                  <a:cubicBezTo>
                    <a:pt x="53" y="68"/>
                    <a:pt x="57" y="77"/>
                    <a:pt x="66" y="71"/>
                  </a:cubicBezTo>
                  <a:cubicBezTo>
                    <a:pt x="78" y="62"/>
                    <a:pt x="91" y="54"/>
                    <a:pt x="103" y="45"/>
                  </a:cubicBezTo>
                  <a:cubicBezTo>
                    <a:pt x="113" y="38"/>
                    <a:pt x="109" y="28"/>
                    <a:pt x="108" y="19"/>
                  </a:cubicBezTo>
                  <a:cubicBezTo>
                    <a:pt x="107" y="11"/>
                    <a:pt x="98" y="15"/>
                    <a:pt x="93" y="15"/>
                  </a:cubicBezTo>
                  <a:cubicBezTo>
                    <a:pt x="69" y="14"/>
                    <a:pt x="46" y="15"/>
                    <a:pt x="22" y="14"/>
                  </a:cubicBezTo>
                  <a:cubicBezTo>
                    <a:pt x="12" y="14"/>
                    <a:pt x="9" y="18"/>
                    <a:pt x="9" y="27"/>
                  </a:cubicBezTo>
                  <a:cubicBezTo>
                    <a:pt x="10" y="52"/>
                    <a:pt x="10" y="76"/>
                    <a:pt x="9" y="101"/>
                  </a:cubicBezTo>
                  <a:cubicBezTo>
                    <a:pt x="9" y="109"/>
                    <a:pt x="12" y="113"/>
                    <a:pt x="21" y="113"/>
                  </a:cubicBezTo>
                  <a:cubicBezTo>
                    <a:pt x="38" y="113"/>
                    <a:pt x="54" y="113"/>
                    <a:pt x="71" y="113"/>
                  </a:cubicBezTo>
                  <a:cubicBezTo>
                    <a:pt x="112" y="113"/>
                    <a:pt x="112" y="113"/>
                    <a:pt x="107" y="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1" name="Freeform 58"/>
            <p:cNvSpPr>
              <a:spLocks noEditPoints="1"/>
            </p:cNvSpPr>
            <p:nvPr/>
          </p:nvSpPr>
          <p:spPr bwMode="auto">
            <a:xfrm>
              <a:off x="3187" y="1261"/>
              <a:ext cx="430" cy="288"/>
            </a:xfrm>
            <a:custGeom>
              <a:avLst/>
              <a:gdLst>
                <a:gd name="T0" fmla="*/ 120 w 182"/>
                <a:gd name="T1" fmla="*/ 33 h 122"/>
                <a:gd name="T2" fmla="*/ 162 w 182"/>
                <a:gd name="T3" fmla="*/ 5 h 122"/>
                <a:gd name="T4" fmla="*/ 176 w 182"/>
                <a:gd name="T5" fmla="*/ 7 h 122"/>
                <a:gd name="T6" fmla="*/ 174 w 182"/>
                <a:gd name="T7" fmla="*/ 23 h 122"/>
                <a:gd name="T8" fmla="*/ 129 w 182"/>
                <a:gd name="T9" fmla="*/ 53 h 122"/>
                <a:gd name="T10" fmla="*/ 118 w 182"/>
                <a:gd name="T11" fmla="*/ 72 h 122"/>
                <a:gd name="T12" fmla="*/ 119 w 182"/>
                <a:gd name="T13" fmla="*/ 110 h 122"/>
                <a:gd name="T14" fmla="*/ 106 w 182"/>
                <a:gd name="T15" fmla="*/ 122 h 122"/>
                <a:gd name="T16" fmla="*/ 12 w 182"/>
                <a:gd name="T17" fmla="*/ 122 h 122"/>
                <a:gd name="T18" fmla="*/ 0 w 182"/>
                <a:gd name="T19" fmla="*/ 110 h 122"/>
                <a:gd name="T20" fmla="*/ 0 w 182"/>
                <a:gd name="T21" fmla="*/ 16 h 122"/>
                <a:gd name="T22" fmla="*/ 13 w 182"/>
                <a:gd name="T23" fmla="*/ 3 h 122"/>
                <a:gd name="T24" fmla="*/ 100 w 182"/>
                <a:gd name="T25" fmla="*/ 3 h 122"/>
                <a:gd name="T26" fmla="*/ 119 w 182"/>
                <a:gd name="T27" fmla="*/ 21 h 122"/>
                <a:gd name="T28" fmla="*/ 120 w 182"/>
                <a:gd name="T29" fmla="*/ 33 h 122"/>
                <a:gd name="T30" fmla="*/ 108 w 182"/>
                <a:gd name="T31" fmla="*/ 67 h 122"/>
                <a:gd name="T32" fmla="*/ 84 w 182"/>
                <a:gd name="T33" fmla="*/ 83 h 122"/>
                <a:gd name="T34" fmla="*/ 35 w 182"/>
                <a:gd name="T35" fmla="*/ 80 h 122"/>
                <a:gd name="T36" fmla="*/ 31 w 182"/>
                <a:gd name="T37" fmla="*/ 62 h 122"/>
                <a:gd name="T38" fmla="*/ 49 w 182"/>
                <a:gd name="T39" fmla="*/ 64 h 122"/>
                <a:gd name="T40" fmla="*/ 65 w 182"/>
                <a:gd name="T41" fmla="*/ 71 h 122"/>
                <a:gd name="T42" fmla="*/ 103 w 182"/>
                <a:gd name="T43" fmla="*/ 44 h 122"/>
                <a:gd name="T44" fmla="*/ 108 w 182"/>
                <a:gd name="T45" fmla="*/ 18 h 122"/>
                <a:gd name="T46" fmla="*/ 92 w 182"/>
                <a:gd name="T47" fmla="*/ 14 h 122"/>
                <a:gd name="T48" fmla="*/ 21 w 182"/>
                <a:gd name="T49" fmla="*/ 13 h 122"/>
                <a:gd name="T50" fmla="*/ 9 w 182"/>
                <a:gd name="T51" fmla="*/ 23 h 122"/>
                <a:gd name="T52" fmla="*/ 9 w 182"/>
                <a:gd name="T53" fmla="*/ 103 h 122"/>
                <a:gd name="T54" fmla="*/ 19 w 182"/>
                <a:gd name="T55" fmla="*/ 113 h 122"/>
                <a:gd name="T56" fmla="*/ 100 w 182"/>
                <a:gd name="T57" fmla="*/ 112 h 122"/>
                <a:gd name="T58" fmla="*/ 108 w 182"/>
                <a:gd name="T59" fmla="*/ 104 h 122"/>
                <a:gd name="T60" fmla="*/ 108 w 182"/>
                <a:gd name="T61" fmla="*/ 6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82" h="122">
                  <a:moveTo>
                    <a:pt x="120" y="33"/>
                  </a:moveTo>
                  <a:cubicBezTo>
                    <a:pt x="135" y="23"/>
                    <a:pt x="149" y="15"/>
                    <a:pt x="162" y="5"/>
                  </a:cubicBezTo>
                  <a:cubicBezTo>
                    <a:pt x="168" y="1"/>
                    <a:pt x="172" y="0"/>
                    <a:pt x="176" y="7"/>
                  </a:cubicBezTo>
                  <a:cubicBezTo>
                    <a:pt x="180" y="14"/>
                    <a:pt x="182" y="18"/>
                    <a:pt x="174" y="23"/>
                  </a:cubicBezTo>
                  <a:cubicBezTo>
                    <a:pt x="159" y="33"/>
                    <a:pt x="144" y="43"/>
                    <a:pt x="129" y="53"/>
                  </a:cubicBezTo>
                  <a:cubicBezTo>
                    <a:pt x="121" y="58"/>
                    <a:pt x="118" y="63"/>
                    <a:pt x="118" y="72"/>
                  </a:cubicBezTo>
                  <a:cubicBezTo>
                    <a:pt x="119" y="85"/>
                    <a:pt x="118" y="97"/>
                    <a:pt x="119" y="110"/>
                  </a:cubicBezTo>
                  <a:cubicBezTo>
                    <a:pt x="119" y="119"/>
                    <a:pt x="116" y="122"/>
                    <a:pt x="106" y="122"/>
                  </a:cubicBezTo>
                  <a:cubicBezTo>
                    <a:pt x="75" y="122"/>
                    <a:pt x="43" y="122"/>
                    <a:pt x="12" y="122"/>
                  </a:cubicBezTo>
                  <a:cubicBezTo>
                    <a:pt x="3" y="122"/>
                    <a:pt x="0" y="119"/>
                    <a:pt x="0" y="110"/>
                  </a:cubicBezTo>
                  <a:cubicBezTo>
                    <a:pt x="0" y="79"/>
                    <a:pt x="0" y="47"/>
                    <a:pt x="0" y="16"/>
                  </a:cubicBezTo>
                  <a:cubicBezTo>
                    <a:pt x="0" y="6"/>
                    <a:pt x="3" y="3"/>
                    <a:pt x="13" y="3"/>
                  </a:cubicBezTo>
                  <a:cubicBezTo>
                    <a:pt x="42" y="3"/>
                    <a:pt x="71" y="4"/>
                    <a:pt x="100" y="3"/>
                  </a:cubicBezTo>
                  <a:cubicBezTo>
                    <a:pt x="114" y="2"/>
                    <a:pt x="121" y="6"/>
                    <a:pt x="119" y="21"/>
                  </a:cubicBezTo>
                  <a:cubicBezTo>
                    <a:pt x="118" y="24"/>
                    <a:pt x="119" y="28"/>
                    <a:pt x="120" y="33"/>
                  </a:cubicBezTo>
                  <a:close/>
                  <a:moveTo>
                    <a:pt x="108" y="67"/>
                  </a:moveTo>
                  <a:cubicBezTo>
                    <a:pt x="98" y="74"/>
                    <a:pt x="91" y="79"/>
                    <a:pt x="84" y="83"/>
                  </a:cubicBezTo>
                  <a:cubicBezTo>
                    <a:pt x="58" y="101"/>
                    <a:pt x="58" y="101"/>
                    <a:pt x="35" y="80"/>
                  </a:cubicBezTo>
                  <a:cubicBezTo>
                    <a:pt x="29" y="75"/>
                    <a:pt x="23" y="72"/>
                    <a:pt x="31" y="62"/>
                  </a:cubicBezTo>
                  <a:cubicBezTo>
                    <a:pt x="40" y="53"/>
                    <a:pt x="43" y="60"/>
                    <a:pt x="49" y="64"/>
                  </a:cubicBezTo>
                  <a:cubicBezTo>
                    <a:pt x="54" y="68"/>
                    <a:pt x="57" y="76"/>
                    <a:pt x="65" y="71"/>
                  </a:cubicBezTo>
                  <a:cubicBezTo>
                    <a:pt x="78" y="62"/>
                    <a:pt x="91" y="54"/>
                    <a:pt x="103" y="44"/>
                  </a:cubicBezTo>
                  <a:cubicBezTo>
                    <a:pt x="113" y="37"/>
                    <a:pt x="109" y="27"/>
                    <a:pt x="108" y="18"/>
                  </a:cubicBezTo>
                  <a:cubicBezTo>
                    <a:pt x="107" y="10"/>
                    <a:pt x="98" y="14"/>
                    <a:pt x="92" y="14"/>
                  </a:cubicBezTo>
                  <a:cubicBezTo>
                    <a:pt x="68" y="13"/>
                    <a:pt x="44" y="14"/>
                    <a:pt x="21" y="13"/>
                  </a:cubicBezTo>
                  <a:cubicBezTo>
                    <a:pt x="13" y="13"/>
                    <a:pt x="9" y="15"/>
                    <a:pt x="9" y="23"/>
                  </a:cubicBezTo>
                  <a:cubicBezTo>
                    <a:pt x="10" y="50"/>
                    <a:pt x="10" y="76"/>
                    <a:pt x="9" y="103"/>
                  </a:cubicBezTo>
                  <a:cubicBezTo>
                    <a:pt x="9" y="109"/>
                    <a:pt x="12" y="113"/>
                    <a:pt x="19" y="113"/>
                  </a:cubicBezTo>
                  <a:cubicBezTo>
                    <a:pt x="46" y="112"/>
                    <a:pt x="73" y="112"/>
                    <a:pt x="100" y="112"/>
                  </a:cubicBezTo>
                  <a:cubicBezTo>
                    <a:pt x="106" y="112"/>
                    <a:pt x="108" y="110"/>
                    <a:pt x="108" y="104"/>
                  </a:cubicBezTo>
                  <a:cubicBezTo>
                    <a:pt x="108" y="93"/>
                    <a:pt x="108" y="82"/>
                    <a:pt x="108" y="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2" name="Freeform 59"/>
            <p:cNvSpPr>
              <a:spLocks/>
            </p:cNvSpPr>
            <p:nvPr/>
          </p:nvSpPr>
          <p:spPr bwMode="auto">
            <a:xfrm>
              <a:off x="3606" y="1871"/>
              <a:ext cx="861" cy="55"/>
            </a:xfrm>
            <a:custGeom>
              <a:avLst/>
              <a:gdLst>
                <a:gd name="T0" fmla="*/ 181 w 364"/>
                <a:gd name="T1" fmla="*/ 20 h 23"/>
                <a:gd name="T2" fmla="*/ 13 w 364"/>
                <a:gd name="T3" fmla="*/ 20 h 23"/>
                <a:gd name="T4" fmla="*/ 0 w 364"/>
                <a:gd name="T5" fmla="*/ 12 h 23"/>
                <a:gd name="T6" fmla="*/ 14 w 364"/>
                <a:gd name="T7" fmla="*/ 3 h 23"/>
                <a:gd name="T8" fmla="*/ 351 w 364"/>
                <a:gd name="T9" fmla="*/ 3 h 23"/>
                <a:gd name="T10" fmla="*/ 363 w 364"/>
                <a:gd name="T11" fmla="*/ 11 h 23"/>
                <a:gd name="T12" fmla="*/ 350 w 364"/>
                <a:gd name="T13" fmla="*/ 20 h 23"/>
                <a:gd name="T14" fmla="*/ 181 w 364"/>
                <a:gd name="T15" fmla="*/ 2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4" h="23">
                  <a:moveTo>
                    <a:pt x="181" y="20"/>
                  </a:moveTo>
                  <a:cubicBezTo>
                    <a:pt x="125" y="20"/>
                    <a:pt x="69" y="20"/>
                    <a:pt x="13" y="20"/>
                  </a:cubicBezTo>
                  <a:cubicBezTo>
                    <a:pt x="8" y="20"/>
                    <a:pt x="0" y="23"/>
                    <a:pt x="0" y="12"/>
                  </a:cubicBezTo>
                  <a:cubicBezTo>
                    <a:pt x="0" y="0"/>
                    <a:pt x="8" y="3"/>
                    <a:pt x="14" y="3"/>
                  </a:cubicBezTo>
                  <a:cubicBezTo>
                    <a:pt x="126" y="3"/>
                    <a:pt x="238" y="3"/>
                    <a:pt x="351" y="3"/>
                  </a:cubicBezTo>
                  <a:cubicBezTo>
                    <a:pt x="356" y="3"/>
                    <a:pt x="363" y="1"/>
                    <a:pt x="363" y="11"/>
                  </a:cubicBezTo>
                  <a:cubicBezTo>
                    <a:pt x="364" y="22"/>
                    <a:pt x="356" y="20"/>
                    <a:pt x="350" y="20"/>
                  </a:cubicBezTo>
                  <a:cubicBezTo>
                    <a:pt x="294" y="20"/>
                    <a:pt x="238" y="20"/>
                    <a:pt x="181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3" name="Freeform 60"/>
            <p:cNvSpPr>
              <a:spLocks/>
            </p:cNvSpPr>
            <p:nvPr/>
          </p:nvSpPr>
          <p:spPr bwMode="auto">
            <a:xfrm>
              <a:off x="3603" y="2245"/>
              <a:ext cx="864" cy="57"/>
            </a:xfrm>
            <a:custGeom>
              <a:avLst/>
              <a:gdLst>
                <a:gd name="T0" fmla="*/ 184 w 365"/>
                <a:gd name="T1" fmla="*/ 3 h 24"/>
                <a:gd name="T2" fmla="*/ 350 w 365"/>
                <a:gd name="T3" fmla="*/ 3 h 24"/>
                <a:gd name="T4" fmla="*/ 364 w 365"/>
                <a:gd name="T5" fmla="*/ 11 h 24"/>
                <a:gd name="T6" fmla="*/ 350 w 365"/>
                <a:gd name="T7" fmla="*/ 20 h 24"/>
                <a:gd name="T8" fmla="*/ 16 w 365"/>
                <a:gd name="T9" fmla="*/ 20 h 24"/>
                <a:gd name="T10" fmla="*/ 1 w 365"/>
                <a:gd name="T11" fmla="*/ 14 h 24"/>
                <a:gd name="T12" fmla="*/ 13 w 365"/>
                <a:gd name="T13" fmla="*/ 3 h 24"/>
                <a:gd name="T14" fmla="*/ 184 w 365"/>
                <a:gd name="T15" fmla="*/ 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5" h="24">
                  <a:moveTo>
                    <a:pt x="184" y="3"/>
                  </a:moveTo>
                  <a:cubicBezTo>
                    <a:pt x="240" y="3"/>
                    <a:pt x="295" y="3"/>
                    <a:pt x="350" y="3"/>
                  </a:cubicBezTo>
                  <a:cubicBezTo>
                    <a:pt x="356" y="3"/>
                    <a:pt x="364" y="0"/>
                    <a:pt x="364" y="11"/>
                  </a:cubicBezTo>
                  <a:cubicBezTo>
                    <a:pt x="365" y="23"/>
                    <a:pt x="356" y="20"/>
                    <a:pt x="350" y="20"/>
                  </a:cubicBezTo>
                  <a:cubicBezTo>
                    <a:pt x="239" y="20"/>
                    <a:pt x="127" y="20"/>
                    <a:pt x="16" y="20"/>
                  </a:cubicBezTo>
                  <a:cubicBezTo>
                    <a:pt x="11" y="20"/>
                    <a:pt x="3" y="24"/>
                    <a:pt x="1" y="14"/>
                  </a:cubicBezTo>
                  <a:cubicBezTo>
                    <a:pt x="0" y="5"/>
                    <a:pt x="4" y="3"/>
                    <a:pt x="13" y="3"/>
                  </a:cubicBezTo>
                  <a:cubicBezTo>
                    <a:pt x="70" y="3"/>
                    <a:pt x="127" y="3"/>
                    <a:pt x="18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4" name="Freeform 61"/>
            <p:cNvSpPr>
              <a:spLocks/>
            </p:cNvSpPr>
            <p:nvPr/>
          </p:nvSpPr>
          <p:spPr bwMode="auto">
            <a:xfrm>
              <a:off x="3606" y="3019"/>
              <a:ext cx="861" cy="57"/>
            </a:xfrm>
            <a:custGeom>
              <a:avLst/>
              <a:gdLst>
                <a:gd name="T0" fmla="*/ 183 w 364"/>
                <a:gd name="T1" fmla="*/ 3 h 24"/>
                <a:gd name="T2" fmla="*/ 349 w 364"/>
                <a:gd name="T3" fmla="*/ 3 h 24"/>
                <a:gd name="T4" fmla="*/ 363 w 364"/>
                <a:gd name="T5" fmla="*/ 13 h 24"/>
                <a:gd name="T6" fmla="*/ 349 w 364"/>
                <a:gd name="T7" fmla="*/ 20 h 24"/>
                <a:gd name="T8" fmla="*/ 14 w 364"/>
                <a:gd name="T9" fmla="*/ 21 h 24"/>
                <a:gd name="T10" fmla="*/ 0 w 364"/>
                <a:gd name="T11" fmla="*/ 11 h 24"/>
                <a:gd name="T12" fmla="*/ 14 w 364"/>
                <a:gd name="T13" fmla="*/ 4 h 24"/>
                <a:gd name="T14" fmla="*/ 183 w 364"/>
                <a:gd name="T15" fmla="*/ 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4" h="24">
                  <a:moveTo>
                    <a:pt x="183" y="3"/>
                  </a:moveTo>
                  <a:cubicBezTo>
                    <a:pt x="239" y="3"/>
                    <a:pt x="294" y="3"/>
                    <a:pt x="349" y="3"/>
                  </a:cubicBezTo>
                  <a:cubicBezTo>
                    <a:pt x="356" y="3"/>
                    <a:pt x="364" y="1"/>
                    <a:pt x="363" y="13"/>
                  </a:cubicBezTo>
                  <a:cubicBezTo>
                    <a:pt x="363" y="24"/>
                    <a:pt x="355" y="20"/>
                    <a:pt x="349" y="20"/>
                  </a:cubicBezTo>
                  <a:cubicBezTo>
                    <a:pt x="238" y="21"/>
                    <a:pt x="126" y="21"/>
                    <a:pt x="14" y="21"/>
                  </a:cubicBezTo>
                  <a:cubicBezTo>
                    <a:pt x="8" y="21"/>
                    <a:pt x="0" y="23"/>
                    <a:pt x="0" y="11"/>
                  </a:cubicBezTo>
                  <a:cubicBezTo>
                    <a:pt x="1" y="0"/>
                    <a:pt x="9" y="4"/>
                    <a:pt x="14" y="4"/>
                  </a:cubicBezTo>
                  <a:cubicBezTo>
                    <a:pt x="70" y="3"/>
                    <a:pt x="127" y="3"/>
                    <a:pt x="18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5" name="Freeform 62"/>
            <p:cNvSpPr>
              <a:spLocks/>
            </p:cNvSpPr>
            <p:nvPr/>
          </p:nvSpPr>
          <p:spPr bwMode="auto">
            <a:xfrm>
              <a:off x="3606" y="1462"/>
              <a:ext cx="859" cy="54"/>
            </a:xfrm>
            <a:custGeom>
              <a:avLst/>
              <a:gdLst>
                <a:gd name="T0" fmla="*/ 183 w 363"/>
                <a:gd name="T1" fmla="*/ 3 h 23"/>
                <a:gd name="T2" fmla="*/ 349 w 363"/>
                <a:gd name="T3" fmla="*/ 3 h 23"/>
                <a:gd name="T4" fmla="*/ 363 w 363"/>
                <a:gd name="T5" fmla="*/ 11 h 23"/>
                <a:gd name="T6" fmla="*/ 349 w 363"/>
                <a:gd name="T7" fmla="*/ 19 h 23"/>
                <a:gd name="T8" fmla="*/ 13 w 363"/>
                <a:gd name="T9" fmla="*/ 19 h 23"/>
                <a:gd name="T10" fmla="*/ 0 w 363"/>
                <a:gd name="T11" fmla="*/ 12 h 23"/>
                <a:gd name="T12" fmla="*/ 13 w 363"/>
                <a:gd name="T13" fmla="*/ 3 h 23"/>
                <a:gd name="T14" fmla="*/ 183 w 363"/>
                <a:gd name="T15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3" h="23">
                  <a:moveTo>
                    <a:pt x="183" y="3"/>
                  </a:moveTo>
                  <a:cubicBezTo>
                    <a:pt x="238" y="3"/>
                    <a:pt x="294" y="3"/>
                    <a:pt x="349" y="3"/>
                  </a:cubicBezTo>
                  <a:cubicBezTo>
                    <a:pt x="355" y="3"/>
                    <a:pt x="363" y="0"/>
                    <a:pt x="363" y="11"/>
                  </a:cubicBezTo>
                  <a:cubicBezTo>
                    <a:pt x="363" y="23"/>
                    <a:pt x="355" y="19"/>
                    <a:pt x="349" y="19"/>
                  </a:cubicBezTo>
                  <a:cubicBezTo>
                    <a:pt x="237" y="20"/>
                    <a:pt x="125" y="20"/>
                    <a:pt x="13" y="19"/>
                  </a:cubicBezTo>
                  <a:cubicBezTo>
                    <a:pt x="8" y="19"/>
                    <a:pt x="1" y="22"/>
                    <a:pt x="0" y="12"/>
                  </a:cubicBezTo>
                  <a:cubicBezTo>
                    <a:pt x="0" y="1"/>
                    <a:pt x="8" y="3"/>
                    <a:pt x="13" y="3"/>
                  </a:cubicBezTo>
                  <a:cubicBezTo>
                    <a:pt x="70" y="3"/>
                    <a:pt x="126" y="3"/>
                    <a:pt x="18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6" name="Freeform 63"/>
            <p:cNvSpPr>
              <a:spLocks/>
            </p:cNvSpPr>
            <p:nvPr/>
          </p:nvSpPr>
          <p:spPr bwMode="auto">
            <a:xfrm>
              <a:off x="3606" y="2655"/>
              <a:ext cx="859" cy="52"/>
            </a:xfrm>
            <a:custGeom>
              <a:avLst/>
              <a:gdLst>
                <a:gd name="T0" fmla="*/ 180 w 363"/>
                <a:gd name="T1" fmla="*/ 20 h 22"/>
                <a:gd name="T2" fmla="*/ 18 w 363"/>
                <a:gd name="T3" fmla="*/ 20 h 22"/>
                <a:gd name="T4" fmla="*/ 12 w 363"/>
                <a:gd name="T5" fmla="*/ 20 h 22"/>
                <a:gd name="T6" fmla="*/ 0 w 363"/>
                <a:gd name="T7" fmla="*/ 11 h 22"/>
                <a:gd name="T8" fmla="*/ 12 w 363"/>
                <a:gd name="T9" fmla="*/ 4 h 22"/>
                <a:gd name="T10" fmla="*/ 144 w 363"/>
                <a:gd name="T11" fmla="*/ 4 h 22"/>
                <a:gd name="T12" fmla="*/ 349 w 363"/>
                <a:gd name="T13" fmla="*/ 4 h 22"/>
                <a:gd name="T14" fmla="*/ 363 w 363"/>
                <a:gd name="T15" fmla="*/ 11 h 22"/>
                <a:gd name="T16" fmla="*/ 349 w 363"/>
                <a:gd name="T17" fmla="*/ 20 h 22"/>
                <a:gd name="T18" fmla="*/ 180 w 363"/>
                <a:gd name="T19" fmla="*/ 2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3" h="22">
                  <a:moveTo>
                    <a:pt x="180" y="20"/>
                  </a:moveTo>
                  <a:cubicBezTo>
                    <a:pt x="126" y="20"/>
                    <a:pt x="72" y="20"/>
                    <a:pt x="18" y="20"/>
                  </a:cubicBezTo>
                  <a:cubicBezTo>
                    <a:pt x="16" y="20"/>
                    <a:pt x="14" y="20"/>
                    <a:pt x="12" y="20"/>
                  </a:cubicBezTo>
                  <a:cubicBezTo>
                    <a:pt x="6" y="20"/>
                    <a:pt x="0" y="21"/>
                    <a:pt x="0" y="11"/>
                  </a:cubicBezTo>
                  <a:cubicBezTo>
                    <a:pt x="1" y="2"/>
                    <a:pt x="7" y="4"/>
                    <a:pt x="12" y="4"/>
                  </a:cubicBezTo>
                  <a:cubicBezTo>
                    <a:pt x="56" y="4"/>
                    <a:pt x="100" y="4"/>
                    <a:pt x="144" y="4"/>
                  </a:cubicBezTo>
                  <a:cubicBezTo>
                    <a:pt x="212" y="4"/>
                    <a:pt x="281" y="3"/>
                    <a:pt x="349" y="4"/>
                  </a:cubicBezTo>
                  <a:cubicBezTo>
                    <a:pt x="355" y="4"/>
                    <a:pt x="363" y="0"/>
                    <a:pt x="363" y="11"/>
                  </a:cubicBezTo>
                  <a:cubicBezTo>
                    <a:pt x="363" y="22"/>
                    <a:pt x="355" y="20"/>
                    <a:pt x="349" y="20"/>
                  </a:cubicBezTo>
                  <a:cubicBezTo>
                    <a:pt x="293" y="20"/>
                    <a:pt x="236" y="20"/>
                    <a:pt x="180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7" name="Freeform 64"/>
            <p:cNvSpPr>
              <a:spLocks noEditPoints="1"/>
            </p:cNvSpPr>
            <p:nvPr/>
          </p:nvSpPr>
          <p:spPr bwMode="auto">
            <a:xfrm>
              <a:off x="3187" y="2416"/>
              <a:ext cx="281" cy="284"/>
            </a:xfrm>
            <a:custGeom>
              <a:avLst/>
              <a:gdLst>
                <a:gd name="T0" fmla="*/ 119 w 119"/>
                <a:gd name="T1" fmla="*/ 61 h 120"/>
                <a:gd name="T2" fmla="*/ 119 w 119"/>
                <a:gd name="T3" fmla="*/ 106 h 120"/>
                <a:gd name="T4" fmla="*/ 106 w 119"/>
                <a:gd name="T5" fmla="*/ 120 h 120"/>
                <a:gd name="T6" fmla="*/ 11 w 119"/>
                <a:gd name="T7" fmla="*/ 120 h 120"/>
                <a:gd name="T8" fmla="*/ 0 w 119"/>
                <a:gd name="T9" fmla="*/ 108 h 120"/>
                <a:gd name="T10" fmla="*/ 0 w 119"/>
                <a:gd name="T11" fmla="*/ 11 h 120"/>
                <a:gd name="T12" fmla="*/ 10 w 119"/>
                <a:gd name="T13" fmla="*/ 0 h 120"/>
                <a:gd name="T14" fmla="*/ 108 w 119"/>
                <a:gd name="T15" fmla="*/ 0 h 120"/>
                <a:gd name="T16" fmla="*/ 119 w 119"/>
                <a:gd name="T17" fmla="*/ 12 h 120"/>
                <a:gd name="T18" fmla="*/ 119 w 119"/>
                <a:gd name="T19" fmla="*/ 61 h 120"/>
                <a:gd name="T20" fmla="*/ 119 w 119"/>
                <a:gd name="T21" fmla="*/ 61 h 120"/>
                <a:gd name="T22" fmla="*/ 59 w 119"/>
                <a:gd name="T23" fmla="*/ 109 h 120"/>
                <a:gd name="T24" fmla="*/ 97 w 119"/>
                <a:gd name="T25" fmla="*/ 109 h 120"/>
                <a:gd name="T26" fmla="*/ 109 w 119"/>
                <a:gd name="T27" fmla="*/ 98 h 120"/>
                <a:gd name="T28" fmla="*/ 109 w 119"/>
                <a:gd name="T29" fmla="*/ 22 h 120"/>
                <a:gd name="T30" fmla="*/ 97 w 119"/>
                <a:gd name="T31" fmla="*/ 11 h 120"/>
                <a:gd name="T32" fmla="*/ 22 w 119"/>
                <a:gd name="T33" fmla="*/ 10 h 120"/>
                <a:gd name="T34" fmla="*/ 9 w 119"/>
                <a:gd name="T35" fmla="*/ 23 h 120"/>
                <a:gd name="T36" fmla="*/ 9 w 119"/>
                <a:gd name="T37" fmla="*/ 97 h 120"/>
                <a:gd name="T38" fmla="*/ 23 w 119"/>
                <a:gd name="T39" fmla="*/ 109 h 120"/>
                <a:gd name="T40" fmla="*/ 59 w 119"/>
                <a:gd name="T41" fmla="*/ 10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0">
                  <a:moveTo>
                    <a:pt x="119" y="61"/>
                  </a:moveTo>
                  <a:cubicBezTo>
                    <a:pt x="119" y="76"/>
                    <a:pt x="118" y="91"/>
                    <a:pt x="119" y="106"/>
                  </a:cubicBezTo>
                  <a:cubicBezTo>
                    <a:pt x="119" y="116"/>
                    <a:pt x="116" y="120"/>
                    <a:pt x="106" y="120"/>
                  </a:cubicBezTo>
                  <a:cubicBezTo>
                    <a:pt x="74" y="119"/>
                    <a:pt x="43" y="119"/>
                    <a:pt x="11" y="120"/>
                  </a:cubicBezTo>
                  <a:cubicBezTo>
                    <a:pt x="3" y="120"/>
                    <a:pt x="0" y="117"/>
                    <a:pt x="0" y="108"/>
                  </a:cubicBezTo>
                  <a:cubicBezTo>
                    <a:pt x="0" y="76"/>
                    <a:pt x="0" y="43"/>
                    <a:pt x="0" y="11"/>
                  </a:cubicBezTo>
                  <a:cubicBezTo>
                    <a:pt x="0" y="4"/>
                    <a:pt x="2" y="0"/>
                    <a:pt x="10" y="0"/>
                  </a:cubicBezTo>
                  <a:cubicBezTo>
                    <a:pt x="43" y="0"/>
                    <a:pt x="75" y="1"/>
                    <a:pt x="108" y="0"/>
                  </a:cubicBezTo>
                  <a:cubicBezTo>
                    <a:pt x="117" y="0"/>
                    <a:pt x="119" y="4"/>
                    <a:pt x="119" y="12"/>
                  </a:cubicBezTo>
                  <a:cubicBezTo>
                    <a:pt x="118" y="29"/>
                    <a:pt x="119" y="45"/>
                    <a:pt x="119" y="61"/>
                  </a:cubicBezTo>
                  <a:cubicBezTo>
                    <a:pt x="119" y="61"/>
                    <a:pt x="119" y="61"/>
                    <a:pt x="119" y="61"/>
                  </a:cubicBezTo>
                  <a:close/>
                  <a:moveTo>
                    <a:pt x="59" y="109"/>
                  </a:moveTo>
                  <a:cubicBezTo>
                    <a:pt x="71" y="109"/>
                    <a:pt x="84" y="108"/>
                    <a:pt x="97" y="109"/>
                  </a:cubicBezTo>
                  <a:cubicBezTo>
                    <a:pt x="106" y="109"/>
                    <a:pt x="109" y="106"/>
                    <a:pt x="109" y="98"/>
                  </a:cubicBezTo>
                  <a:cubicBezTo>
                    <a:pt x="108" y="72"/>
                    <a:pt x="108" y="47"/>
                    <a:pt x="109" y="22"/>
                  </a:cubicBezTo>
                  <a:cubicBezTo>
                    <a:pt x="109" y="13"/>
                    <a:pt x="105" y="10"/>
                    <a:pt x="97" y="11"/>
                  </a:cubicBezTo>
                  <a:cubicBezTo>
                    <a:pt x="72" y="11"/>
                    <a:pt x="47" y="11"/>
                    <a:pt x="22" y="10"/>
                  </a:cubicBezTo>
                  <a:cubicBezTo>
                    <a:pt x="13" y="10"/>
                    <a:pt x="9" y="13"/>
                    <a:pt x="9" y="23"/>
                  </a:cubicBezTo>
                  <a:cubicBezTo>
                    <a:pt x="10" y="48"/>
                    <a:pt x="10" y="72"/>
                    <a:pt x="9" y="97"/>
                  </a:cubicBezTo>
                  <a:cubicBezTo>
                    <a:pt x="9" y="107"/>
                    <a:pt x="13" y="109"/>
                    <a:pt x="23" y="109"/>
                  </a:cubicBezTo>
                  <a:cubicBezTo>
                    <a:pt x="35" y="108"/>
                    <a:pt x="47" y="109"/>
                    <a:pt x="59" y="1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8" name="Freeform 65"/>
            <p:cNvSpPr>
              <a:spLocks noEditPoints="1"/>
            </p:cNvSpPr>
            <p:nvPr/>
          </p:nvSpPr>
          <p:spPr bwMode="auto">
            <a:xfrm>
              <a:off x="3187" y="2032"/>
              <a:ext cx="281" cy="284"/>
            </a:xfrm>
            <a:custGeom>
              <a:avLst/>
              <a:gdLst>
                <a:gd name="T0" fmla="*/ 60 w 119"/>
                <a:gd name="T1" fmla="*/ 0 h 120"/>
                <a:gd name="T2" fmla="*/ 105 w 119"/>
                <a:gd name="T3" fmla="*/ 0 h 120"/>
                <a:gd name="T4" fmla="*/ 119 w 119"/>
                <a:gd name="T5" fmla="*/ 13 h 120"/>
                <a:gd name="T6" fmla="*/ 119 w 119"/>
                <a:gd name="T7" fmla="*/ 107 h 120"/>
                <a:gd name="T8" fmla="*/ 105 w 119"/>
                <a:gd name="T9" fmla="*/ 120 h 120"/>
                <a:gd name="T10" fmla="*/ 13 w 119"/>
                <a:gd name="T11" fmla="*/ 120 h 120"/>
                <a:gd name="T12" fmla="*/ 0 w 119"/>
                <a:gd name="T13" fmla="*/ 107 h 120"/>
                <a:gd name="T14" fmla="*/ 0 w 119"/>
                <a:gd name="T15" fmla="*/ 12 h 120"/>
                <a:gd name="T16" fmla="*/ 12 w 119"/>
                <a:gd name="T17" fmla="*/ 0 h 120"/>
                <a:gd name="T18" fmla="*/ 60 w 119"/>
                <a:gd name="T19" fmla="*/ 0 h 120"/>
                <a:gd name="T20" fmla="*/ 108 w 119"/>
                <a:gd name="T21" fmla="*/ 61 h 120"/>
                <a:gd name="T22" fmla="*/ 108 w 119"/>
                <a:gd name="T23" fmla="*/ 21 h 120"/>
                <a:gd name="T24" fmla="*/ 99 w 119"/>
                <a:gd name="T25" fmla="*/ 11 h 120"/>
                <a:gd name="T26" fmla="*/ 20 w 119"/>
                <a:gd name="T27" fmla="*/ 11 h 120"/>
                <a:gd name="T28" fmla="*/ 9 w 119"/>
                <a:gd name="T29" fmla="*/ 22 h 120"/>
                <a:gd name="T30" fmla="*/ 9 w 119"/>
                <a:gd name="T31" fmla="*/ 99 h 120"/>
                <a:gd name="T32" fmla="*/ 19 w 119"/>
                <a:gd name="T33" fmla="*/ 109 h 120"/>
                <a:gd name="T34" fmla="*/ 98 w 119"/>
                <a:gd name="T35" fmla="*/ 110 h 120"/>
                <a:gd name="T36" fmla="*/ 108 w 119"/>
                <a:gd name="T37" fmla="*/ 99 h 120"/>
                <a:gd name="T38" fmla="*/ 108 w 119"/>
                <a:gd name="T39" fmla="*/ 61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9" h="120">
                  <a:moveTo>
                    <a:pt x="60" y="0"/>
                  </a:moveTo>
                  <a:cubicBezTo>
                    <a:pt x="75" y="0"/>
                    <a:pt x="90" y="1"/>
                    <a:pt x="105" y="0"/>
                  </a:cubicBezTo>
                  <a:cubicBezTo>
                    <a:pt x="114" y="0"/>
                    <a:pt x="119" y="2"/>
                    <a:pt x="119" y="13"/>
                  </a:cubicBezTo>
                  <a:cubicBezTo>
                    <a:pt x="118" y="44"/>
                    <a:pt x="118" y="75"/>
                    <a:pt x="119" y="107"/>
                  </a:cubicBezTo>
                  <a:cubicBezTo>
                    <a:pt x="119" y="116"/>
                    <a:pt x="115" y="120"/>
                    <a:pt x="105" y="120"/>
                  </a:cubicBezTo>
                  <a:cubicBezTo>
                    <a:pt x="75" y="119"/>
                    <a:pt x="44" y="119"/>
                    <a:pt x="13" y="120"/>
                  </a:cubicBezTo>
                  <a:cubicBezTo>
                    <a:pt x="3" y="120"/>
                    <a:pt x="0" y="116"/>
                    <a:pt x="0" y="107"/>
                  </a:cubicBezTo>
                  <a:cubicBezTo>
                    <a:pt x="0" y="75"/>
                    <a:pt x="0" y="44"/>
                    <a:pt x="0" y="12"/>
                  </a:cubicBezTo>
                  <a:cubicBezTo>
                    <a:pt x="0" y="4"/>
                    <a:pt x="3" y="0"/>
                    <a:pt x="12" y="0"/>
                  </a:cubicBezTo>
                  <a:cubicBezTo>
                    <a:pt x="28" y="1"/>
                    <a:pt x="44" y="0"/>
                    <a:pt x="60" y="0"/>
                  </a:cubicBezTo>
                  <a:close/>
                  <a:moveTo>
                    <a:pt x="108" y="61"/>
                  </a:moveTo>
                  <a:cubicBezTo>
                    <a:pt x="108" y="48"/>
                    <a:pt x="108" y="34"/>
                    <a:pt x="108" y="21"/>
                  </a:cubicBezTo>
                  <a:cubicBezTo>
                    <a:pt x="109" y="14"/>
                    <a:pt x="107" y="11"/>
                    <a:pt x="99" y="11"/>
                  </a:cubicBezTo>
                  <a:cubicBezTo>
                    <a:pt x="73" y="11"/>
                    <a:pt x="46" y="11"/>
                    <a:pt x="20" y="11"/>
                  </a:cubicBezTo>
                  <a:cubicBezTo>
                    <a:pt x="12" y="11"/>
                    <a:pt x="9" y="14"/>
                    <a:pt x="9" y="22"/>
                  </a:cubicBezTo>
                  <a:cubicBezTo>
                    <a:pt x="10" y="48"/>
                    <a:pt x="10" y="73"/>
                    <a:pt x="9" y="99"/>
                  </a:cubicBezTo>
                  <a:cubicBezTo>
                    <a:pt x="9" y="106"/>
                    <a:pt x="12" y="109"/>
                    <a:pt x="19" y="109"/>
                  </a:cubicBezTo>
                  <a:cubicBezTo>
                    <a:pt x="45" y="109"/>
                    <a:pt x="72" y="109"/>
                    <a:pt x="98" y="110"/>
                  </a:cubicBezTo>
                  <a:cubicBezTo>
                    <a:pt x="107" y="110"/>
                    <a:pt x="109" y="106"/>
                    <a:pt x="108" y="99"/>
                  </a:cubicBezTo>
                  <a:cubicBezTo>
                    <a:pt x="108" y="86"/>
                    <a:pt x="108" y="74"/>
                    <a:pt x="108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9" name="Freeform 66"/>
            <p:cNvSpPr>
              <a:spLocks noEditPoints="1"/>
            </p:cNvSpPr>
            <p:nvPr/>
          </p:nvSpPr>
          <p:spPr bwMode="auto">
            <a:xfrm>
              <a:off x="3187" y="2799"/>
              <a:ext cx="281" cy="284"/>
            </a:xfrm>
            <a:custGeom>
              <a:avLst/>
              <a:gdLst>
                <a:gd name="T0" fmla="*/ 0 w 119"/>
                <a:gd name="T1" fmla="*/ 58 h 120"/>
                <a:gd name="T2" fmla="*/ 0 w 119"/>
                <a:gd name="T3" fmla="*/ 12 h 120"/>
                <a:gd name="T4" fmla="*/ 11 w 119"/>
                <a:gd name="T5" fmla="*/ 0 h 120"/>
                <a:gd name="T6" fmla="*/ 108 w 119"/>
                <a:gd name="T7" fmla="*/ 0 h 120"/>
                <a:gd name="T8" fmla="*/ 119 w 119"/>
                <a:gd name="T9" fmla="*/ 11 h 120"/>
                <a:gd name="T10" fmla="*/ 119 w 119"/>
                <a:gd name="T11" fmla="*/ 108 h 120"/>
                <a:gd name="T12" fmla="*/ 107 w 119"/>
                <a:gd name="T13" fmla="*/ 119 h 120"/>
                <a:gd name="T14" fmla="*/ 11 w 119"/>
                <a:gd name="T15" fmla="*/ 119 h 120"/>
                <a:gd name="T16" fmla="*/ 0 w 119"/>
                <a:gd name="T17" fmla="*/ 108 h 120"/>
                <a:gd name="T18" fmla="*/ 0 w 119"/>
                <a:gd name="T19" fmla="*/ 58 h 120"/>
                <a:gd name="T20" fmla="*/ 0 w 119"/>
                <a:gd name="T21" fmla="*/ 58 h 120"/>
                <a:gd name="T22" fmla="*/ 60 w 119"/>
                <a:gd name="T23" fmla="*/ 109 h 120"/>
                <a:gd name="T24" fmla="*/ 97 w 119"/>
                <a:gd name="T25" fmla="*/ 109 h 120"/>
                <a:gd name="T26" fmla="*/ 109 w 119"/>
                <a:gd name="T27" fmla="*/ 98 h 120"/>
                <a:gd name="T28" fmla="*/ 109 w 119"/>
                <a:gd name="T29" fmla="*/ 21 h 120"/>
                <a:gd name="T30" fmla="*/ 96 w 119"/>
                <a:gd name="T31" fmla="*/ 10 h 120"/>
                <a:gd name="T32" fmla="*/ 22 w 119"/>
                <a:gd name="T33" fmla="*/ 10 h 120"/>
                <a:gd name="T34" fmla="*/ 9 w 119"/>
                <a:gd name="T35" fmla="*/ 22 h 120"/>
                <a:gd name="T36" fmla="*/ 9 w 119"/>
                <a:gd name="T37" fmla="*/ 97 h 120"/>
                <a:gd name="T38" fmla="*/ 21 w 119"/>
                <a:gd name="T39" fmla="*/ 109 h 120"/>
                <a:gd name="T40" fmla="*/ 60 w 119"/>
                <a:gd name="T41" fmla="*/ 10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0">
                  <a:moveTo>
                    <a:pt x="0" y="58"/>
                  </a:moveTo>
                  <a:cubicBezTo>
                    <a:pt x="0" y="43"/>
                    <a:pt x="0" y="27"/>
                    <a:pt x="0" y="12"/>
                  </a:cubicBezTo>
                  <a:cubicBezTo>
                    <a:pt x="0" y="4"/>
                    <a:pt x="1" y="0"/>
                    <a:pt x="11" y="0"/>
                  </a:cubicBezTo>
                  <a:cubicBezTo>
                    <a:pt x="43" y="0"/>
                    <a:pt x="75" y="0"/>
                    <a:pt x="108" y="0"/>
                  </a:cubicBezTo>
                  <a:cubicBezTo>
                    <a:pt x="116" y="0"/>
                    <a:pt x="119" y="3"/>
                    <a:pt x="119" y="11"/>
                  </a:cubicBezTo>
                  <a:cubicBezTo>
                    <a:pt x="118" y="43"/>
                    <a:pt x="119" y="75"/>
                    <a:pt x="119" y="108"/>
                  </a:cubicBezTo>
                  <a:cubicBezTo>
                    <a:pt x="119" y="116"/>
                    <a:pt x="115" y="120"/>
                    <a:pt x="107" y="119"/>
                  </a:cubicBezTo>
                  <a:cubicBezTo>
                    <a:pt x="75" y="119"/>
                    <a:pt x="43" y="119"/>
                    <a:pt x="11" y="119"/>
                  </a:cubicBezTo>
                  <a:cubicBezTo>
                    <a:pt x="3" y="119"/>
                    <a:pt x="0" y="116"/>
                    <a:pt x="0" y="108"/>
                  </a:cubicBezTo>
                  <a:cubicBezTo>
                    <a:pt x="0" y="91"/>
                    <a:pt x="0" y="75"/>
                    <a:pt x="0" y="58"/>
                  </a:cubicBezTo>
                  <a:cubicBezTo>
                    <a:pt x="0" y="58"/>
                    <a:pt x="0" y="58"/>
                    <a:pt x="0" y="58"/>
                  </a:cubicBezTo>
                  <a:close/>
                  <a:moveTo>
                    <a:pt x="60" y="109"/>
                  </a:moveTo>
                  <a:cubicBezTo>
                    <a:pt x="72" y="109"/>
                    <a:pt x="85" y="108"/>
                    <a:pt x="97" y="109"/>
                  </a:cubicBezTo>
                  <a:cubicBezTo>
                    <a:pt x="106" y="109"/>
                    <a:pt x="109" y="106"/>
                    <a:pt x="109" y="98"/>
                  </a:cubicBezTo>
                  <a:cubicBezTo>
                    <a:pt x="108" y="72"/>
                    <a:pt x="108" y="47"/>
                    <a:pt x="109" y="21"/>
                  </a:cubicBezTo>
                  <a:cubicBezTo>
                    <a:pt x="109" y="12"/>
                    <a:pt x="105" y="9"/>
                    <a:pt x="96" y="10"/>
                  </a:cubicBezTo>
                  <a:cubicBezTo>
                    <a:pt x="71" y="10"/>
                    <a:pt x="46" y="10"/>
                    <a:pt x="22" y="10"/>
                  </a:cubicBezTo>
                  <a:cubicBezTo>
                    <a:pt x="13" y="10"/>
                    <a:pt x="9" y="13"/>
                    <a:pt x="9" y="22"/>
                  </a:cubicBezTo>
                  <a:cubicBezTo>
                    <a:pt x="10" y="47"/>
                    <a:pt x="10" y="72"/>
                    <a:pt x="9" y="97"/>
                  </a:cubicBezTo>
                  <a:cubicBezTo>
                    <a:pt x="9" y="105"/>
                    <a:pt x="12" y="109"/>
                    <a:pt x="21" y="109"/>
                  </a:cubicBezTo>
                  <a:cubicBezTo>
                    <a:pt x="34" y="108"/>
                    <a:pt x="47" y="109"/>
                    <a:pt x="60" y="1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565" name="Group 201"/>
          <p:cNvGrpSpPr/>
          <p:nvPr/>
        </p:nvGrpSpPr>
        <p:grpSpPr>
          <a:xfrm flipH="1">
            <a:off x="5056204" y="4355924"/>
            <a:ext cx="254089" cy="254089"/>
            <a:chOff x="1282752" y="4938098"/>
            <a:chExt cx="1451258" cy="1449504"/>
          </a:xfrm>
          <a:solidFill>
            <a:schemeClr val="bg1"/>
          </a:solidFill>
          <a:effectLst/>
        </p:grpSpPr>
        <p:grpSp>
          <p:nvGrpSpPr>
            <p:cNvPr id="566" name="Group 203"/>
            <p:cNvGrpSpPr/>
            <p:nvPr/>
          </p:nvGrpSpPr>
          <p:grpSpPr>
            <a:xfrm>
              <a:off x="1783764" y="5241759"/>
              <a:ext cx="444794" cy="514698"/>
              <a:chOff x="14065458" y="16152057"/>
              <a:chExt cx="1908828" cy="2208820"/>
            </a:xfrm>
            <a:grpFill/>
          </p:grpSpPr>
          <p:sp>
            <p:nvSpPr>
              <p:cNvPr id="576" name="Rounded Rectangle 213"/>
              <p:cNvSpPr/>
              <p:nvPr/>
            </p:nvSpPr>
            <p:spPr>
              <a:xfrm rot="20661364">
                <a:off x="14200146" y="16208948"/>
                <a:ext cx="277157" cy="2151929"/>
              </a:xfrm>
              <a:prstGeom prst="roundRect">
                <a:avLst>
                  <a:gd name="adj" fmla="val 46875"/>
                </a:avLst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519970">
                  <a:defRPr/>
                </a:pPr>
                <a:endParaRPr lang="en-US" sz="1842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577" name="Rounded Rectangle 214"/>
              <p:cNvSpPr/>
              <p:nvPr/>
            </p:nvSpPr>
            <p:spPr>
              <a:xfrm rot="938636" flipH="1">
                <a:off x="15569359" y="16208948"/>
                <a:ext cx="277157" cy="2151929"/>
              </a:xfrm>
              <a:prstGeom prst="roundRect">
                <a:avLst>
                  <a:gd name="adj" fmla="val 46875"/>
                </a:avLst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519970">
                  <a:defRPr/>
                </a:pPr>
                <a:endParaRPr lang="en-US" sz="1842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578" name="Rounded Rectangle 215"/>
              <p:cNvSpPr/>
              <p:nvPr/>
            </p:nvSpPr>
            <p:spPr>
              <a:xfrm flipH="1">
                <a:off x="14871104" y="16152057"/>
                <a:ext cx="277157" cy="1138309"/>
              </a:xfrm>
              <a:prstGeom prst="roundRect">
                <a:avLst>
                  <a:gd name="adj" fmla="val 46875"/>
                </a:avLst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519970">
                  <a:defRPr/>
                </a:pPr>
                <a:endParaRPr lang="en-US" sz="1842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579" name="Freeform 216"/>
              <p:cNvSpPr/>
              <p:nvPr/>
            </p:nvSpPr>
            <p:spPr>
              <a:xfrm>
                <a:off x="14065458" y="16512027"/>
                <a:ext cx="1908828" cy="559897"/>
              </a:xfrm>
              <a:custGeom>
                <a:avLst/>
                <a:gdLst>
                  <a:gd name="connsiteX0" fmla="*/ 2650874 w 3020652"/>
                  <a:gd name="connsiteY0" fmla="*/ 501853 h 2043633"/>
                  <a:gd name="connsiteX1" fmla="*/ 2675767 w 3020652"/>
                  <a:gd name="connsiteY1" fmla="*/ 528173 h 2043633"/>
                  <a:gd name="connsiteX2" fmla="*/ 3020652 w 3020652"/>
                  <a:gd name="connsiteY2" fmla="*/ 1451393 h 2043633"/>
                  <a:gd name="connsiteX3" fmla="*/ 2901963 w 3020652"/>
                  <a:gd name="connsiteY3" fmla="*/ 2016341 h 2043633"/>
                  <a:gd name="connsiteX4" fmla="*/ 2897503 w 3020652"/>
                  <a:gd name="connsiteY4" fmla="*/ 2025239 h 2043633"/>
                  <a:gd name="connsiteX5" fmla="*/ 2802193 w 3020652"/>
                  <a:gd name="connsiteY5" fmla="*/ 1436521 h 2043633"/>
                  <a:gd name="connsiteX6" fmla="*/ 2796300 w 3020652"/>
                  <a:gd name="connsiteY6" fmla="*/ 1324385 h 2043633"/>
                  <a:gd name="connsiteX7" fmla="*/ 2744859 w 3020652"/>
                  <a:gd name="connsiteY7" fmla="*/ 1081999 h 2043633"/>
                  <a:gd name="connsiteX8" fmla="*/ 2744751 w 3020652"/>
                  <a:gd name="connsiteY8" fmla="*/ 1081715 h 2043633"/>
                  <a:gd name="connsiteX9" fmla="*/ 384115 w 3020652"/>
                  <a:gd name="connsiteY9" fmla="*/ 486693 h 2043633"/>
                  <a:gd name="connsiteX10" fmla="*/ 296760 w 3020652"/>
                  <a:gd name="connsiteY10" fmla="*/ 1026949 h 2043633"/>
                  <a:gd name="connsiteX11" fmla="*/ 275793 w 3020652"/>
                  <a:gd name="connsiteY11" fmla="*/ 1081999 h 2043633"/>
                  <a:gd name="connsiteX12" fmla="*/ 217678 w 3020652"/>
                  <a:gd name="connsiteY12" fmla="*/ 1451393 h 2043633"/>
                  <a:gd name="connsiteX13" fmla="*/ 220242 w 3020652"/>
                  <a:gd name="connsiteY13" fmla="*/ 1500181 h 2043633"/>
                  <a:gd name="connsiteX14" fmla="*/ 132369 w 3020652"/>
                  <a:gd name="connsiteY14" fmla="*/ 2043633 h 2043633"/>
                  <a:gd name="connsiteX15" fmla="*/ 118689 w 3020652"/>
                  <a:gd name="connsiteY15" fmla="*/ 2016341 h 2043633"/>
                  <a:gd name="connsiteX16" fmla="*/ 0 w 3020652"/>
                  <a:gd name="connsiteY16" fmla="*/ 1451393 h 2043633"/>
                  <a:gd name="connsiteX17" fmla="*/ 344885 w 3020652"/>
                  <a:gd name="connsiteY17" fmla="*/ 528173 h 2043633"/>
                  <a:gd name="connsiteX18" fmla="*/ 1510326 w 3020652"/>
                  <a:gd name="connsiteY18" fmla="*/ 0 h 2043633"/>
                  <a:gd name="connsiteX19" fmla="*/ 2471034 w 3020652"/>
                  <a:gd name="connsiteY19" fmla="*/ 331427 h 2043633"/>
                  <a:gd name="connsiteX20" fmla="*/ 2474929 w 3020652"/>
                  <a:gd name="connsiteY20" fmla="*/ 334829 h 2043633"/>
                  <a:gd name="connsiteX21" fmla="*/ 2409343 w 3020652"/>
                  <a:gd name="connsiteY21" fmla="*/ 559897 h 2043633"/>
                  <a:gd name="connsiteX22" fmla="*/ 2332570 w 3020652"/>
                  <a:gd name="connsiteY22" fmla="*/ 492845 h 2043633"/>
                  <a:gd name="connsiteX23" fmla="*/ 1510326 w 3020652"/>
                  <a:gd name="connsiteY23" fmla="*/ 209184 h 2043633"/>
                  <a:gd name="connsiteX24" fmla="*/ 688082 w 3020652"/>
                  <a:gd name="connsiteY24" fmla="*/ 492845 h 2043633"/>
                  <a:gd name="connsiteX25" fmla="*/ 630169 w 3020652"/>
                  <a:gd name="connsiteY25" fmla="*/ 543425 h 2043633"/>
                  <a:gd name="connsiteX26" fmla="*/ 566101 w 3020652"/>
                  <a:gd name="connsiteY26" fmla="*/ 319583 h 2043633"/>
                  <a:gd name="connsiteX27" fmla="*/ 665888 w 3020652"/>
                  <a:gd name="connsiteY27" fmla="*/ 247875 h 2043633"/>
                  <a:gd name="connsiteX28" fmla="*/ 1510326 w 3020652"/>
                  <a:gd name="connsiteY28" fmla="*/ 0 h 2043633"/>
                  <a:gd name="connsiteX0" fmla="*/ 2744751 w 3020652"/>
                  <a:gd name="connsiteY0" fmla="*/ 1081715 h 2043633"/>
                  <a:gd name="connsiteX1" fmla="*/ 2675767 w 3020652"/>
                  <a:gd name="connsiteY1" fmla="*/ 528173 h 2043633"/>
                  <a:gd name="connsiteX2" fmla="*/ 3020652 w 3020652"/>
                  <a:gd name="connsiteY2" fmla="*/ 1451393 h 2043633"/>
                  <a:gd name="connsiteX3" fmla="*/ 2901963 w 3020652"/>
                  <a:gd name="connsiteY3" fmla="*/ 2016341 h 2043633"/>
                  <a:gd name="connsiteX4" fmla="*/ 2897503 w 3020652"/>
                  <a:gd name="connsiteY4" fmla="*/ 2025239 h 2043633"/>
                  <a:gd name="connsiteX5" fmla="*/ 2802193 w 3020652"/>
                  <a:gd name="connsiteY5" fmla="*/ 1436521 h 2043633"/>
                  <a:gd name="connsiteX6" fmla="*/ 2796300 w 3020652"/>
                  <a:gd name="connsiteY6" fmla="*/ 1324385 h 2043633"/>
                  <a:gd name="connsiteX7" fmla="*/ 2744859 w 3020652"/>
                  <a:gd name="connsiteY7" fmla="*/ 1081999 h 2043633"/>
                  <a:gd name="connsiteX8" fmla="*/ 2744751 w 3020652"/>
                  <a:gd name="connsiteY8" fmla="*/ 1081715 h 2043633"/>
                  <a:gd name="connsiteX9" fmla="*/ 384115 w 3020652"/>
                  <a:gd name="connsiteY9" fmla="*/ 486693 h 2043633"/>
                  <a:gd name="connsiteX10" fmla="*/ 296760 w 3020652"/>
                  <a:gd name="connsiteY10" fmla="*/ 1026949 h 2043633"/>
                  <a:gd name="connsiteX11" fmla="*/ 275793 w 3020652"/>
                  <a:gd name="connsiteY11" fmla="*/ 1081999 h 2043633"/>
                  <a:gd name="connsiteX12" fmla="*/ 217678 w 3020652"/>
                  <a:gd name="connsiteY12" fmla="*/ 1451393 h 2043633"/>
                  <a:gd name="connsiteX13" fmla="*/ 220242 w 3020652"/>
                  <a:gd name="connsiteY13" fmla="*/ 1500181 h 2043633"/>
                  <a:gd name="connsiteX14" fmla="*/ 132369 w 3020652"/>
                  <a:gd name="connsiteY14" fmla="*/ 2043633 h 2043633"/>
                  <a:gd name="connsiteX15" fmla="*/ 118689 w 3020652"/>
                  <a:gd name="connsiteY15" fmla="*/ 2016341 h 2043633"/>
                  <a:gd name="connsiteX16" fmla="*/ 0 w 3020652"/>
                  <a:gd name="connsiteY16" fmla="*/ 1451393 h 2043633"/>
                  <a:gd name="connsiteX17" fmla="*/ 344885 w 3020652"/>
                  <a:gd name="connsiteY17" fmla="*/ 528173 h 2043633"/>
                  <a:gd name="connsiteX18" fmla="*/ 384115 w 3020652"/>
                  <a:gd name="connsiteY18" fmla="*/ 486693 h 2043633"/>
                  <a:gd name="connsiteX19" fmla="*/ 1510326 w 3020652"/>
                  <a:gd name="connsiteY19" fmla="*/ 0 h 2043633"/>
                  <a:gd name="connsiteX20" fmla="*/ 2471034 w 3020652"/>
                  <a:gd name="connsiteY20" fmla="*/ 331427 h 2043633"/>
                  <a:gd name="connsiteX21" fmla="*/ 2474929 w 3020652"/>
                  <a:gd name="connsiteY21" fmla="*/ 334829 h 2043633"/>
                  <a:gd name="connsiteX22" fmla="*/ 2409343 w 3020652"/>
                  <a:gd name="connsiteY22" fmla="*/ 559897 h 2043633"/>
                  <a:gd name="connsiteX23" fmla="*/ 2332570 w 3020652"/>
                  <a:gd name="connsiteY23" fmla="*/ 492845 h 2043633"/>
                  <a:gd name="connsiteX24" fmla="*/ 1510326 w 3020652"/>
                  <a:gd name="connsiteY24" fmla="*/ 209184 h 2043633"/>
                  <a:gd name="connsiteX25" fmla="*/ 688082 w 3020652"/>
                  <a:gd name="connsiteY25" fmla="*/ 492845 h 2043633"/>
                  <a:gd name="connsiteX26" fmla="*/ 630169 w 3020652"/>
                  <a:gd name="connsiteY26" fmla="*/ 543425 h 2043633"/>
                  <a:gd name="connsiteX27" fmla="*/ 566101 w 3020652"/>
                  <a:gd name="connsiteY27" fmla="*/ 319583 h 2043633"/>
                  <a:gd name="connsiteX28" fmla="*/ 665888 w 3020652"/>
                  <a:gd name="connsiteY28" fmla="*/ 247875 h 2043633"/>
                  <a:gd name="connsiteX29" fmla="*/ 1510326 w 3020652"/>
                  <a:gd name="connsiteY29" fmla="*/ 0 h 2043633"/>
                  <a:gd name="connsiteX0" fmla="*/ 2744751 w 3020652"/>
                  <a:gd name="connsiteY0" fmla="*/ 1081715 h 2043633"/>
                  <a:gd name="connsiteX1" fmla="*/ 3020652 w 3020652"/>
                  <a:gd name="connsiteY1" fmla="*/ 1451393 h 2043633"/>
                  <a:gd name="connsiteX2" fmla="*/ 2901963 w 3020652"/>
                  <a:gd name="connsiteY2" fmla="*/ 2016341 h 2043633"/>
                  <a:gd name="connsiteX3" fmla="*/ 2897503 w 3020652"/>
                  <a:gd name="connsiteY3" fmla="*/ 2025239 h 2043633"/>
                  <a:gd name="connsiteX4" fmla="*/ 2802193 w 3020652"/>
                  <a:gd name="connsiteY4" fmla="*/ 1436521 h 2043633"/>
                  <a:gd name="connsiteX5" fmla="*/ 2796300 w 3020652"/>
                  <a:gd name="connsiteY5" fmla="*/ 1324385 h 2043633"/>
                  <a:gd name="connsiteX6" fmla="*/ 2744859 w 3020652"/>
                  <a:gd name="connsiteY6" fmla="*/ 1081999 h 2043633"/>
                  <a:gd name="connsiteX7" fmla="*/ 2744751 w 3020652"/>
                  <a:gd name="connsiteY7" fmla="*/ 1081715 h 2043633"/>
                  <a:gd name="connsiteX8" fmla="*/ 384115 w 3020652"/>
                  <a:gd name="connsiteY8" fmla="*/ 486693 h 2043633"/>
                  <a:gd name="connsiteX9" fmla="*/ 296760 w 3020652"/>
                  <a:gd name="connsiteY9" fmla="*/ 1026949 h 2043633"/>
                  <a:gd name="connsiteX10" fmla="*/ 275793 w 3020652"/>
                  <a:gd name="connsiteY10" fmla="*/ 1081999 h 2043633"/>
                  <a:gd name="connsiteX11" fmla="*/ 217678 w 3020652"/>
                  <a:gd name="connsiteY11" fmla="*/ 1451393 h 2043633"/>
                  <a:gd name="connsiteX12" fmla="*/ 220242 w 3020652"/>
                  <a:gd name="connsiteY12" fmla="*/ 1500181 h 2043633"/>
                  <a:gd name="connsiteX13" fmla="*/ 132369 w 3020652"/>
                  <a:gd name="connsiteY13" fmla="*/ 2043633 h 2043633"/>
                  <a:gd name="connsiteX14" fmla="*/ 118689 w 3020652"/>
                  <a:gd name="connsiteY14" fmla="*/ 2016341 h 2043633"/>
                  <a:gd name="connsiteX15" fmla="*/ 0 w 3020652"/>
                  <a:gd name="connsiteY15" fmla="*/ 1451393 h 2043633"/>
                  <a:gd name="connsiteX16" fmla="*/ 344885 w 3020652"/>
                  <a:gd name="connsiteY16" fmla="*/ 528173 h 2043633"/>
                  <a:gd name="connsiteX17" fmla="*/ 384115 w 3020652"/>
                  <a:gd name="connsiteY17" fmla="*/ 486693 h 2043633"/>
                  <a:gd name="connsiteX18" fmla="*/ 1510326 w 3020652"/>
                  <a:gd name="connsiteY18" fmla="*/ 0 h 2043633"/>
                  <a:gd name="connsiteX19" fmla="*/ 2471034 w 3020652"/>
                  <a:gd name="connsiteY19" fmla="*/ 331427 h 2043633"/>
                  <a:gd name="connsiteX20" fmla="*/ 2474929 w 3020652"/>
                  <a:gd name="connsiteY20" fmla="*/ 334829 h 2043633"/>
                  <a:gd name="connsiteX21" fmla="*/ 2409343 w 3020652"/>
                  <a:gd name="connsiteY21" fmla="*/ 559897 h 2043633"/>
                  <a:gd name="connsiteX22" fmla="*/ 2332570 w 3020652"/>
                  <a:gd name="connsiteY22" fmla="*/ 492845 h 2043633"/>
                  <a:gd name="connsiteX23" fmla="*/ 1510326 w 3020652"/>
                  <a:gd name="connsiteY23" fmla="*/ 209184 h 2043633"/>
                  <a:gd name="connsiteX24" fmla="*/ 688082 w 3020652"/>
                  <a:gd name="connsiteY24" fmla="*/ 492845 h 2043633"/>
                  <a:gd name="connsiteX25" fmla="*/ 630169 w 3020652"/>
                  <a:gd name="connsiteY25" fmla="*/ 543425 h 2043633"/>
                  <a:gd name="connsiteX26" fmla="*/ 566101 w 3020652"/>
                  <a:gd name="connsiteY26" fmla="*/ 319583 h 2043633"/>
                  <a:gd name="connsiteX27" fmla="*/ 665888 w 3020652"/>
                  <a:gd name="connsiteY27" fmla="*/ 247875 h 2043633"/>
                  <a:gd name="connsiteX28" fmla="*/ 1510326 w 3020652"/>
                  <a:gd name="connsiteY28" fmla="*/ 0 h 2043633"/>
                  <a:gd name="connsiteX0" fmla="*/ 2744859 w 3020652"/>
                  <a:gd name="connsiteY0" fmla="*/ 1081999 h 2043633"/>
                  <a:gd name="connsiteX1" fmla="*/ 3020652 w 3020652"/>
                  <a:gd name="connsiteY1" fmla="*/ 1451393 h 2043633"/>
                  <a:gd name="connsiteX2" fmla="*/ 2901963 w 3020652"/>
                  <a:gd name="connsiteY2" fmla="*/ 2016341 h 2043633"/>
                  <a:gd name="connsiteX3" fmla="*/ 2897503 w 3020652"/>
                  <a:gd name="connsiteY3" fmla="*/ 2025239 h 2043633"/>
                  <a:gd name="connsiteX4" fmla="*/ 2802193 w 3020652"/>
                  <a:gd name="connsiteY4" fmla="*/ 1436521 h 2043633"/>
                  <a:gd name="connsiteX5" fmla="*/ 2796300 w 3020652"/>
                  <a:gd name="connsiteY5" fmla="*/ 1324385 h 2043633"/>
                  <a:gd name="connsiteX6" fmla="*/ 2744859 w 3020652"/>
                  <a:gd name="connsiteY6" fmla="*/ 1081999 h 2043633"/>
                  <a:gd name="connsiteX7" fmla="*/ 384115 w 3020652"/>
                  <a:gd name="connsiteY7" fmla="*/ 486693 h 2043633"/>
                  <a:gd name="connsiteX8" fmla="*/ 296760 w 3020652"/>
                  <a:gd name="connsiteY8" fmla="*/ 1026949 h 2043633"/>
                  <a:gd name="connsiteX9" fmla="*/ 275793 w 3020652"/>
                  <a:gd name="connsiteY9" fmla="*/ 1081999 h 2043633"/>
                  <a:gd name="connsiteX10" fmla="*/ 217678 w 3020652"/>
                  <a:gd name="connsiteY10" fmla="*/ 1451393 h 2043633"/>
                  <a:gd name="connsiteX11" fmla="*/ 220242 w 3020652"/>
                  <a:gd name="connsiteY11" fmla="*/ 1500181 h 2043633"/>
                  <a:gd name="connsiteX12" fmla="*/ 132369 w 3020652"/>
                  <a:gd name="connsiteY12" fmla="*/ 2043633 h 2043633"/>
                  <a:gd name="connsiteX13" fmla="*/ 118689 w 3020652"/>
                  <a:gd name="connsiteY13" fmla="*/ 2016341 h 2043633"/>
                  <a:gd name="connsiteX14" fmla="*/ 0 w 3020652"/>
                  <a:gd name="connsiteY14" fmla="*/ 1451393 h 2043633"/>
                  <a:gd name="connsiteX15" fmla="*/ 344885 w 3020652"/>
                  <a:gd name="connsiteY15" fmla="*/ 528173 h 2043633"/>
                  <a:gd name="connsiteX16" fmla="*/ 384115 w 3020652"/>
                  <a:gd name="connsiteY16" fmla="*/ 486693 h 2043633"/>
                  <a:gd name="connsiteX17" fmla="*/ 1510326 w 3020652"/>
                  <a:gd name="connsiteY17" fmla="*/ 0 h 2043633"/>
                  <a:gd name="connsiteX18" fmla="*/ 2471034 w 3020652"/>
                  <a:gd name="connsiteY18" fmla="*/ 331427 h 2043633"/>
                  <a:gd name="connsiteX19" fmla="*/ 2474929 w 3020652"/>
                  <a:gd name="connsiteY19" fmla="*/ 334829 h 2043633"/>
                  <a:gd name="connsiteX20" fmla="*/ 2409343 w 3020652"/>
                  <a:gd name="connsiteY20" fmla="*/ 559897 h 2043633"/>
                  <a:gd name="connsiteX21" fmla="*/ 2332570 w 3020652"/>
                  <a:gd name="connsiteY21" fmla="*/ 492845 h 2043633"/>
                  <a:gd name="connsiteX22" fmla="*/ 1510326 w 3020652"/>
                  <a:gd name="connsiteY22" fmla="*/ 209184 h 2043633"/>
                  <a:gd name="connsiteX23" fmla="*/ 688082 w 3020652"/>
                  <a:gd name="connsiteY23" fmla="*/ 492845 h 2043633"/>
                  <a:gd name="connsiteX24" fmla="*/ 630169 w 3020652"/>
                  <a:gd name="connsiteY24" fmla="*/ 543425 h 2043633"/>
                  <a:gd name="connsiteX25" fmla="*/ 566101 w 3020652"/>
                  <a:gd name="connsiteY25" fmla="*/ 319583 h 2043633"/>
                  <a:gd name="connsiteX26" fmla="*/ 665888 w 3020652"/>
                  <a:gd name="connsiteY26" fmla="*/ 247875 h 2043633"/>
                  <a:gd name="connsiteX27" fmla="*/ 1510326 w 3020652"/>
                  <a:gd name="connsiteY27" fmla="*/ 0 h 2043633"/>
                  <a:gd name="connsiteX0" fmla="*/ 2796300 w 3023749"/>
                  <a:gd name="connsiteY0" fmla="*/ 1324385 h 2043633"/>
                  <a:gd name="connsiteX1" fmla="*/ 3020652 w 3023749"/>
                  <a:gd name="connsiteY1" fmla="*/ 1451393 h 2043633"/>
                  <a:gd name="connsiteX2" fmla="*/ 2901963 w 3023749"/>
                  <a:gd name="connsiteY2" fmla="*/ 2016341 h 2043633"/>
                  <a:gd name="connsiteX3" fmla="*/ 2897503 w 3023749"/>
                  <a:gd name="connsiteY3" fmla="*/ 2025239 h 2043633"/>
                  <a:gd name="connsiteX4" fmla="*/ 2802193 w 3023749"/>
                  <a:gd name="connsiteY4" fmla="*/ 1436521 h 2043633"/>
                  <a:gd name="connsiteX5" fmla="*/ 2796300 w 3023749"/>
                  <a:gd name="connsiteY5" fmla="*/ 1324385 h 2043633"/>
                  <a:gd name="connsiteX6" fmla="*/ 384115 w 3023749"/>
                  <a:gd name="connsiteY6" fmla="*/ 486693 h 2043633"/>
                  <a:gd name="connsiteX7" fmla="*/ 296760 w 3023749"/>
                  <a:gd name="connsiteY7" fmla="*/ 1026949 h 2043633"/>
                  <a:gd name="connsiteX8" fmla="*/ 275793 w 3023749"/>
                  <a:gd name="connsiteY8" fmla="*/ 1081999 h 2043633"/>
                  <a:gd name="connsiteX9" fmla="*/ 217678 w 3023749"/>
                  <a:gd name="connsiteY9" fmla="*/ 1451393 h 2043633"/>
                  <a:gd name="connsiteX10" fmla="*/ 220242 w 3023749"/>
                  <a:gd name="connsiteY10" fmla="*/ 1500181 h 2043633"/>
                  <a:gd name="connsiteX11" fmla="*/ 132369 w 3023749"/>
                  <a:gd name="connsiteY11" fmla="*/ 2043633 h 2043633"/>
                  <a:gd name="connsiteX12" fmla="*/ 118689 w 3023749"/>
                  <a:gd name="connsiteY12" fmla="*/ 2016341 h 2043633"/>
                  <a:gd name="connsiteX13" fmla="*/ 0 w 3023749"/>
                  <a:gd name="connsiteY13" fmla="*/ 1451393 h 2043633"/>
                  <a:gd name="connsiteX14" fmla="*/ 344885 w 3023749"/>
                  <a:gd name="connsiteY14" fmla="*/ 528173 h 2043633"/>
                  <a:gd name="connsiteX15" fmla="*/ 384115 w 3023749"/>
                  <a:gd name="connsiteY15" fmla="*/ 486693 h 2043633"/>
                  <a:gd name="connsiteX16" fmla="*/ 1510326 w 3023749"/>
                  <a:gd name="connsiteY16" fmla="*/ 0 h 2043633"/>
                  <a:gd name="connsiteX17" fmla="*/ 2471034 w 3023749"/>
                  <a:gd name="connsiteY17" fmla="*/ 331427 h 2043633"/>
                  <a:gd name="connsiteX18" fmla="*/ 2474929 w 3023749"/>
                  <a:gd name="connsiteY18" fmla="*/ 334829 h 2043633"/>
                  <a:gd name="connsiteX19" fmla="*/ 2409343 w 3023749"/>
                  <a:gd name="connsiteY19" fmla="*/ 559897 h 2043633"/>
                  <a:gd name="connsiteX20" fmla="*/ 2332570 w 3023749"/>
                  <a:gd name="connsiteY20" fmla="*/ 492845 h 2043633"/>
                  <a:gd name="connsiteX21" fmla="*/ 1510326 w 3023749"/>
                  <a:gd name="connsiteY21" fmla="*/ 209184 h 2043633"/>
                  <a:gd name="connsiteX22" fmla="*/ 688082 w 3023749"/>
                  <a:gd name="connsiteY22" fmla="*/ 492845 h 2043633"/>
                  <a:gd name="connsiteX23" fmla="*/ 630169 w 3023749"/>
                  <a:gd name="connsiteY23" fmla="*/ 543425 h 2043633"/>
                  <a:gd name="connsiteX24" fmla="*/ 566101 w 3023749"/>
                  <a:gd name="connsiteY24" fmla="*/ 319583 h 2043633"/>
                  <a:gd name="connsiteX25" fmla="*/ 665888 w 3023749"/>
                  <a:gd name="connsiteY25" fmla="*/ 247875 h 2043633"/>
                  <a:gd name="connsiteX26" fmla="*/ 1510326 w 3023749"/>
                  <a:gd name="connsiteY26" fmla="*/ 0 h 2043633"/>
                  <a:gd name="connsiteX0" fmla="*/ 2802193 w 3023749"/>
                  <a:gd name="connsiteY0" fmla="*/ 1436521 h 2043633"/>
                  <a:gd name="connsiteX1" fmla="*/ 3020652 w 3023749"/>
                  <a:gd name="connsiteY1" fmla="*/ 1451393 h 2043633"/>
                  <a:gd name="connsiteX2" fmla="*/ 2901963 w 3023749"/>
                  <a:gd name="connsiteY2" fmla="*/ 2016341 h 2043633"/>
                  <a:gd name="connsiteX3" fmla="*/ 2897503 w 3023749"/>
                  <a:gd name="connsiteY3" fmla="*/ 2025239 h 2043633"/>
                  <a:gd name="connsiteX4" fmla="*/ 2802193 w 3023749"/>
                  <a:gd name="connsiteY4" fmla="*/ 1436521 h 2043633"/>
                  <a:gd name="connsiteX5" fmla="*/ 384115 w 3023749"/>
                  <a:gd name="connsiteY5" fmla="*/ 486693 h 2043633"/>
                  <a:gd name="connsiteX6" fmla="*/ 296760 w 3023749"/>
                  <a:gd name="connsiteY6" fmla="*/ 1026949 h 2043633"/>
                  <a:gd name="connsiteX7" fmla="*/ 275793 w 3023749"/>
                  <a:gd name="connsiteY7" fmla="*/ 1081999 h 2043633"/>
                  <a:gd name="connsiteX8" fmla="*/ 217678 w 3023749"/>
                  <a:gd name="connsiteY8" fmla="*/ 1451393 h 2043633"/>
                  <a:gd name="connsiteX9" fmla="*/ 220242 w 3023749"/>
                  <a:gd name="connsiteY9" fmla="*/ 1500181 h 2043633"/>
                  <a:gd name="connsiteX10" fmla="*/ 132369 w 3023749"/>
                  <a:gd name="connsiteY10" fmla="*/ 2043633 h 2043633"/>
                  <a:gd name="connsiteX11" fmla="*/ 118689 w 3023749"/>
                  <a:gd name="connsiteY11" fmla="*/ 2016341 h 2043633"/>
                  <a:gd name="connsiteX12" fmla="*/ 0 w 3023749"/>
                  <a:gd name="connsiteY12" fmla="*/ 1451393 h 2043633"/>
                  <a:gd name="connsiteX13" fmla="*/ 344885 w 3023749"/>
                  <a:gd name="connsiteY13" fmla="*/ 528173 h 2043633"/>
                  <a:gd name="connsiteX14" fmla="*/ 384115 w 3023749"/>
                  <a:gd name="connsiteY14" fmla="*/ 486693 h 2043633"/>
                  <a:gd name="connsiteX15" fmla="*/ 1510326 w 3023749"/>
                  <a:gd name="connsiteY15" fmla="*/ 0 h 2043633"/>
                  <a:gd name="connsiteX16" fmla="*/ 2471034 w 3023749"/>
                  <a:gd name="connsiteY16" fmla="*/ 331427 h 2043633"/>
                  <a:gd name="connsiteX17" fmla="*/ 2474929 w 3023749"/>
                  <a:gd name="connsiteY17" fmla="*/ 334829 h 2043633"/>
                  <a:gd name="connsiteX18" fmla="*/ 2409343 w 3023749"/>
                  <a:gd name="connsiteY18" fmla="*/ 559897 h 2043633"/>
                  <a:gd name="connsiteX19" fmla="*/ 2332570 w 3023749"/>
                  <a:gd name="connsiteY19" fmla="*/ 492845 h 2043633"/>
                  <a:gd name="connsiteX20" fmla="*/ 1510326 w 3023749"/>
                  <a:gd name="connsiteY20" fmla="*/ 209184 h 2043633"/>
                  <a:gd name="connsiteX21" fmla="*/ 688082 w 3023749"/>
                  <a:gd name="connsiteY21" fmla="*/ 492845 h 2043633"/>
                  <a:gd name="connsiteX22" fmla="*/ 630169 w 3023749"/>
                  <a:gd name="connsiteY22" fmla="*/ 543425 h 2043633"/>
                  <a:gd name="connsiteX23" fmla="*/ 566101 w 3023749"/>
                  <a:gd name="connsiteY23" fmla="*/ 319583 h 2043633"/>
                  <a:gd name="connsiteX24" fmla="*/ 665888 w 3023749"/>
                  <a:gd name="connsiteY24" fmla="*/ 247875 h 2043633"/>
                  <a:gd name="connsiteX25" fmla="*/ 1510326 w 3023749"/>
                  <a:gd name="connsiteY25" fmla="*/ 0 h 2043633"/>
                  <a:gd name="connsiteX0" fmla="*/ 2897503 w 3023749"/>
                  <a:gd name="connsiteY0" fmla="*/ 2025239 h 2043633"/>
                  <a:gd name="connsiteX1" fmla="*/ 3020652 w 3023749"/>
                  <a:gd name="connsiteY1" fmla="*/ 1451393 h 2043633"/>
                  <a:gd name="connsiteX2" fmla="*/ 2901963 w 3023749"/>
                  <a:gd name="connsiteY2" fmla="*/ 2016341 h 2043633"/>
                  <a:gd name="connsiteX3" fmla="*/ 2897503 w 3023749"/>
                  <a:gd name="connsiteY3" fmla="*/ 2025239 h 2043633"/>
                  <a:gd name="connsiteX4" fmla="*/ 384115 w 3023749"/>
                  <a:gd name="connsiteY4" fmla="*/ 486693 h 2043633"/>
                  <a:gd name="connsiteX5" fmla="*/ 296760 w 3023749"/>
                  <a:gd name="connsiteY5" fmla="*/ 1026949 h 2043633"/>
                  <a:gd name="connsiteX6" fmla="*/ 275793 w 3023749"/>
                  <a:gd name="connsiteY6" fmla="*/ 1081999 h 2043633"/>
                  <a:gd name="connsiteX7" fmla="*/ 217678 w 3023749"/>
                  <a:gd name="connsiteY7" fmla="*/ 1451393 h 2043633"/>
                  <a:gd name="connsiteX8" fmla="*/ 220242 w 3023749"/>
                  <a:gd name="connsiteY8" fmla="*/ 1500181 h 2043633"/>
                  <a:gd name="connsiteX9" fmla="*/ 132369 w 3023749"/>
                  <a:gd name="connsiteY9" fmla="*/ 2043633 h 2043633"/>
                  <a:gd name="connsiteX10" fmla="*/ 118689 w 3023749"/>
                  <a:gd name="connsiteY10" fmla="*/ 2016341 h 2043633"/>
                  <a:gd name="connsiteX11" fmla="*/ 0 w 3023749"/>
                  <a:gd name="connsiteY11" fmla="*/ 1451393 h 2043633"/>
                  <a:gd name="connsiteX12" fmla="*/ 344885 w 3023749"/>
                  <a:gd name="connsiteY12" fmla="*/ 528173 h 2043633"/>
                  <a:gd name="connsiteX13" fmla="*/ 384115 w 3023749"/>
                  <a:gd name="connsiteY13" fmla="*/ 486693 h 2043633"/>
                  <a:gd name="connsiteX14" fmla="*/ 1510326 w 3023749"/>
                  <a:gd name="connsiteY14" fmla="*/ 0 h 2043633"/>
                  <a:gd name="connsiteX15" fmla="*/ 2471034 w 3023749"/>
                  <a:gd name="connsiteY15" fmla="*/ 331427 h 2043633"/>
                  <a:gd name="connsiteX16" fmla="*/ 2474929 w 3023749"/>
                  <a:gd name="connsiteY16" fmla="*/ 334829 h 2043633"/>
                  <a:gd name="connsiteX17" fmla="*/ 2409343 w 3023749"/>
                  <a:gd name="connsiteY17" fmla="*/ 559897 h 2043633"/>
                  <a:gd name="connsiteX18" fmla="*/ 2332570 w 3023749"/>
                  <a:gd name="connsiteY18" fmla="*/ 492845 h 2043633"/>
                  <a:gd name="connsiteX19" fmla="*/ 1510326 w 3023749"/>
                  <a:gd name="connsiteY19" fmla="*/ 209184 h 2043633"/>
                  <a:gd name="connsiteX20" fmla="*/ 688082 w 3023749"/>
                  <a:gd name="connsiteY20" fmla="*/ 492845 h 2043633"/>
                  <a:gd name="connsiteX21" fmla="*/ 630169 w 3023749"/>
                  <a:gd name="connsiteY21" fmla="*/ 543425 h 2043633"/>
                  <a:gd name="connsiteX22" fmla="*/ 566101 w 3023749"/>
                  <a:gd name="connsiteY22" fmla="*/ 319583 h 2043633"/>
                  <a:gd name="connsiteX23" fmla="*/ 665888 w 3023749"/>
                  <a:gd name="connsiteY23" fmla="*/ 247875 h 2043633"/>
                  <a:gd name="connsiteX24" fmla="*/ 1510326 w 3023749"/>
                  <a:gd name="connsiteY24" fmla="*/ 0 h 2043633"/>
                  <a:gd name="connsiteX0" fmla="*/ 2897503 w 2901963"/>
                  <a:gd name="connsiteY0" fmla="*/ 2025239 h 2043633"/>
                  <a:gd name="connsiteX1" fmla="*/ 2901963 w 2901963"/>
                  <a:gd name="connsiteY1" fmla="*/ 2016341 h 2043633"/>
                  <a:gd name="connsiteX2" fmla="*/ 2897503 w 2901963"/>
                  <a:gd name="connsiteY2" fmla="*/ 2025239 h 2043633"/>
                  <a:gd name="connsiteX3" fmla="*/ 384115 w 2901963"/>
                  <a:gd name="connsiteY3" fmla="*/ 486693 h 2043633"/>
                  <a:gd name="connsiteX4" fmla="*/ 296760 w 2901963"/>
                  <a:gd name="connsiteY4" fmla="*/ 1026949 h 2043633"/>
                  <a:gd name="connsiteX5" fmla="*/ 275793 w 2901963"/>
                  <a:gd name="connsiteY5" fmla="*/ 1081999 h 2043633"/>
                  <a:gd name="connsiteX6" fmla="*/ 217678 w 2901963"/>
                  <a:gd name="connsiteY6" fmla="*/ 1451393 h 2043633"/>
                  <a:gd name="connsiteX7" fmla="*/ 220242 w 2901963"/>
                  <a:gd name="connsiteY7" fmla="*/ 1500181 h 2043633"/>
                  <a:gd name="connsiteX8" fmla="*/ 132369 w 2901963"/>
                  <a:gd name="connsiteY8" fmla="*/ 2043633 h 2043633"/>
                  <a:gd name="connsiteX9" fmla="*/ 118689 w 2901963"/>
                  <a:gd name="connsiteY9" fmla="*/ 2016341 h 2043633"/>
                  <a:gd name="connsiteX10" fmla="*/ 0 w 2901963"/>
                  <a:gd name="connsiteY10" fmla="*/ 1451393 h 2043633"/>
                  <a:gd name="connsiteX11" fmla="*/ 344885 w 2901963"/>
                  <a:gd name="connsiteY11" fmla="*/ 528173 h 2043633"/>
                  <a:gd name="connsiteX12" fmla="*/ 384115 w 2901963"/>
                  <a:gd name="connsiteY12" fmla="*/ 486693 h 2043633"/>
                  <a:gd name="connsiteX13" fmla="*/ 1510326 w 2901963"/>
                  <a:gd name="connsiteY13" fmla="*/ 0 h 2043633"/>
                  <a:gd name="connsiteX14" fmla="*/ 2471034 w 2901963"/>
                  <a:gd name="connsiteY14" fmla="*/ 331427 h 2043633"/>
                  <a:gd name="connsiteX15" fmla="*/ 2474929 w 2901963"/>
                  <a:gd name="connsiteY15" fmla="*/ 334829 h 2043633"/>
                  <a:gd name="connsiteX16" fmla="*/ 2409343 w 2901963"/>
                  <a:gd name="connsiteY16" fmla="*/ 559897 h 2043633"/>
                  <a:gd name="connsiteX17" fmla="*/ 2332570 w 2901963"/>
                  <a:gd name="connsiteY17" fmla="*/ 492845 h 2043633"/>
                  <a:gd name="connsiteX18" fmla="*/ 1510326 w 2901963"/>
                  <a:gd name="connsiteY18" fmla="*/ 209184 h 2043633"/>
                  <a:gd name="connsiteX19" fmla="*/ 688082 w 2901963"/>
                  <a:gd name="connsiteY19" fmla="*/ 492845 h 2043633"/>
                  <a:gd name="connsiteX20" fmla="*/ 630169 w 2901963"/>
                  <a:gd name="connsiteY20" fmla="*/ 543425 h 2043633"/>
                  <a:gd name="connsiteX21" fmla="*/ 566101 w 2901963"/>
                  <a:gd name="connsiteY21" fmla="*/ 319583 h 2043633"/>
                  <a:gd name="connsiteX22" fmla="*/ 665888 w 2901963"/>
                  <a:gd name="connsiteY22" fmla="*/ 247875 h 2043633"/>
                  <a:gd name="connsiteX23" fmla="*/ 1510326 w 2901963"/>
                  <a:gd name="connsiteY23" fmla="*/ 0 h 2043633"/>
                  <a:gd name="connsiteX0" fmla="*/ 384115 w 2474929"/>
                  <a:gd name="connsiteY0" fmla="*/ 486693 h 2043633"/>
                  <a:gd name="connsiteX1" fmla="*/ 296760 w 2474929"/>
                  <a:gd name="connsiteY1" fmla="*/ 1026949 h 2043633"/>
                  <a:gd name="connsiteX2" fmla="*/ 275793 w 2474929"/>
                  <a:gd name="connsiteY2" fmla="*/ 1081999 h 2043633"/>
                  <a:gd name="connsiteX3" fmla="*/ 217678 w 2474929"/>
                  <a:gd name="connsiteY3" fmla="*/ 1451393 h 2043633"/>
                  <a:gd name="connsiteX4" fmla="*/ 220242 w 2474929"/>
                  <a:gd name="connsiteY4" fmla="*/ 1500181 h 2043633"/>
                  <a:gd name="connsiteX5" fmla="*/ 132369 w 2474929"/>
                  <a:gd name="connsiteY5" fmla="*/ 2043633 h 2043633"/>
                  <a:gd name="connsiteX6" fmla="*/ 118689 w 2474929"/>
                  <a:gd name="connsiteY6" fmla="*/ 2016341 h 2043633"/>
                  <a:gd name="connsiteX7" fmla="*/ 0 w 2474929"/>
                  <a:gd name="connsiteY7" fmla="*/ 1451393 h 2043633"/>
                  <a:gd name="connsiteX8" fmla="*/ 344885 w 2474929"/>
                  <a:gd name="connsiteY8" fmla="*/ 528173 h 2043633"/>
                  <a:gd name="connsiteX9" fmla="*/ 384115 w 2474929"/>
                  <a:gd name="connsiteY9" fmla="*/ 486693 h 2043633"/>
                  <a:gd name="connsiteX10" fmla="*/ 1510326 w 2474929"/>
                  <a:gd name="connsiteY10" fmla="*/ 0 h 2043633"/>
                  <a:gd name="connsiteX11" fmla="*/ 2471034 w 2474929"/>
                  <a:gd name="connsiteY11" fmla="*/ 331427 h 2043633"/>
                  <a:gd name="connsiteX12" fmla="*/ 2474929 w 2474929"/>
                  <a:gd name="connsiteY12" fmla="*/ 334829 h 2043633"/>
                  <a:gd name="connsiteX13" fmla="*/ 2409343 w 2474929"/>
                  <a:gd name="connsiteY13" fmla="*/ 559897 h 2043633"/>
                  <a:gd name="connsiteX14" fmla="*/ 2332570 w 2474929"/>
                  <a:gd name="connsiteY14" fmla="*/ 492845 h 2043633"/>
                  <a:gd name="connsiteX15" fmla="*/ 1510326 w 2474929"/>
                  <a:gd name="connsiteY15" fmla="*/ 209184 h 2043633"/>
                  <a:gd name="connsiteX16" fmla="*/ 688082 w 2474929"/>
                  <a:gd name="connsiteY16" fmla="*/ 492845 h 2043633"/>
                  <a:gd name="connsiteX17" fmla="*/ 630169 w 2474929"/>
                  <a:gd name="connsiteY17" fmla="*/ 543425 h 2043633"/>
                  <a:gd name="connsiteX18" fmla="*/ 566101 w 2474929"/>
                  <a:gd name="connsiteY18" fmla="*/ 319583 h 2043633"/>
                  <a:gd name="connsiteX19" fmla="*/ 665888 w 2474929"/>
                  <a:gd name="connsiteY19" fmla="*/ 247875 h 2043633"/>
                  <a:gd name="connsiteX20" fmla="*/ 1510326 w 2474929"/>
                  <a:gd name="connsiteY20" fmla="*/ 0 h 2043633"/>
                  <a:gd name="connsiteX0" fmla="*/ 384115 w 2474929"/>
                  <a:gd name="connsiteY0" fmla="*/ 486693 h 2043633"/>
                  <a:gd name="connsiteX1" fmla="*/ 296760 w 2474929"/>
                  <a:gd name="connsiteY1" fmla="*/ 1026949 h 2043633"/>
                  <a:gd name="connsiteX2" fmla="*/ 275793 w 2474929"/>
                  <a:gd name="connsiteY2" fmla="*/ 1081999 h 2043633"/>
                  <a:gd name="connsiteX3" fmla="*/ 217678 w 2474929"/>
                  <a:gd name="connsiteY3" fmla="*/ 1451393 h 2043633"/>
                  <a:gd name="connsiteX4" fmla="*/ 220242 w 2474929"/>
                  <a:gd name="connsiteY4" fmla="*/ 1500181 h 2043633"/>
                  <a:gd name="connsiteX5" fmla="*/ 132369 w 2474929"/>
                  <a:gd name="connsiteY5" fmla="*/ 2043633 h 2043633"/>
                  <a:gd name="connsiteX6" fmla="*/ 0 w 2474929"/>
                  <a:gd name="connsiteY6" fmla="*/ 1451393 h 2043633"/>
                  <a:gd name="connsiteX7" fmla="*/ 344885 w 2474929"/>
                  <a:gd name="connsiteY7" fmla="*/ 528173 h 2043633"/>
                  <a:gd name="connsiteX8" fmla="*/ 384115 w 2474929"/>
                  <a:gd name="connsiteY8" fmla="*/ 486693 h 2043633"/>
                  <a:gd name="connsiteX9" fmla="*/ 1510326 w 2474929"/>
                  <a:gd name="connsiteY9" fmla="*/ 0 h 2043633"/>
                  <a:gd name="connsiteX10" fmla="*/ 2471034 w 2474929"/>
                  <a:gd name="connsiteY10" fmla="*/ 331427 h 2043633"/>
                  <a:gd name="connsiteX11" fmla="*/ 2474929 w 2474929"/>
                  <a:gd name="connsiteY11" fmla="*/ 334829 h 2043633"/>
                  <a:gd name="connsiteX12" fmla="*/ 2409343 w 2474929"/>
                  <a:gd name="connsiteY12" fmla="*/ 559897 h 2043633"/>
                  <a:gd name="connsiteX13" fmla="*/ 2332570 w 2474929"/>
                  <a:gd name="connsiteY13" fmla="*/ 492845 h 2043633"/>
                  <a:gd name="connsiteX14" fmla="*/ 1510326 w 2474929"/>
                  <a:gd name="connsiteY14" fmla="*/ 209184 h 2043633"/>
                  <a:gd name="connsiteX15" fmla="*/ 688082 w 2474929"/>
                  <a:gd name="connsiteY15" fmla="*/ 492845 h 2043633"/>
                  <a:gd name="connsiteX16" fmla="*/ 630169 w 2474929"/>
                  <a:gd name="connsiteY16" fmla="*/ 543425 h 2043633"/>
                  <a:gd name="connsiteX17" fmla="*/ 566101 w 2474929"/>
                  <a:gd name="connsiteY17" fmla="*/ 319583 h 2043633"/>
                  <a:gd name="connsiteX18" fmla="*/ 665888 w 2474929"/>
                  <a:gd name="connsiteY18" fmla="*/ 247875 h 2043633"/>
                  <a:gd name="connsiteX19" fmla="*/ 1510326 w 2474929"/>
                  <a:gd name="connsiteY19" fmla="*/ 0 h 2043633"/>
                  <a:gd name="connsiteX0" fmla="*/ 384115 w 2474929"/>
                  <a:gd name="connsiteY0" fmla="*/ 486693 h 1500181"/>
                  <a:gd name="connsiteX1" fmla="*/ 296760 w 2474929"/>
                  <a:gd name="connsiteY1" fmla="*/ 1026949 h 1500181"/>
                  <a:gd name="connsiteX2" fmla="*/ 275793 w 2474929"/>
                  <a:gd name="connsiteY2" fmla="*/ 1081999 h 1500181"/>
                  <a:gd name="connsiteX3" fmla="*/ 217678 w 2474929"/>
                  <a:gd name="connsiteY3" fmla="*/ 1451393 h 1500181"/>
                  <a:gd name="connsiteX4" fmla="*/ 220242 w 2474929"/>
                  <a:gd name="connsiteY4" fmla="*/ 1500181 h 1500181"/>
                  <a:gd name="connsiteX5" fmla="*/ 0 w 2474929"/>
                  <a:gd name="connsiteY5" fmla="*/ 1451393 h 1500181"/>
                  <a:gd name="connsiteX6" fmla="*/ 344885 w 2474929"/>
                  <a:gd name="connsiteY6" fmla="*/ 528173 h 1500181"/>
                  <a:gd name="connsiteX7" fmla="*/ 384115 w 2474929"/>
                  <a:gd name="connsiteY7" fmla="*/ 486693 h 1500181"/>
                  <a:gd name="connsiteX8" fmla="*/ 1510326 w 2474929"/>
                  <a:gd name="connsiteY8" fmla="*/ 0 h 1500181"/>
                  <a:gd name="connsiteX9" fmla="*/ 2471034 w 2474929"/>
                  <a:gd name="connsiteY9" fmla="*/ 331427 h 1500181"/>
                  <a:gd name="connsiteX10" fmla="*/ 2474929 w 2474929"/>
                  <a:gd name="connsiteY10" fmla="*/ 334829 h 1500181"/>
                  <a:gd name="connsiteX11" fmla="*/ 2409343 w 2474929"/>
                  <a:gd name="connsiteY11" fmla="*/ 559897 h 1500181"/>
                  <a:gd name="connsiteX12" fmla="*/ 2332570 w 2474929"/>
                  <a:gd name="connsiteY12" fmla="*/ 492845 h 1500181"/>
                  <a:gd name="connsiteX13" fmla="*/ 1510326 w 2474929"/>
                  <a:gd name="connsiteY13" fmla="*/ 209184 h 1500181"/>
                  <a:gd name="connsiteX14" fmla="*/ 688082 w 2474929"/>
                  <a:gd name="connsiteY14" fmla="*/ 492845 h 1500181"/>
                  <a:gd name="connsiteX15" fmla="*/ 630169 w 2474929"/>
                  <a:gd name="connsiteY15" fmla="*/ 543425 h 1500181"/>
                  <a:gd name="connsiteX16" fmla="*/ 566101 w 2474929"/>
                  <a:gd name="connsiteY16" fmla="*/ 319583 h 1500181"/>
                  <a:gd name="connsiteX17" fmla="*/ 665888 w 2474929"/>
                  <a:gd name="connsiteY17" fmla="*/ 247875 h 1500181"/>
                  <a:gd name="connsiteX18" fmla="*/ 1510326 w 2474929"/>
                  <a:gd name="connsiteY18" fmla="*/ 0 h 1500181"/>
                  <a:gd name="connsiteX0" fmla="*/ 384115 w 2474929"/>
                  <a:gd name="connsiteY0" fmla="*/ 486693 h 1451393"/>
                  <a:gd name="connsiteX1" fmla="*/ 296760 w 2474929"/>
                  <a:gd name="connsiteY1" fmla="*/ 1026949 h 1451393"/>
                  <a:gd name="connsiteX2" fmla="*/ 275793 w 2474929"/>
                  <a:gd name="connsiteY2" fmla="*/ 1081999 h 1451393"/>
                  <a:gd name="connsiteX3" fmla="*/ 217678 w 2474929"/>
                  <a:gd name="connsiteY3" fmla="*/ 1451393 h 1451393"/>
                  <a:gd name="connsiteX4" fmla="*/ 0 w 2474929"/>
                  <a:gd name="connsiteY4" fmla="*/ 1451393 h 1451393"/>
                  <a:gd name="connsiteX5" fmla="*/ 344885 w 2474929"/>
                  <a:gd name="connsiteY5" fmla="*/ 528173 h 1451393"/>
                  <a:gd name="connsiteX6" fmla="*/ 384115 w 2474929"/>
                  <a:gd name="connsiteY6" fmla="*/ 486693 h 1451393"/>
                  <a:gd name="connsiteX7" fmla="*/ 1510326 w 2474929"/>
                  <a:gd name="connsiteY7" fmla="*/ 0 h 1451393"/>
                  <a:gd name="connsiteX8" fmla="*/ 2471034 w 2474929"/>
                  <a:gd name="connsiteY8" fmla="*/ 331427 h 1451393"/>
                  <a:gd name="connsiteX9" fmla="*/ 2474929 w 2474929"/>
                  <a:gd name="connsiteY9" fmla="*/ 334829 h 1451393"/>
                  <a:gd name="connsiteX10" fmla="*/ 2409343 w 2474929"/>
                  <a:gd name="connsiteY10" fmla="*/ 559897 h 1451393"/>
                  <a:gd name="connsiteX11" fmla="*/ 2332570 w 2474929"/>
                  <a:gd name="connsiteY11" fmla="*/ 492845 h 1451393"/>
                  <a:gd name="connsiteX12" fmla="*/ 1510326 w 2474929"/>
                  <a:gd name="connsiteY12" fmla="*/ 209184 h 1451393"/>
                  <a:gd name="connsiteX13" fmla="*/ 688082 w 2474929"/>
                  <a:gd name="connsiteY13" fmla="*/ 492845 h 1451393"/>
                  <a:gd name="connsiteX14" fmla="*/ 630169 w 2474929"/>
                  <a:gd name="connsiteY14" fmla="*/ 543425 h 1451393"/>
                  <a:gd name="connsiteX15" fmla="*/ 566101 w 2474929"/>
                  <a:gd name="connsiteY15" fmla="*/ 319583 h 1451393"/>
                  <a:gd name="connsiteX16" fmla="*/ 665888 w 2474929"/>
                  <a:gd name="connsiteY16" fmla="*/ 247875 h 1451393"/>
                  <a:gd name="connsiteX17" fmla="*/ 1510326 w 2474929"/>
                  <a:gd name="connsiteY17" fmla="*/ 0 h 1451393"/>
                  <a:gd name="connsiteX0" fmla="*/ 384519 w 2475333"/>
                  <a:gd name="connsiteY0" fmla="*/ 486693 h 1465415"/>
                  <a:gd name="connsiteX1" fmla="*/ 297164 w 2475333"/>
                  <a:gd name="connsiteY1" fmla="*/ 1026949 h 1465415"/>
                  <a:gd name="connsiteX2" fmla="*/ 276197 w 2475333"/>
                  <a:gd name="connsiteY2" fmla="*/ 1081999 h 1465415"/>
                  <a:gd name="connsiteX3" fmla="*/ 404 w 2475333"/>
                  <a:gd name="connsiteY3" fmla="*/ 1451393 h 1465415"/>
                  <a:gd name="connsiteX4" fmla="*/ 345289 w 2475333"/>
                  <a:gd name="connsiteY4" fmla="*/ 528173 h 1465415"/>
                  <a:gd name="connsiteX5" fmla="*/ 384519 w 2475333"/>
                  <a:gd name="connsiteY5" fmla="*/ 486693 h 1465415"/>
                  <a:gd name="connsiteX6" fmla="*/ 1510730 w 2475333"/>
                  <a:gd name="connsiteY6" fmla="*/ 0 h 1465415"/>
                  <a:gd name="connsiteX7" fmla="*/ 2471438 w 2475333"/>
                  <a:gd name="connsiteY7" fmla="*/ 331427 h 1465415"/>
                  <a:gd name="connsiteX8" fmla="*/ 2475333 w 2475333"/>
                  <a:gd name="connsiteY8" fmla="*/ 334829 h 1465415"/>
                  <a:gd name="connsiteX9" fmla="*/ 2409747 w 2475333"/>
                  <a:gd name="connsiteY9" fmla="*/ 559897 h 1465415"/>
                  <a:gd name="connsiteX10" fmla="*/ 2332974 w 2475333"/>
                  <a:gd name="connsiteY10" fmla="*/ 492845 h 1465415"/>
                  <a:gd name="connsiteX11" fmla="*/ 1510730 w 2475333"/>
                  <a:gd name="connsiteY11" fmla="*/ 209184 h 1465415"/>
                  <a:gd name="connsiteX12" fmla="*/ 688486 w 2475333"/>
                  <a:gd name="connsiteY12" fmla="*/ 492845 h 1465415"/>
                  <a:gd name="connsiteX13" fmla="*/ 630573 w 2475333"/>
                  <a:gd name="connsiteY13" fmla="*/ 543425 h 1465415"/>
                  <a:gd name="connsiteX14" fmla="*/ 566505 w 2475333"/>
                  <a:gd name="connsiteY14" fmla="*/ 319583 h 1465415"/>
                  <a:gd name="connsiteX15" fmla="*/ 666292 w 2475333"/>
                  <a:gd name="connsiteY15" fmla="*/ 247875 h 1465415"/>
                  <a:gd name="connsiteX16" fmla="*/ 1510730 w 2475333"/>
                  <a:gd name="connsiteY16" fmla="*/ 0 h 1465415"/>
                  <a:gd name="connsiteX0" fmla="*/ 108322 w 2199136"/>
                  <a:gd name="connsiteY0" fmla="*/ 486693 h 1081999"/>
                  <a:gd name="connsiteX1" fmla="*/ 20967 w 2199136"/>
                  <a:gd name="connsiteY1" fmla="*/ 1026949 h 1081999"/>
                  <a:gd name="connsiteX2" fmla="*/ 0 w 2199136"/>
                  <a:gd name="connsiteY2" fmla="*/ 1081999 h 1081999"/>
                  <a:gd name="connsiteX3" fmla="*/ 69092 w 2199136"/>
                  <a:gd name="connsiteY3" fmla="*/ 528173 h 1081999"/>
                  <a:gd name="connsiteX4" fmla="*/ 108322 w 2199136"/>
                  <a:gd name="connsiteY4" fmla="*/ 486693 h 1081999"/>
                  <a:gd name="connsiteX5" fmla="*/ 1234533 w 2199136"/>
                  <a:gd name="connsiteY5" fmla="*/ 0 h 1081999"/>
                  <a:gd name="connsiteX6" fmla="*/ 2195241 w 2199136"/>
                  <a:gd name="connsiteY6" fmla="*/ 331427 h 1081999"/>
                  <a:gd name="connsiteX7" fmla="*/ 2199136 w 2199136"/>
                  <a:gd name="connsiteY7" fmla="*/ 334829 h 1081999"/>
                  <a:gd name="connsiteX8" fmla="*/ 2133550 w 2199136"/>
                  <a:gd name="connsiteY8" fmla="*/ 559897 h 1081999"/>
                  <a:gd name="connsiteX9" fmla="*/ 2056777 w 2199136"/>
                  <a:gd name="connsiteY9" fmla="*/ 492845 h 1081999"/>
                  <a:gd name="connsiteX10" fmla="*/ 1234533 w 2199136"/>
                  <a:gd name="connsiteY10" fmla="*/ 209184 h 1081999"/>
                  <a:gd name="connsiteX11" fmla="*/ 412289 w 2199136"/>
                  <a:gd name="connsiteY11" fmla="*/ 492845 h 1081999"/>
                  <a:gd name="connsiteX12" fmla="*/ 354376 w 2199136"/>
                  <a:gd name="connsiteY12" fmla="*/ 543425 h 1081999"/>
                  <a:gd name="connsiteX13" fmla="*/ 290308 w 2199136"/>
                  <a:gd name="connsiteY13" fmla="*/ 319583 h 1081999"/>
                  <a:gd name="connsiteX14" fmla="*/ 390095 w 2199136"/>
                  <a:gd name="connsiteY14" fmla="*/ 247875 h 1081999"/>
                  <a:gd name="connsiteX15" fmla="*/ 1234533 w 2199136"/>
                  <a:gd name="connsiteY15" fmla="*/ 0 h 1081999"/>
                  <a:gd name="connsiteX0" fmla="*/ 108322 w 2199136"/>
                  <a:gd name="connsiteY0" fmla="*/ 486693 h 1081999"/>
                  <a:gd name="connsiteX1" fmla="*/ 0 w 2199136"/>
                  <a:gd name="connsiteY1" fmla="*/ 1081999 h 1081999"/>
                  <a:gd name="connsiteX2" fmla="*/ 69092 w 2199136"/>
                  <a:gd name="connsiteY2" fmla="*/ 528173 h 1081999"/>
                  <a:gd name="connsiteX3" fmla="*/ 108322 w 2199136"/>
                  <a:gd name="connsiteY3" fmla="*/ 486693 h 1081999"/>
                  <a:gd name="connsiteX4" fmla="*/ 1234533 w 2199136"/>
                  <a:gd name="connsiteY4" fmla="*/ 0 h 1081999"/>
                  <a:gd name="connsiteX5" fmla="*/ 2195241 w 2199136"/>
                  <a:gd name="connsiteY5" fmla="*/ 331427 h 1081999"/>
                  <a:gd name="connsiteX6" fmla="*/ 2199136 w 2199136"/>
                  <a:gd name="connsiteY6" fmla="*/ 334829 h 1081999"/>
                  <a:gd name="connsiteX7" fmla="*/ 2133550 w 2199136"/>
                  <a:gd name="connsiteY7" fmla="*/ 559897 h 1081999"/>
                  <a:gd name="connsiteX8" fmla="*/ 2056777 w 2199136"/>
                  <a:gd name="connsiteY8" fmla="*/ 492845 h 1081999"/>
                  <a:gd name="connsiteX9" fmla="*/ 1234533 w 2199136"/>
                  <a:gd name="connsiteY9" fmla="*/ 209184 h 1081999"/>
                  <a:gd name="connsiteX10" fmla="*/ 412289 w 2199136"/>
                  <a:gd name="connsiteY10" fmla="*/ 492845 h 1081999"/>
                  <a:gd name="connsiteX11" fmla="*/ 354376 w 2199136"/>
                  <a:gd name="connsiteY11" fmla="*/ 543425 h 1081999"/>
                  <a:gd name="connsiteX12" fmla="*/ 290308 w 2199136"/>
                  <a:gd name="connsiteY12" fmla="*/ 319583 h 1081999"/>
                  <a:gd name="connsiteX13" fmla="*/ 390095 w 2199136"/>
                  <a:gd name="connsiteY13" fmla="*/ 247875 h 1081999"/>
                  <a:gd name="connsiteX14" fmla="*/ 1234533 w 2199136"/>
                  <a:gd name="connsiteY14" fmla="*/ 0 h 1081999"/>
                  <a:gd name="connsiteX0" fmla="*/ 39230 w 2130044"/>
                  <a:gd name="connsiteY0" fmla="*/ 486693 h 559897"/>
                  <a:gd name="connsiteX1" fmla="*/ 0 w 2130044"/>
                  <a:gd name="connsiteY1" fmla="*/ 528173 h 559897"/>
                  <a:gd name="connsiteX2" fmla="*/ 39230 w 2130044"/>
                  <a:gd name="connsiteY2" fmla="*/ 486693 h 559897"/>
                  <a:gd name="connsiteX3" fmla="*/ 1165441 w 2130044"/>
                  <a:gd name="connsiteY3" fmla="*/ 0 h 559897"/>
                  <a:gd name="connsiteX4" fmla="*/ 2126149 w 2130044"/>
                  <a:gd name="connsiteY4" fmla="*/ 331427 h 559897"/>
                  <a:gd name="connsiteX5" fmla="*/ 2130044 w 2130044"/>
                  <a:gd name="connsiteY5" fmla="*/ 334829 h 559897"/>
                  <a:gd name="connsiteX6" fmla="*/ 2064458 w 2130044"/>
                  <a:gd name="connsiteY6" fmla="*/ 559897 h 559897"/>
                  <a:gd name="connsiteX7" fmla="*/ 1987685 w 2130044"/>
                  <a:gd name="connsiteY7" fmla="*/ 492845 h 559897"/>
                  <a:gd name="connsiteX8" fmla="*/ 1165441 w 2130044"/>
                  <a:gd name="connsiteY8" fmla="*/ 209184 h 559897"/>
                  <a:gd name="connsiteX9" fmla="*/ 343197 w 2130044"/>
                  <a:gd name="connsiteY9" fmla="*/ 492845 h 559897"/>
                  <a:gd name="connsiteX10" fmla="*/ 285284 w 2130044"/>
                  <a:gd name="connsiteY10" fmla="*/ 543425 h 559897"/>
                  <a:gd name="connsiteX11" fmla="*/ 221216 w 2130044"/>
                  <a:gd name="connsiteY11" fmla="*/ 319583 h 559897"/>
                  <a:gd name="connsiteX12" fmla="*/ 321003 w 2130044"/>
                  <a:gd name="connsiteY12" fmla="*/ 247875 h 559897"/>
                  <a:gd name="connsiteX13" fmla="*/ 1165441 w 2130044"/>
                  <a:gd name="connsiteY13" fmla="*/ 0 h 559897"/>
                  <a:gd name="connsiteX0" fmla="*/ 944225 w 1908828"/>
                  <a:gd name="connsiteY0" fmla="*/ 0 h 559897"/>
                  <a:gd name="connsiteX1" fmla="*/ 1904933 w 1908828"/>
                  <a:gd name="connsiteY1" fmla="*/ 331427 h 559897"/>
                  <a:gd name="connsiteX2" fmla="*/ 1908828 w 1908828"/>
                  <a:gd name="connsiteY2" fmla="*/ 334829 h 559897"/>
                  <a:gd name="connsiteX3" fmla="*/ 1843242 w 1908828"/>
                  <a:gd name="connsiteY3" fmla="*/ 559897 h 559897"/>
                  <a:gd name="connsiteX4" fmla="*/ 1766469 w 1908828"/>
                  <a:gd name="connsiteY4" fmla="*/ 492845 h 559897"/>
                  <a:gd name="connsiteX5" fmla="*/ 944225 w 1908828"/>
                  <a:gd name="connsiteY5" fmla="*/ 209184 h 559897"/>
                  <a:gd name="connsiteX6" fmla="*/ 121981 w 1908828"/>
                  <a:gd name="connsiteY6" fmla="*/ 492845 h 559897"/>
                  <a:gd name="connsiteX7" fmla="*/ 64068 w 1908828"/>
                  <a:gd name="connsiteY7" fmla="*/ 543425 h 559897"/>
                  <a:gd name="connsiteX8" fmla="*/ 0 w 1908828"/>
                  <a:gd name="connsiteY8" fmla="*/ 319583 h 559897"/>
                  <a:gd name="connsiteX9" fmla="*/ 99787 w 1908828"/>
                  <a:gd name="connsiteY9" fmla="*/ 247875 h 559897"/>
                  <a:gd name="connsiteX10" fmla="*/ 944225 w 1908828"/>
                  <a:gd name="connsiteY10" fmla="*/ 0 h 559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908828" h="559897">
                    <a:moveTo>
                      <a:pt x="944225" y="0"/>
                    </a:moveTo>
                    <a:cubicBezTo>
                      <a:pt x="1309157" y="0"/>
                      <a:pt x="1643859" y="124378"/>
                      <a:pt x="1904933" y="331427"/>
                    </a:cubicBezTo>
                    <a:lnTo>
                      <a:pt x="1908828" y="334829"/>
                    </a:lnTo>
                    <a:lnTo>
                      <a:pt x="1843242" y="559897"/>
                    </a:lnTo>
                    <a:lnTo>
                      <a:pt x="1766469" y="492845"/>
                    </a:lnTo>
                    <a:cubicBezTo>
                      <a:pt x="1543023" y="315635"/>
                      <a:pt x="1256561" y="209184"/>
                      <a:pt x="944225" y="209184"/>
                    </a:cubicBezTo>
                    <a:cubicBezTo>
                      <a:pt x="631889" y="209184"/>
                      <a:pt x="345427" y="315635"/>
                      <a:pt x="121981" y="492845"/>
                    </a:cubicBezTo>
                    <a:lnTo>
                      <a:pt x="64068" y="543425"/>
                    </a:lnTo>
                    <a:lnTo>
                      <a:pt x="0" y="319583"/>
                    </a:lnTo>
                    <a:lnTo>
                      <a:pt x="99787" y="247875"/>
                    </a:lnTo>
                    <a:cubicBezTo>
                      <a:pt x="340837" y="91380"/>
                      <a:pt x="631426" y="0"/>
                      <a:pt x="944225" y="0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519970">
                  <a:defRPr/>
                </a:pPr>
                <a:endParaRPr lang="en-US" sz="1842" kern="0">
                  <a:solidFill>
                    <a:prstClr val="white"/>
                  </a:solidFill>
                  <a:latin typeface="Calibri"/>
                </a:endParaRPr>
              </a:p>
            </p:txBody>
          </p:sp>
        </p:grpSp>
        <p:grpSp>
          <p:nvGrpSpPr>
            <p:cNvPr id="567" name="Group 204"/>
            <p:cNvGrpSpPr/>
            <p:nvPr/>
          </p:nvGrpSpPr>
          <p:grpSpPr>
            <a:xfrm>
              <a:off x="1282752" y="4938098"/>
              <a:ext cx="1451258" cy="1449504"/>
              <a:chOff x="11961036" y="14854279"/>
              <a:chExt cx="6135815" cy="6128401"/>
            </a:xfrm>
            <a:grpFill/>
          </p:grpSpPr>
          <p:sp>
            <p:nvSpPr>
              <p:cNvPr id="568" name="Freeform 205"/>
              <p:cNvSpPr/>
              <p:nvPr/>
            </p:nvSpPr>
            <p:spPr>
              <a:xfrm>
                <a:off x="12770891" y="14854279"/>
                <a:ext cx="4477588" cy="6128401"/>
              </a:xfrm>
              <a:custGeom>
                <a:avLst/>
                <a:gdLst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3253261 w 4477595"/>
                  <a:gd name="connsiteY17" fmla="*/ 3754007 h 6128401"/>
                  <a:gd name="connsiteX18" fmla="*/ 3242716 w 4477595"/>
                  <a:gd name="connsiteY18" fmla="*/ 3753945 h 6128401"/>
                  <a:gd name="connsiteX19" fmla="*/ 3255265 w 4477595"/>
                  <a:gd name="connsiteY19" fmla="*/ 3746321 h 6128401"/>
                  <a:gd name="connsiteX20" fmla="*/ 4056807 w 4477595"/>
                  <a:gd name="connsiteY20" fmla="*/ 2238797 h 6128401"/>
                  <a:gd name="connsiteX21" fmla="*/ 2238798 w 4477595"/>
                  <a:gd name="connsiteY21" fmla="*/ 420786 h 6128401"/>
                  <a:gd name="connsiteX22" fmla="*/ 2238797 w 4477595"/>
                  <a:gd name="connsiteY22" fmla="*/ 0 h 6128401"/>
                  <a:gd name="connsiteX23" fmla="*/ 4477595 w 4477595"/>
                  <a:gd name="connsiteY23" fmla="*/ 2238797 h 6128401"/>
                  <a:gd name="connsiteX24" fmla="*/ 3305941 w 4477595"/>
                  <a:gd name="connsiteY24" fmla="*/ 4207383 h 6128401"/>
                  <a:gd name="connsiteX25" fmla="*/ 3243251 w 4477595"/>
                  <a:gd name="connsiteY25" fmla="*/ 4439941 h 6128401"/>
                  <a:gd name="connsiteX26" fmla="*/ 3243251 w 4477595"/>
                  <a:gd name="connsiteY26" fmla="*/ 5318909 h 6128401"/>
                  <a:gd name="connsiteX27" fmla="*/ 2705531 w 4477595"/>
                  <a:gd name="connsiteY27" fmla="*/ 5880081 h 6128401"/>
                  <a:gd name="connsiteX28" fmla="*/ 2650833 w 4477595"/>
                  <a:gd name="connsiteY28" fmla="*/ 5880971 h 6128401"/>
                  <a:gd name="connsiteX29" fmla="*/ 2641784 w 4477595"/>
                  <a:gd name="connsiteY29" fmla="*/ 5910123 h 6128401"/>
                  <a:gd name="connsiteX30" fmla="*/ 2312476 w 4477595"/>
                  <a:gd name="connsiteY30" fmla="*/ 6128401 h 6128401"/>
                  <a:gd name="connsiteX31" fmla="*/ 2165118 w 4477595"/>
                  <a:gd name="connsiteY31" fmla="*/ 6128401 h 6128401"/>
                  <a:gd name="connsiteX32" fmla="*/ 1835810 w 4477595"/>
                  <a:gd name="connsiteY32" fmla="*/ 5910123 h 6128401"/>
                  <a:gd name="connsiteX33" fmla="*/ 1826975 w 4477595"/>
                  <a:gd name="connsiteY33" fmla="*/ 5881661 h 6128401"/>
                  <a:gd name="connsiteX34" fmla="*/ 1699568 w 4477595"/>
                  <a:gd name="connsiteY34" fmla="*/ 5881345 h 6128401"/>
                  <a:gd name="connsiteX35" fmla="*/ 1252464 w 4477595"/>
                  <a:gd name="connsiteY35" fmla="*/ 5306553 h 6128401"/>
                  <a:gd name="connsiteX36" fmla="*/ 1260702 w 4477595"/>
                  <a:gd name="connsiteY36" fmla="*/ 4439941 h 6128401"/>
                  <a:gd name="connsiteX37" fmla="*/ 1247395 w 4477595"/>
                  <a:gd name="connsiteY37" fmla="*/ 4251681 h 6128401"/>
                  <a:gd name="connsiteX38" fmla="*/ 1171654 w 4477595"/>
                  <a:gd name="connsiteY38" fmla="*/ 4207383 h 6128401"/>
                  <a:gd name="connsiteX39" fmla="*/ 0 w 4477595"/>
                  <a:gd name="connsiteY39" fmla="*/ 2238797 h 6128401"/>
                  <a:gd name="connsiteX40" fmla="*/ 2238797 w 4477595"/>
                  <a:gd name="connsiteY40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3253261 w 4477595"/>
                  <a:gd name="connsiteY17" fmla="*/ 3754007 h 6128401"/>
                  <a:gd name="connsiteX18" fmla="*/ 3242716 w 4477595"/>
                  <a:gd name="connsiteY18" fmla="*/ 3753945 h 6128401"/>
                  <a:gd name="connsiteX19" fmla="*/ 4056807 w 4477595"/>
                  <a:gd name="connsiteY19" fmla="*/ 2238797 h 6128401"/>
                  <a:gd name="connsiteX20" fmla="*/ 2238798 w 4477595"/>
                  <a:gd name="connsiteY20" fmla="*/ 420786 h 6128401"/>
                  <a:gd name="connsiteX21" fmla="*/ 2238797 w 4477595"/>
                  <a:gd name="connsiteY21" fmla="*/ 0 h 6128401"/>
                  <a:gd name="connsiteX22" fmla="*/ 4477595 w 4477595"/>
                  <a:gd name="connsiteY22" fmla="*/ 2238797 h 6128401"/>
                  <a:gd name="connsiteX23" fmla="*/ 3305941 w 4477595"/>
                  <a:gd name="connsiteY23" fmla="*/ 4207383 h 6128401"/>
                  <a:gd name="connsiteX24" fmla="*/ 3243251 w 4477595"/>
                  <a:gd name="connsiteY24" fmla="*/ 4439941 h 6128401"/>
                  <a:gd name="connsiteX25" fmla="*/ 3243251 w 4477595"/>
                  <a:gd name="connsiteY25" fmla="*/ 5318909 h 6128401"/>
                  <a:gd name="connsiteX26" fmla="*/ 2705531 w 4477595"/>
                  <a:gd name="connsiteY26" fmla="*/ 5880081 h 6128401"/>
                  <a:gd name="connsiteX27" fmla="*/ 2650833 w 4477595"/>
                  <a:gd name="connsiteY27" fmla="*/ 5880971 h 6128401"/>
                  <a:gd name="connsiteX28" fmla="*/ 2641784 w 4477595"/>
                  <a:gd name="connsiteY28" fmla="*/ 5910123 h 6128401"/>
                  <a:gd name="connsiteX29" fmla="*/ 2312476 w 4477595"/>
                  <a:gd name="connsiteY29" fmla="*/ 6128401 h 6128401"/>
                  <a:gd name="connsiteX30" fmla="*/ 2165118 w 4477595"/>
                  <a:gd name="connsiteY30" fmla="*/ 6128401 h 6128401"/>
                  <a:gd name="connsiteX31" fmla="*/ 1835810 w 4477595"/>
                  <a:gd name="connsiteY31" fmla="*/ 5910123 h 6128401"/>
                  <a:gd name="connsiteX32" fmla="*/ 1826975 w 4477595"/>
                  <a:gd name="connsiteY32" fmla="*/ 5881661 h 6128401"/>
                  <a:gd name="connsiteX33" fmla="*/ 1699568 w 4477595"/>
                  <a:gd name="connsiteY33" fmla="*/ 5881345 h 6128401"/>
                  <a:gd name="connsiteX34" fmla="*/ 1252464 w 4477595"/>
                  <a:gd name="connsiteY34" fmla="*/ 5306553 h 6128401"/>
                  <a:gd name="connsiteX35" fmla="*/ 1260702 w 4477595"/>
                  <a:gd name="connsiteY35" fmla="*/ 4439941 h 6128401"/>
                  <a:gd name="connsiteX36" fmla="*/ 1247395 w 4477595"/>
                  <a:gd name="connsiteY36" fmla="*/ 4251681 h 6128401"/>
                  <a:gd name="connsiteX37" fmla="*/ 1171654 w 4477595"/>
                  <a:gd name="connsiteY37" fmla="*/ 4207383 h 6128401"/>
                  <a:gd name="connsiteX38" fmla="*/ 0 w 4477595"/>
                  <a:gd name="connsiteY38" fmla="*/ 2238797 h 6128401"/>
                  <a:gd name="connsiteX39" fmla="*/ 2238797 w 4477595"/>
                  <a:gd name="connsiteY39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3253261 w 4477595"/>
                  <a:gd name="connsiteY17" fmla="*/ 3754007 h 6128401"/>
                  <a:gd name="connsiteX18" fmla="*/ 4056807 w 4477595"/>
                  <a:gd name="connsiteY18" fmla="*/ 2238797 h 6128401"/>
                  <a:gd name="connsiteX19" fmla="*/ 2238798 w 4477595"/>
                  <a:gd name="connsiteY19" fmla="*/ 420786 h 6128401"/>
                  <a:gd name="connsiteX20" fmla="*/ 2238797 w 4477595"/>
                  <a:gd name="connsiteY20" fmla="*/ 0 h 6128401"/>
                  <a:gd name="connsiteX21" fmla="*/ 4477595 w 4477595"/>
                  <a:gd name="connsiteY21" fmla="*/ 2238797 h 6128401"/>
                  <a:gd name="connsiteX22" fmla="*/ 3305941 w 4477595"/>
                  <a:gd name="connsiteY22" fmla="*/ 4207383 h 6128401"/>
                  <a:gd name="connsiteX23" fmla="*/ 3243251 w 4477595"/>
                  <a:gd name="connsiteY23" fmla="*/ 4439941 h 6128401"/>
                  <a:gd name="connsiteX24" fmla="*/ 3243251 w 4477595"/>
                  <a:gd name="connsiteY24" fmla="*/ 5318909 h 6128401"/>
                  <a:gd name="connsiteX25" fmla="*/ 2705531 w 4477595"/>
                  <a:gd name="connsiteY25" fmla="*/ 5880081 h 6128401"/>
                  <a:gd name="connsiteX26" fmla="*/ 2650833 w 4477595"/>
                  <a:gd name="connsiteY26" fmla="*/ 5880971 h 6128401"/>
                  <a:gd name="connsiteX27" fmla="*/ 2641784 w 4477595"/>
                  <a:gd name="connsiteY27" fmla="*/ 5910123 h 6128401"/>
                  <a:gd name="connsiteX28" fmla="*/ 2312476 w 4477595"/>
                  <a:gd name="connsiteY28" fmla="*/ 6128401 h 6128401"/>
                  <a:gd name="connsiteX29" fmla="*/ 2165118 w 4477595"/>
                  <a:gd name="connsiteY29" fmla="*/ 6128401 h 6128401"/>
                  <a:gd name="connsiteX30" fmla="*/ 1835810 w 4477595"/>
                  <a:gd name="connsiteY30" fmla="*/ 5910123 h 6128401"/>
                  <a:gd name="connsiteX31" fmla="*/ 1826975 w 4477595"/>
                  <a:gd name="connsiteY31" fmla="*/ 5881661 h 6128401"/>
                  <a:gd name="connsiteX32" fmla="*/ 1699568 w 4477595"/>
                  <a:gd name="connsiteY32" fmla="*/ 5881345 h 6128401"/>
                  <a:gd name="connsiteX33" fmla="*/ 1252464 w 4477595"/>
                  <a:gd name="connsiteY33" fmla="*/ 5306553 h 6128401"/>
                  <a:gd name="connsiteX34" fmla="*/ 1260702 w 4477595"/>
                  <a:gd name="connsiteY34" fmla="*/ 4439941 h 6128401"/>
                  <a:gd name="connsiteX35" fmla="*/ 1247395 w 4477595"/>
                  <a:gd name="connsiteY35" fmla="*/ 4251681 h 6128401"/>
                  <a:gd name="connsiteX36" fmla="*/ 1171654 w 4477595"/>
                  <a:gd name="connsiteY36" fmla="*/ 4207383 h 6128401"/>
                  <a:gd name="connsiteX37" fmla="*/ 0 w 4477595"/>
                  <a:gd name="connsiteY37" fmla="*/ 2238797 h 6128401"/>
                  <a:gd name="connsiteX38" fmla="*/ 2238797 w 4477595"/>
                  <a:gd name="connsiteY38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4056807 w 4477595"/>
                  <a:gd name="connsiteY17" fmla="*/ 2238797 h 6128401"/>
                  <a:gd name="connsiteX18" fmla="*/ 2238798 w 4477595"/>
                  <a:gd name="connsiteY18" fmla="*/ 420786 h 6128401"/>
                  <a:gd name="connsiteX19" fmla="*/ 2238797 w 4477595"/>
                  <a:gd name="connsiteY19" fmla="*/ 0 h 6128401"/>
                  <a:gd name="connsiteX20" fmla="*/ 4477595 w 4477595"/>
                  <a:gd name="connsiteY20" fmla="*/ 2238797 h 6128401"/>
                  <a:gd name="connsiteX21" fmla="*/ 3305941 w 4477595"/>
                  <a:gd name="connsiteY21" fmla="*/ 4207383 h 6128401"/>
                  <a:gd name="connsiteX22" fmla="*/ 3243251 w 4477595"/>
                  <a:gd name="connsiteY22" fmla="*/ 4439941 h 6128401"/>
                  <a:gd name="connsiteX23" fmla="*/ 3243251 w 4477595"/>
                  <a:gd name="connsiteY23" fmla="*/ 5318909 h 6128401"/>
                  <a:gd name="connsiteX24" fmla="*/ 2705531 w 4477595"/>
                  <a:gd name="connsiteY24" fmla="*/ 5880081 h 6128401"/>
                  <a:gd name="connsiteX25" fmla="*/ 2650833 w 4477595"/>
                  <a:gd name="connsiteY25" fmla="*/ 5880971 h 6128401"/>
                  <a:gd name="connsiteX26" fmla="*/ 2641784 w 4477595"/>
                  <a:gd name="connsiteY26" fmla="*/ 5910123 h 6128401"/>
                  <a:gd name="connsiteX27" fmla="*/ 2312476 w 4477595"/>
                  <a:gd name="connsiteY27" fmla="*/ 6128401 h 6128401"/>
                  <a:gd name="connsiteX28" fmla="*/ 2165118 w 4477595"/>
                  <a:gd name="connsiteY28" fmla="*/ 6128401 h 6128401"/>
                  <a:gd name="connsiteX29" fmla="*/ 1835810 w 4477595"/>
                  <a:gd name="connsiteY29" fmla="*/ 5910123 h 6128401"/>
                  <a:gd name="connsiteX30" fmla="*/ 1826975 w 4477595"/>
                  <a:gd name="connsiteY30" fmla="*/ 5881661 h 6128401"/>
                  <a:gd name="connsiteX31" fmla="*/ 1699568 w 4477595"/>
                  <a:gd name="connsiteY31" fmla="*/ 5881345 h 6128401"/>
                  <a:gd name="connsiteX32" fmla="*/ 1252464 w 4477595"/>
                  <a:gd name="connsiteY32" fmla="*/ 5306553 h 6128401"/>
                  <a:gd name="connsiteX33" fmla="*/ 1260702 w 4477595"/>
                  <a:gd name="connsiteY33" fmla="*/ 4439941 h 6128401"/>
                  <a:gd name="connsiteX34" fmla="*/ 1247395 w 4477595"/>
                  <a:gd name="connsiteY34" fmla="*/ 4251681 h 6128401"/>
                  <a:gd name="connsiteX35" fmla="*/ 1171654 w 4477595"/>
                  <a:gd name="connsiteY35" fmla="*/ 4207383 h 6128401"/>
                  <a:gd name="connsiteX36" fmla="*/ 0 w 4477595"/>
                  <a:gd name="connsiteY36" fmla="*/ 2238797 h 6128401"/>
                  <a:gd name="connsiteX37" fmla="*/ 2238797 w 4477595"/>
                  <a:gd name="connsiteY37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4056807 w 4477595"/>
                  <a:gd name="connsiteY17" fmla="*/ 2238797 h 6128401"/>
                  <a:gd name="connsiteX18" fmla="*/ 2238798 w 4477595"/>
                  <a:gd name="connsiteY18" fmla="*/ 420786 h 6128401"/>
                  <a:gd name="connsiteX19" fmla="*/ 2238797 w 4477595"/>
                  <a:gd name="connsiteY19" fmla="*/ 0 h 6128401"/>
                  <a:gd name="connsiteX20" fmla="*/ 4477595 w 4477595"/>
                  <a:gd name="connsiteY20" fmla="*/ 2238797 h 6128401"/>
                  <a:gd name="connsiteX21" fmla="*/ 3305941 w 4477595"/>
                  <a:gd name="connsiteY21" fmla="*/ 4207383 h 6128401"/>
                  <a:gd name="connsiteX22" fmla="*/ 3243251 w 4477595"/>
                  <a:gd name="connsiteY22" fmla="*/ 4439941 h 6128401"/>
                  <a:gd name="connsiteX23" fmla="*/ 3243251 w 4477595"/>
                  <a:gd name="connsiteY23" fmla="*/ 5318909 h 6128401"/>
                  <a:gd name="connsiteX24" fmla="*/ 2705531 w 4477595"/>
                  <a:gd name="connsiteY24" fmla="*/ 5880081 h 6128401"/>
                  <a:gd name="connsiteX25" fmla="*/ 2650833 w 4477595"/>
                  <a:gd name="connsiteY25" fmla="*/ 5880971 h 6128401"/>
                  <a:gd name="connsiteX26" fmla="*/ 2641784 w 4477595"/>
                  <a:gd name="connsiteY26" fmla="*/ 5910123 h 6128401"/>
                  <a:gd name="connsiteX27" fmla="*/ 2312476 w 4477595"/>
                  <a:gd name="connsiteY27" fmla="*/ 6128401 h 6128401"/>
                  <a:gd name="connsiteX28" fmla="*/ 2165118 w 4477595"/>
                  <a:gd name="connsiteY28" fmla="*/ 6128401 h 6128401"/>
                  <a:gd name="connsiteX29" fmla="*/ 1835810 w 4477595"/>
                  <a:gd name="connsiteY29" fmla="*/ 5910123 h 6128401"/>
                  <a:gd name="connsiteX30" fmla="*/ 1826975 w 4477595"/>
                  <a:gd name="connsiteY30" fmla="*/ 5881661 h 6128401"/>
                  <a:gd name="connsiteX31" fmla="*/ 1699568 w 4477595"/>
                  <a:gd name="connsiteY31" fmla="*/ 5881345 h 6128401"/>
                  <a:gd name="connsiteX32" fmla="*/ 1252464 w 4477595"/>
                  <a:gd name="connsiteY32" fmla="*/ 5306553 h 6128401"/>
                  <a:gd name="connsiteX33" fmla="*/ 1260702 w 4477595"/>
                  <a:gd name="connsiteY33" fmla="*/ 4439941 h 6128401"/>
                  <a:gd name="connsiteX34" fmla="*/ 1247395 w 4477595"/>
                  <a:gd name="connsiteY34" fmla="*/ 4251681 h 6128401"/>
                  <a:gd name="connsiteX35" fmla="*/ 1171654 w 4477595"/>
                  <a:gd name="connsiteY35" fmla="*/ 4207383 h 6128401"/>
                  <a:gd name="connsiteX36" fmla="*/ 0 w 4477595"/>
                  <a:gd name="connsiteY36" fmla="*/ 2238797 h 6128401"/>
                  <a:gd name="connsiteX37" fmla="*/ 2238797 w 4477595"/>
                  <a:gd name="connsiteY37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4056807 w 4477595"/>
                  <a:gd name="connsiteY17" fmla="*/ 2238797 h 6128401"/>
                  <a:gd name="connsiteX18" fmla="*/ 2238798 w 4477595"/>
                  <a:gd name="connsiteY18" fmla="*/ 420786 h 6128401"/>
                  <a:gd name="connsiteX19" fmla="*/ 2238797 w 4477595"/>
                  <a:gd name="connsiteY19" fmla="*/ 0 h 6128401"/>
                  <a:gd name="connsiteX20" fmla="*/ 4477595 w 4477595"/>
                  <a:gd name="connsiteY20" fmla="*/ 2238797 h 6128401"/>
                  <a:gd name="connsiteX21" fmla="*/ 3305941 w 4477595"/>
                  <a:gd name="connsiteY21" fmla="*/ 4207383 h 6128401"/>
                  <a:gd name="connsiteX22" fmla="*/ 3243251 w 4477595"/>
                  <a:gd name="connsiteY22" fmla="*/ 4439941 h 6128401"/>
                  <a:gd name="connsiteX23" fmla="*/ 3243251 w 4477595"/>
                  <a:gd name="connsiteY23" fmla="*/ 5318909 h 6128401"/>
                  <a:gd name="connsiteX24" fmla="*/ 2705531 w 4477595"/>
                  <a:gd name="connsiteY24" fmla="*/ 5880081 h 6128401"/>
                  <a:gd name="connsiteX25" fmla="*/ 2650833 w 4477595"/>
                  <a:gd name="connsiteY25" fmla="*/ 5880971 h 6128401"/>
                  <a:gd name="connsiteX26" fmla="*/ 2641784 w 4477595"/>
                  <a:gd name="connsiteY26" fmla="*/ 5910123 h 6128401"/>
                  <a:gd name="connsiteX27" fmla="*/ 2312476 w 4477595"/>
                  <a:gd name="connsiteY27" fmla="*/ 6128401 h 6128401"/>
                  <a:gd name="connsiteX28" fmla="*/ 2165118 w 4477595"/>
                  <a:gd name="connsiteY28" fmla="*/ 6128401 h 6128401"/>
                  <a:gd name="connsiteX29" fmla="*/ 1835810 w 4477595"/>
                  <a:gd name="connsiteY29" fmla="*/ 5910123 h 6128401"/>
                  <a:gd name="connsiteX30" fmla="*/ 1826975 w 4477595"/>
                  <a:gd name="connsiteY30" fmla="*/ 5881661 h 6128401"/>
                  <a:gd name="connsiteX31" fmla="*/ 1699568 w 4477595"/>
                  <a:gd name="connsiteY31" fmla="*/ 5881345 h 6128401"/>
                  <a:gd name="connsiteX32" fmla="*/ 1252464 w 4477595"/>
                  <a:gd name="connsiteY32" fmla="*/ 5306553 h 6128401"/>
                  <a:gd name="connsiteX33" fmla="*/ 1260702 w 4477595"/>
                  <a:gd name="connsiteY33" fmla="*/ 4439941 h 6128401"/>
                  <a:gd name="connsiteX34" fmla="*/ 1247395 w 4477595"/>
                  <a:gd name="connsiteY34" fmla="*/ 4251681 h 6128401"/>
                  <a:gd name="connsiteX35" fmla="*/ 1171654 w 4477595"/>
                  <a:gd name="connsiteY35" fmla="*/ 4207383 h 6128401"/>
                  <a:gd name="connsiteX36" fmla="*/ 0 w 4477595"/>
                  <a:gd name="connsiteY36" fmla="*/ 2238797 h 6128401"/>
                  <a:gd name="connsiteX37" fmla="*/ 2238797 w 4477595"/>
                  <a:gd name="connsiteY37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4056807 w 4477595"/>
                  <a:gd name="connsiteY17" fmla="*/ 2238797 h 6128401"/>
                  <a:gd name="connsiteX18" fmla="*/ 2238798 w 4477595"/>
                  <a:gd name="connsiteY18" fmla="*/ 420786 h 6128401"/>
                  <a:gd name="connsiteX19" fmla="*/ 2238797 w 4477595"/>
                  <a:gd name="connsiteY19" fmla="*/ 0 h 6128401"/>
                  <a:gd name="connsiteX20" fmla="*/ 4477595 w 4477595"/>
                  <a:gd name="connsiteY20" fmla="*/ 2238797 h 6128401"/>
                  <a:gd name="connsiteX21" fmla="*/ 3305941 w 4477595"/>
                  <a:gd name="connsiteY21" fmla="*/ 4207383 h 6128401"/>
                  <a:gd name="connsiteX22" fmla="*/ 3243251 w 4477595"/>
                  <a:gd name="connsiteY22" fmla="*/ 4439941 h 6128401"/>
                  <a:gd name="connsiteX23" fmla="*/ 3243251 w 4477595"/>
                  <a:gd name="connsiteY23" fmla="*/ 5318909 h 6128401"/>
                  <a:gd name="connsiteX24" fmla="*/ 2705531 w 4477595"/>
                  <a:gd name="connsiteY24" fmla="*/ 5880081 h 6128401"/>
                  <a:gd name="connsiteX25" fmla="*/ 2650833 w 4477595"/>
                  <a:gd name="connsiteY25" fmla="*/ 5880971 h 6128401"/>
                  <a:gd name="connsiteX26" fmla="*/ 2641784 w 4477595"/>
                  <a:gd name="connsiteY26" fmla="*/ 5910123 h 6128401"/>
                  <a:gd name="connsiteX27" fmla="*/ 2312476 w 4477595"/>
                  <a:gd name="connsiteY27" fmla="*/ 6128401 h 6128401"/>
                  <a:gd name="connsiteX28" fmla="*/ 2165118 w 4477595"/>
                  <a:gd name="connsiteY28" fmla="*/ 6128401 h 6128401"/>
                  <a:gd name="connsiteX29" fmla="*/ 1835810 w 4477595"/>
                  <a:gd name="connsiteY29" fmla="*/ 5910123 h 6128401"/>
                  <a:gd name="connsiteX30" fmla="*/ 1826975 w 4477595"/>
                  <a:gd name="connsiteY30" fmla="*/ 5881661 h 6128401"/>
                  <a:gd name="connsiteX31" fmla="*/ 1699568 w 4477595"/>
                  <a:gd name="connsiteY31" fmla="*/ 5881345 h 6128401"/>
                  <a:gd name="connsiteX32" fmla="*/ 1252464 w 4477595"/>
                  <a:gd name="connsiteY32" fmla="*/ 5306553 h 6128401"/>
                  <a:gd name="connsiteX33" fmla="*/ 1260702 w 4477595"/>
                  <a:gd name="connsiteY33" fmla="*/ 4439941 h 6128401"/>
                  <a:gd name="connsiteX34" fmla="*/ 1247395 w 4477595"/>
                  <a:gd name="connsiteY34" fmla="*/ 4251681 h 6128401"/>
                  <a:gd name="connsiteX35" fmla="*/ 1171654 w 4477595"/>
                  <a:gd name="connsiteY35" fmla="*/ 4207383 h 6128401"/>
                  <a:gd name="connsiteX36" fmla="*/ 0 w 4477595"/>
                  <a:gd name="connsiteY36" fmla="*/ 2238797 h 6128401"/>
                  <a:gd name="connsiteX37" fmla="*/ 2238797 w 4477595"/>
                  <a:gd name="connsiteY37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539568 w 4477595"/>
                  <a:gd name="connsiteY11" fmla="*/ 4531711 h 6128401"/>
                  <a:gd name="connsiteX12" fmla="*/ 2860637 w 4477595"/>
                  <a:gd name="connsiteY12" fmla="*/ 4311091 h 6128401"/>
                  <a:gd name="connsiteX13" fmla="*/ 3109338 w 4477595"/>
                  <a:gd name="connsiteY13" fmla="*/ 3834987 h 6128401"/>
                  <a:gd name="connsiteX14" fmla="*/ 3110879 w 4477595"/>
                  <a:gd name="connsiteY14" fmla="*/ 3834037 h 6128401"/>
                  <a:gd name="connsiteX15" fmla="*/ 3181541 w 4477595"/>
                  <a:gd name="connsiteY15" fmla="*/ 3791109 h 6128401"/>
                  <a:gd name="connsiteX16" fmla="*/ 4056807 w 4477595"/>
                  <a:gd name="connsiteY16" fmla="*/ 2238797 h 6128401"/>
                  <a:gd name="connsiteX17" fmla="*/ 2238798 w 4477595"/>
                  <a:gd name="connsiteY17" fmla="*/ 420786 h 6128401"/>
                  <a:gd name="connsiteX18" fmla="*/ 2238797 w 4477595"/>
                  <a:gd name="connsiteY18" fmla="*/ 0 h 6128401"/>
                  <a:gd name="connsiteX19" fmla="*/ 4477595 w 4477595"/>
                  <a:gd name="connsiteY19" fmla="*/ 2238797 h 6128401"/>
                  <a:gd name="connsiteX20" fmla="*/ 3305941 w 4477595"/>
                  <a:gd name="connsiteY20" fmla="*/ 4207383 h 6128401"/>
                  <a:gd name="connsiteX21" fmla="*/ 3243251 w 4477595"/>
                  <a:gd name="connsiteY21" fmla="*/ 4439941 h 6128401"/>
                  <a:gd name="connsiteX22" fmla="*/ 3243251 w 4477595"/>
                  <a:gd name="connsiteY22" fmla="*/ 5318909 h 6128401"/>
                  <a:gd name="connsiteX23" fmla="*/ 2705531 w 4477595"/>
                  <a:gd name="connsiteY23" fmla="*/ 5880081 h 6128401"/>
                  <a:gd name="connsiteX24" fmla="*/ 2650833 w 4477595"/>
                  <a:gd name="connsiteY24" fmla="*/ 5880971 h 6128401"/>
                  <a:gd name="connsiteX25" fmla="*/ 2641784 w 4477595"/>
                  <a:gd name="connsiteY25" fmla="*/ 5910123 h 6128401"/>
                  <a:gd name="connsiteX26" fmla="*/ 2312476 w 4477595"/>
                  <a:gd name="connsiteY26" fmla="*/ 6128401 h 6128401"/>
                  <a:gd name="connsiteX27" fmla="*/ 2165118 w 4477595"/>
                  <a:gd name="connsiteY27" fmla="*/ 6128401 h 6128401"/>
                  <a:gd name="connsiteX28" fmla="*/ 1835810 w 4477595"/>
                  <a:gd name="connsiteY28" fmla="*/ 5910123 h 6128401"/>
                  <a:gd name="connsiteX29" fmla="*/ 1826975 w 4477595"/>
                  <a:gd name="connsiteY29" fmla="*/ 5881661 h 6128401"/>
                  <a:gd name="connsiteX30" fmla="*/ 1699568 w 4477595"/>
                  <a:gd name="connsiteY30" fmla="*/ 5881345 h 6128401"/>
                  <a:gd name="connsiteX31" fmla="*/ 1252464 w 4477595"/>
                  <a:gd name="connsiteY31" fmla="*/ 5306553 h 6128401"/>
                  <a:gd name="connsiteX32" fmla="*/ 1260702 w 4477595"/>
                  <a:gd name="connsiteY32" fmla="*/ 4439941 h 6128401"/>
                  <a:gd name="connsiteX33" fmla="*/ 1247395 w 4477595"/>
                  <a:gd name="connsiteY33" fmla="*/ 4251681 h 6128401"/>
                  <a:gd name="connsiteX34" fmla="*/ 1171654 w 4477595"/>
                  <a:gd name="connsiteY34" fmla="*/ 4207383 h 6128401"/>
                  <a:gd name="connsiteX35" fmla="*/ 0 w 4477595"/>
                  <a:gd name="connsiteY35" fmla="*/ 2238797 h 6128401"/>
                  <a:gd name="connsiteX36" fmla="*/ 2238797 w 4477595"/>
                  <a:gd name="connsiteY36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539568 w 4477595"/>
                  <a:gd name="connsiteY10" fmla="*/ 4531711 h 6128401"/>
                  <a:gd name="connsiteX11" fmla="*/ 2860637 w 4477595"/>
                  <a:gd name="connsiteY11" fmla="*/ 4311091 h 6128401"/>
                  <a:gd name="connsiteX12" fmla="*/ 3109338 w 4477595"/>
                  <a:gd name="connsiteY12" fmla="*/ 3834987 h 6128401"/>
                  <a:gd name="connsiteX13" fmla="*/ 3110879 w 4477595"/>
                  <a:gd name="connsiteY13" fmla="*/ 3834037 h 6128401"/>
                  <a:gd name="connsiteX14" fmla="*/ 3181541 w 4477595"/>
                  <a:gd name="connsiteY14" fmla="*/ 3791109 h 6128401"/>
                  <a:gd name="connsiteX15" fmla="*/ 4056807 w 4477595"/>
                  <a:gd name="connsiteY15" fmla="*/ 2238797 h 6128401"/>
                  <a:gd name="connsiteX16" fmla="*/ 2238798 w 4477595"/>
                  <a:gd name="connsiteY16" fmla="*/ 420786 h 6128401"/>
                  <a:gd name="connsiteX17" fmla="*/ 2238797 w 4477595"/>
                  <a:gd name="connsiteY17" fmla="*/ 0 h 6128401"/>
                  <a:gd name="connsiteX18" fmla="*/ 4477595 w 4477595"/>
                  <a:gd name="connsiteY18" fmla="*/ 2238797 h 6128401"/>
                  <a:gd name="connsiteX19" fmla="*/ 3305941 w 4477595"/>
                  <a:gd name="connsiteY19" fmla="*/ 4207383 h 6128401"/>
                  <a:gd name="connsiteX20" fmla="*/ 3243251 w 4477595"/>
                  <a:gd name="connsiteY20" fmla="*/ 4439941 h 6128401"/>
                  <a:gd name="connsiteX21" fmla="*/ 3243251 w 4477595"/>
                  <a:gd name="connsiteY21" fmla="*/ 5318909 h 6128401"/>
                  <a:gd name="connsiteX22" fmla="*/ 2705531 w 4477595"/>
                  <a:gd name="connsiteY22" fmla="*/ 5880081 h 6128401"/>
                  <a:gd name="connsiteX23" fmla="*/ 2650833 w 4477595"/>
                  <a:gd name="connsiteY23" fmla="*/ 5880971 h 6128401"/>
                  <a:gd name="connsiteX24" fmla="*/ 2641784 w 4477595"/>
                  <a:gd name="connsiteY24" fmla="*/ 5910123 h 6128401"/>
                  <a:gd name="connsiteX25" fmla="*/ 2312476 w 4477595"/>
                  <a:gd name="connsiteY25" fmla="*/ 6128401 h 6128401"/>
                  <a:gd name="connsiteX26" fmla="*/ 2165118 w 4477595"/>
                  <a:gd name="connsiteY26" fmla="*/ 6128401 h 6128401"/>
                  <a:gd name="connsiteX27" fmla="*/ 1835810 w 4477595"/>
                  <a:gd name="connsiteY27" fmla="*/ 5910123 h 6128401"/>
                  <a:gd name="connsiteX28" fmla="*/ 1826975 w 4477595"/>
                  <a:gd name="connsiteY28" fmla="*/ 5881661 h 6128401"/>
                  <a:gd name="connsiteX29" fmla="*/ 1699568 w 4477595"/>
                  <a:gd name="connsiteY29" fmla="*/ 5881345 h 6128401"/>
                  <a:gd name="connsiteX30" fmla="*/ 1252464 w 4477595"/>
                  <a:gd name="connsiteY30" fmla="*/ 5306553 h 6128401"/>
                  <a:gd name="connsiteX31" fmla="*/ 1260702 w 4477595"/>
                  <a:gd name="connsiteY31" fmla="*/ 4439941 h 6128401"/>
                  <a:gd name="connsiteX32" fmla="*/ 1247395 w 4477595"/>
                  <a:gd name="connsiteY32" fmla="*/ 4251681 h 6128401"/>
                  <a:gd name="connsiteX33" fmla="*/ 1171654 w 4477595"/>
                  <a:gd name="connsiteY33" fmla="*/ 4207383 h 6128401"/>
                  <a:gd name="connsiteX34" fmla="*/ 0 w 4477595"/>
                  <a:gd name="connsiteY34" fmla="*/ 2238797 h 6128401"/>
                  <a:gd name="connsiteX35" fmla="*/ 2238797 w 4477595"/>
                  <a:gd name="connsiteY35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539568 w 4477595"/>
                  <a:gd name="connsiteY9" fmla="*/ 4531711 h 6128401"/>
                  <a:gd name="connsiteX10" fmla="*/ 2860637 w 4477595"/>
                  <a:gd name="connsiteY10" fmla="*/ 4311091 h 6128401"/>
                  <a:gd name="connsiteX11" fmla="*/ 3109338 w 4477595"/>
                  <a:gd name="connsiteY11" fmla="*/ 3834987 h 6128401"/>
                  <a:gd name="connsiteX12" fmla="*/ 3110879 w 4477595"/>
                  <a:gd name="connsiteY12" fmla="*/ 3834037 h 6128401"/>
                  <a:gd name="connsiteX13" fmla="*/ 3181541 w 4477595"/>
                  <a:gd name="connsiteY13" fmla="*/ 3791109 h 6128401"/>
                  <a:gd name="connsiteX14" fmla="*/ 4056807 w 4477595"/>
                  <a:gd name="connsiteY14" fmla="*/ 2238797 h 6128401"/>
                  <a:gd name="connsiteX15" fmla="*/ 2238798 w 4477595"/>
                  <a:gd name="connsiteY15" fmla="*/ 420786 h 6128401"/>
                  <a:gd name="connsiteX16" fmla="*/ 2238797 w 4477595"/>
                  <a:gd name="connsiteY16" fmla="*/ 0 h 6128401"/>
                  <a:gd name="connsiteX17" fmla="*/ 4477595 w 4477595"/>
                  <a:gd name="connsiteY17" fmla="*/ 2238797 h 6128401"/>
                  <a:gd name="connsiteX18" fmla="*/ 3305941 w 4477595"/>
                  <a:gd name="connsiteY18" fmla="*/ 4207383 h 6128401"/>
                  <a:gd name="connsiteX19" fmla="*/ 3243251 w 4477595"/>
                  <a:gd name="connsiteY19" fmla="*/ 4439941 h 6128401"/>
                  <a:gd name="connsiteX20" fmla="*/ 3243251 w 4477595"/>
                  <a:gd name="connsiteY20" fmla="*/ 5318909 h 6128401"/>
                  <a:gd name="connsiteX21" fmla="*/ 2705531 w 4477595"/>
                  <a:gd name="connsiteY21" fmla="*/ 5880081 h 6128401"/>
                  <a:gd name="connsiteX22" fmla="*/ 2650833 w 4477595"/>
                  <a:gd name="connsiteY22" fmla="*/ 5880971 h 6128401"/>
                  <a:gd name="connsiteX23" fmla="*/ 2641784 w 4477595"/>
                  <a:gd name="connsiteY23" fmla="*/ 5910123 h 6128401"/>
                  <a:gd name="connsiteX24" fmla="*/ 2312476 w 4477595"/>
                  <a:gd name="connsiteY24" fmla="*/ 6128401 h 6128401"/>
                  <a:gd name="connsiteX25" fmla="*/ 2165118 w 4477595"/>
                  <a:gd name="connsiteY25" fmla="*/ 6128401 h 6128401"/>
                  <a:gd name="connsiteX26" fmla="*/ 1835810 w 4477595"/>
                  <a:gd name="connsiteY26" fmla="*/ 5910123 h 6128401"/>
                  <a:gd name="connsiteX27" fmla="*/ 1826975 w 4477595"/>
                  <a:gd name="connsiteY27" fmla="*/ 5881661 h 6128401"/>
                  <a:gd name="connsiteX28" fmla="*/ 1699568 w 4477595"/>
                  <a:gd name="connsiteY28" fmla="*/ 5881345 h 6128401"/>
                  <a:gd name="connsiteX29" fmla="*/ 1252464 w 4477595"/>
                  <a:gd name="connsiteY29" fmla="*/ 5306553 h 6128401"/>
                  <a:gd name="connsiteX30" fmla="*/ 1260702 w 4477595"/>
                  <a:gd name="connsiteY30" fmla="*/ 4439941 h 6128401"/>
                  <a:gd name="connsiteX31" fmla="*/ 1247395 w 4477595"/>
                  <a:gd name="connsiteY31" fmla="*/ 4251681 h 6128401"/>
                  <a:gd name="connsiteX32" fmla="*/ 1171654 w 4477595"/>
                  <a:gd name="connsiteY32" fmla="*/ 4207383 h 6128401"/>
                  <a:gd name="connsiteX33" fmla="*/ 0 w 4477595"/>
                  <a:gd name="connsiteY33" fmla="*/ 2238797 h 6128401"/>
                  <a:gd name="connsiteX34" fmla="*/ 2238797 w 4477595"/>
                  <a:gd name="connsiteY34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539568 w 4477595"/>
                  <a:gd name="connsiteY8" fmla="*/ 4531711 h 6128401"/>
                  <a:gd name="connsiteX9" fmla="*/ 2860637 w 4477595"/>
                  <a:gd name="connsiteY9" fmla="*/ 4311091 h 6128401"/>
                  <a:gd name="connsiteX10" fmla="*/ 3109338 w 4477595"/>
                  <a:gd name="connsiteY10" fmla="*/ 3834987 h 6128401"/>
                  <a:gd name="connsiteX11" fmla="*/ 3110879 w 4477595"/>
                  <a:gd name="connsiteY11" fmla="*/ 3834037 h 6128401"/>
                  <a:gd name="connsiteX12" fmla="*/ 3181541 w 4477595"/>
                  <a:gd name="connsiteY12" fmla="*/ 3791109 h 6128401"/>
                  <a:gd name="connsiteX13" fmla="*/ 4056807 w 4477595"/>
                  <a:gd name="connsiteY13" fmla="*/ 2238797 h 6128401"/>
                  <a:gd name="connsiteX14" fmla="*/ 2238798 w 4477595"/>
                  <a:gd name="connsiteY14" fmla="*/ 420786 h 6128401"/>
                  <a:gd name="connsiteX15" fmla="*/ 2238797 w 4477595"/>
                  <a:gd name="connsiteY15" fmla="*/ 0 h 6128401"/>
                  <a:gd name="connsiteX16" fmla="*/ 4477595 w 4477595"/>
                  <a:gd name="connsiteY16" fmla="*/ 2238797 h 6128401"/>
                  <a:gd name="connsiteX17" fmla="*/ 3305941 w 4477595"/>
                  <a:gd name="connsiteY17" fmla="*/ 4207383 h 6128401"/>
                  <a:gd name="connsiteX18" fmla="*/ 3243251 w 4477595"/>
                  <a:gd name="connsiteY18" fmla="*/ 4439941 h 6128401"/>
                  <a:gd name="connsiteX19" fmla="*/ 3243251 w 4477595"/>
                  <a:gd name="connsiteY19" fmla="*/ 5318909 h 6128401"/>
                  <a:gd name="connsiteX20" fmla="*/ 2705531 w 4477595"/>
                  <a:gd name="connsiteY20" fmla="*/ 5880081 h 6128401"/>
                  <a:gd name="connsiteX21" fmla="*/ 2650833 w 4477595"/>
                  <a:gd name="connsiteY21" fmla="*/ 5880971 h 6128401"/>
                  <a:gd name="connsiteX22" fmla="*/ 2641784 w 4477595"/>
                  <a:gd name="connsiteY22" fmla="*/ 5910123 h 6128401"/>
                  <a:gd name="connsiteX23" fmla="*/ 2312476 w 4477595"/>
                  <a:gd name="connsiteY23" fmla="*/ 6128401 h 6128401"/>
                  <a:gd name="connsiteX24" fmla="*/ 2165118 w 4477595"/>
                  <a:gd name="connsiteY24" fmla="*/ 6128401 h 6128401"/>
                  <a:gd name="connsiteX25" fmla="*/ 1835810 w 4477595"/>
                  <a:gd name="connsiteY25" fmla="*/ 5910123 h 6128401"/>
                  <a:gd name="connsiteX26" fmla="*/ 1826975 w 4477595"/>
                  <a:gd name="connsiteY26" fmla="*/ 5881661 h 6128401"/>
                  <a:gd name="connsiteX27" fmla="*/ 1699568 w 4477595"/>
                  <a:gd name="connsiteY27" fmla="*/ 5881345 h 6128401"/>
                  <a:gd name="connsiteX28" fmla="*/ 1252464 w 4477595"/>
                  <a:gd name="connsiteY28" fmla="*/ 5306553 h 6128401"/>
                  <a:gd name="connsiteX29" fmla="*/ 1260702 w 4477595"/>
                  <a:gd name="connsiteY29" fmla="*/ 4439941 h 6128401"/>
                  <a:gd name="connsiteX30" fmla="*/ 1247395 w 4477595"/>
                  <a:gd name="connsiteY30" fmla="*/ 4251681 h 6128401"/>
                  <a:gd name="connsiteX31" fmla="*/ 1171654 w 4477595"/>
                  <a:gd name="connsiteY31" fmla="*/ 4207383 h 6128401"/>
                  <a:gd name="connsiteX32" fmla="*/ 0 w 4477595"/>
                  <a:gd name="connsiteY32" fmla="*/ 2238797 h 6128401"/>
                  <a:gd name="connsiteX33" fmla="*/ 2238797 w 4477595"/>
                  <a:gd name="connsiteY33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539568 w 4477595"/>
                  <a:gd name="connsiteY7" fmla="*/ 4531711 h 6128401"/>
                  <a:gd name="connsiteX8" fmla="*/ 2860637 w 4477595"/>
                  <a:gd name="connsiteY8" fmla="*/ 4311091 h 6128401"/>
                  <a:gd name="connsiteX9" fmla="*/ 3109338 w 4477595"/>
                  <a:gd name="connsiteY9" fmla="*/ 3834987 h 6128401"/>
                  <a:gd name="connsiteX10" fmla="*/ 3110879 w 4477595"/>
                  <a:gd name="connsiteY10" fmla="*/ 3834037 h 6128401"/>
                  <a:gd name="connsiteX11" fmla="*/ 3181541 w 4477595"/>
                  <a:gd name="connsiteY11" fmla="*/ 3791109 h 6128401"/>
                  <a:gd name="connsiteX12" fmla="*/ 4056807 w 4477595"/>
                  <a:gd name="connsiteY12" fmla="*/ 2238797 h 6128401"/>
                  <a:gd name="connsiteX13" fmla="*/ 2238798 w 4477595"/>
                  <a:gd name="connsiteY13" fmla="*/ 420786 h 6128401"/>
                  <a:gd name="connsiteX14" fmla="*/ 2238797 w 4477595"/>
                  <a:gd name="connsiteY14" fmla="*/ 0 h 6128401"/>
                  <a:gd name="connsiteX15" fmla="*/ 4477595 w 4477595"/>
                  <a:gd name="connsiteY15" fmla="*/ 2238797 h 6128401"/>
                  <a:gd name="connsiteX16" fmla="*/ 3305941 w 4477595"/>
                  <a:gd name="connsiteY16" fmla="*/ 4207383 h 6128401"/>
                  <a:gd name="connsiteX17" fmla="*/ 3243251 w 4477595"/>
                  <a:gd name="connsiteY17" fmla="*/ 4439941 h 6128401"/>
                  <a:gd name="connsiteX18" fmla="*/ 3243251 w 4477595"/>
                  <a:gd name="connsiteY18" fmla="*/ 5318909 h 6128401"/>
                  <a:gd name="connsiteX19" fmla="*/ 2705531 w 4477595"/>
                  <a:gd name="connsiteY19" fmla="*/ 5880081 h 6128401"/>
                  <a:gd name="connsiteX20" fmla="*/ 2650833 w 4477595"/>
                  <a:gd name="connsiteY20" fmla="*/ 5880971 h 6128401"/>
                  <a:gd name="connsiteX21" fmla="*/ 2641784 w 4477595"/>
                  <a:gd name="connsiteY21" fmla="*/ 5910123 h 6128401"/>
                  <a:gd name="connsiteX22" fmla="*/ 2312476 w 4477595"/>
                  <a:gd name="connsiteY22" fmla="*/ 6128401 h 6128401"/>
                  <a:gd name="connsiteX23" fmla="*/ 2165118 w 4477595"/>
                  <a:gd name="connsiteY23" fmla="*/ 6128401 h 6128401"/>
                  <a:gd name="connsiteX24" fmla="*/ 1835810 w 4477595"/>
                  <a:gd name="connsiteY24" fmla="*/ 5910123 h 6128401"/>
                  <a:gd name="connsiteX25" fmla="*/ 1826975 w 4477595"/>
                  <a:gd name="connsiteY25" fmla="*/ 5881661 h 6128401"/>
                  <a:gd name="connsiteX26" fmla="*/ 1699568 w 4477595"/>
                  <a:gd name="connsiteY26" fmla="*/ 5881345 h 6128401"/>
                  <a:gd name="connsiteX27" fmla="*/ 1252464 w 4477595"/>
                  <a:gd name="connsiteY27" fmla="*/ 5306553 h 6128401"/>
                  <a:gd name="connsiteX28" fmla="*/ 1260702 w 4477595"/>
                  <a:gd name="connsiteY28" fmla="*/ 4439941 h 6128401"/>
                  <a:gd name="connsiteX29" fmla="*/ 1247395 w 4477595"/>
                  <a:gd name="connsiteY29" fmla="*/ 4251681 h 6128401"/>
                  <a:gd name="connsiteX30" fmla="*/ 1171654 w 4477595"/>
                  <a:gd name="connsiteY30" fmla="*/ 4207383 h 6128401"/>
                  <a:gd name="connsiteX31" fmla="*/ 0 w 4477595"/>
                  <a:gd name="connsiteY31" fmla="*/ 2238797 h 6128401"/>
                  <a:gd name="connsiteX32" fmla="*/ 2238797 w 4477595"/>
                  <a:gd name="connsiteY32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539568 w 4477595"/>
                  <a:gd name="connsiteY6" fmla="*/ 4531711 h 6128401"/>
                  <a:gd name="connsiteX7" fmla="*/ 2860637 w 4477595"/>
                  <a:gd name="connsiteY7" fmla="*/ 4311091 h 6128401"/>
                  <a:gd name="connsiteX8" fmla="*/ 3109338 w 4477595"/>
                  <a:gd name="connsiteY8" fmla="*/ 3834987 h 6128401"/>
                  <a:gd name="connsiteX9" fmla="*/ 3110879 w 4477595"/>
                  <a:gd name="connsiteY9" fmla="*/ 3834037 h 6128401"/>
                  <a:gd name="connsiteX10" fmla="*/ 3181541 w 4477595"/>
                  <a:gd name="connsiteY10" fmla="*/ 3791109 h 6128401"/>
                  <a:gd name="connsiteX11" fmla="*/ 4056807 w 4477595"/>
                  <a:gd name="connsiteY11" fmla="*/ 2238797 h 6128401"/>
                  <a:gd name="connsiteX12" fmla="*/ 2238798 w 4477595"/>
                  <a:gd name="connsiteY12" fmla="*/ 420786 h 6128401"/>
                  <a:gd name="connsiteX13" fmla="*/ 2238797 w 4477595"/>
                  <a:gd name="connsiteY13" fmla="*/ 0 h 6128401"/>
                  <a:gd name="connsiteX14" fmla="*/ 4477595 w 4477595"/>
                  <a:gd name="connsiteY14" fmla="*/ 2238797 h 6128401"/>
                  <a:gd name="connsiteX15" fmla="*/ 3305941 w 4477595"/>
                  <a:gd name="connsiteY15" fmla="*/ 4207383 h 6128401"/>
                  <a:gd name="connsiteX16" fmla="*/ 3243251 w 4477595"/>
                  <a:gd name="connsiteY16" fmla="*/ 4439941 h 6128401"/>
                  <a:gd name="connsiteX17" fmla="*/ 3243251 w 4477595"/>
                  <a:gd name="connsiteY17" fmla="*/ 5318909 h 6128401"/>
                  <a:gd name="connsiteX18" fmla="*/ 2705531 w 4477595"/>
                  <a:gd name="connsiteY18" fmla="*/ 5880081 h 6128401"/>
                  <a:gd name="connsiteX19" fmla="*/ 2650833 w 4477595"/>
                  <a:gd name="connsiteY19" fmla="*/ 5880971 h 6128401"/>
                  <a:gd name="connsiteX20" fmla="*/ 2641784 w 4477595"/>
                  <a:gd name="connsiteY20" fmla="*/ 5910123 h 6128401"/>
                  <a:gd name="connsiteX21" fmla="*/ 2312476 w 4477595"/>
                  <a:gd name="connsiteY21" fmla="*/ 6128401 h 6128401"/>
                  <a:gd name="connsiteX22" fmla="*/ 2165118 w 4477595"/>
                  <a:gd name="connsiteY22" fmla="*/ 6128401 h 6128401"/>
                  <a:gd name="connsiteX23" fmla="*/ 1835810 w 4477595"/>
                  <a:gd name="connsiteY23" fmla="*/ 5910123 h 6128401"/>
                  <a:gd name="connsiteX24" fmla="*/ 1826975 w 4477595"/>
                  <a:gd name="connsiteY24" fmla="*/ 5881661 h 6128401"/>
                  <a:gd name="connsiteX25" fmla="*/ 1699568 w 4477595"/>
                  <a:gd name="connsiteY25" fmla="*/ 5881345 h 6128401"/>
                  <a:gd name="connsiteX26" fmla="*/ 1252464 w 4477595"/>
                  <a:gd name="connsiteY26" fmla="*/ 5306553 h 6128401"/>
                  <a:gd name="connsiteX27" fmla="*/ 1260702 w 4477595"/>
                  <a:gd name="connsiteY27" fmla="*/ 4439941 h 6128401"/>
                  <a:gd name="connsiteX28" fmla="*/ 1247395 w 4477595"/>
                  <a:gd name="connsiteY28" fmla="*/ 4251681 h 6128401"/>
                  <a:gd name="connsiteX29" fmla="*/ 1171654 w 4477595"/>
                  <a:gd name="connsiteY29" fmla="*/ 4207383 h 6128401"/>
                  <a:gd name="connsiteX30" fmla="*/ 0 w 4477595"/>
                  <a:gd name="connsiteY30" fmla="*/ 2238797 h 6128401"/>
                  <a:gd name="connsiteX31" fmla="*/ 2238797 w 4477595"/>
                  <a:gd name="connsiteY31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539568 w 4477595"/>
                  <a:gd name="connsiteY5" fmla="*/ 4531711 h 6128401"/>
                  <a:gd name="connsiteX6" fmla="*/ 2860637 w 4477595"/>
                  <a:gd name="connsiteY6" fmla="*/ 4311091 h 6128401"/>
                  <a:gd name="connsiteX7" fmla="*/ 3109338 w 4477595"/>
                  <a:gd name="connsiteY7" fmla="*/ 3834987 h 6128401"/>
                  <a:gd name="connsiteX8" fmla="*/ 3110879 w 4477595"/>
                  <a:gd name="connsiteY8" fmla="*/ 3834037 h 6128401"/>
                  <a:gd name="connsiteX9" fmla="*/ 3181541 w 4477595"/>
                  <a:gd name="connsiteY9" fmla="*/ 3791109 h 6128401"/>
                  <a:gd name="connsiteX10" fmla="*/ 4056807 w 4477595"/>
                  <a:gd name="connsiteY10" fmla="*/ 2238797 h 6128401"/>
                  <a:gd name="connsiteX11" fmla="*/ 2238798 w 4477595"/>
                  <a:gd name="connsiteY11" fmla="*/ 420786 h 6128401"/>
                  <a:gd name="connsiteX12" fmla="*/ 2238797 w 4477595"/>
                  <a:gd name="connsiteY12" fmla="*/ 0 h 6128401"/>
                  <a:gd name="connsiteX13" fmla="*/ 4477595 w 4477595"/>
                  <a:gd name="connsiteY13" fmla="*/ 2238797 h 6128401"/>
                  <a:gd name="connsiteX14" fmla="*/ 3305941 w 4477595"/>
                  <a:gd name="connsiteY14" fmla="*/ 4207383 h 6128401"/>
                  <a:gd name="connsiteX15" fmla="*/ 3243251 w 4477595"/>
                  <a:gd name="connsiteY15" fmla="*/ 4439941 h 6128401"/>
                  <a:gd name="connsiteX16" fmla="*/ 3243251 w 4477595"/>
                  <a:gd name="connsiteY16" fmla="*/ 5318909 h 6128401"/>
                  <a:gd name="connsiteX17" fmla="*/ 2705531 w 4477595"/>
                  <a:gd name="connsiteY17" fmla="*/ 5880081 h 6128401"/>
                  <a:gd name="connsiteX18" fmla="*/ 2650833 w 4477595"/>
                  <a:gd name="connsiteY18" fmla="*/ 5880971 h 6128401"/>
                  <a:gd name="connsiteX19" fmla="*/ 2641784 w 4477595"/>
                  <a:gd name="connsiteY19" fmla="*/ 5910123 h 6128401"/>
                  <a:gd name="connsiteX20" fmla="*/ 2312476 w 4477595"/>
                  <a:gd name="connsiteY20" fmla="*/ 6128401 h 6128401"/>
                  <a:gd name="connsiteX21" fmla="*/ 2165118 w 4477595"/>
                  <a:gd name="connsiteY21" fmla="*/ 6128401 h 6128401"/>
                  <a:gd name="connsiteX22" fmla="*/ 1835810 w 4477595"/>
                  <a:gd name="connsiteY22" fmla="*/ 5910123 h 6128401"/>
                  <a:gd name="connsiteX23" fmla="*/ 1826975 w 4477595"/>
                  <a:gd name="connsiteY23" fmla="*/ 5881661 h 6128401"/>
                  <a:gd name="connsiteX24" fmla="*/ 1699568 w 4477595"/>
                  <a:gd name="connsiteY24" fmla="*/ 5881345 h 6128401"/>
                  <a:gd name="connsiteX25" fmla="*/ 1252464 w 4477595"/>
                  <a:gd name="connsiteY25" fmla="*/ 5306553 h 6128401"/>
                  <a:gd name="connsiteX26" fmla="*/ 1260702 w 4477595"/>
                  <a:gd name="connsiteY26" fmla="*/ 4439941 h 6128401"/>
                  <a:gd name="connsiteX27" fmla="*/ 1247395 w 4477595"/>
                  <a:gd name="connsiteY27" fmla="*/ 4251681 h 6128401"/>
                  <a:gd name="connsiteX28" fmla="*/ 1171654 w 4477595"/>
                  <a:gd name="connsiteY28" fmla="*/ 4207383 h 6128401"/>
                  <a:gd name="connsiteX29" fmla="*/ 0 w 4477595"/>
                  <a:gd name="connsiteY29" fmla="*/ 2238797 h 6128401"/>
                  <a:gd name="connsiteX30" fmla="*/ 2238797 w 4477595"/>
                  <a:gd name="connsiteY30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539568 w 4477595"/>
                  <a:gd name="connsiteY5" fmla="*/ 4531711 h 6128401"/>
                  <a:gd name="connsiteX6" fmla="*/ 2860637 w 4477595"/>
                  <a:gd name="connsiteY6" fmla="*/ 4311091 h 6128401"/>
                  <a:gd name="connsiteX7" fmla="*/ 3109338 w 4477595"/>
                  <a:gd name="connsiteY7" fmla="*/ 3834987 h 6128401"/>
                  <a:gd name="connsiteX8" fmla="*/ 3110879 w 4477595"/>
                  <a:gd name="connsiteY8" fmla="*/ 3834037 h 6128401"/>
                  <a:gd name="connsiteX9" fmla="*/ 3181541 w 4477595"/>
                  <a:gd name="connsiteY9" fmla="*/ 3791109 h 6128401"/>
                  <a:gd name="connsiteX10" fmla="*/ 4056807 w 4477595"/>
                  <a:gd name="connsiteY10" fmla="*/ 2238797 h 6128401"/>
                  <a:gd name="connsiteX11" fmla="*/ 2238798 w 4477595"/>
                  <a:gd name="connsiteY11" fmla="*/ 420786 h 6128401"/>
                  <a:gd name="connsiteX12" fmla="*/ 2238797 w 4477595"/>
                  <a:gd name="connsiteY12" fmla="*/ 0 h 6128401"/>
                  <a:gd name="connsiteX13" fmla="*/ 4477595 w 4477595"/>
                  <a:gd name="connsiteY13" fmla="*/ 2238797 h 6128401"/>
                  <a:gd name="connsiteX14" fmla="*/ 3305941 w 4477595"/>
                  <a:gd name="connsiteY14" fmla="*/ 4207383 h 6128401"/>
                  <a:gd name="connsiteX15" fmla="*/ 3243251 w 4477595"/>
                  <a:gd name="connsiteY15" fmla="*/ 4439941 h 6128401"/>
                  <a:gd name="connsiteX16" fmla="*/ 3243251 w 4477595"/>
                  <a:gd name="connsiteY16" fmla="*/ 5318909 h 6128401"/>
                  <a:gd name="connsiteX17" fmla="*/ 2705531 w 4477595"/>
                  <a:gd name="connsiteY17" fmla="*/ 5880081 h 6128401"/>
                  <a:gd name="connsiteX18" fmla="*/ 2650833 w 4477595"/>
                  <a:gd name="connsiteY18" fmla="*/ 5880971 h 6128401"/>
                  <a:gd name="connsiteX19" fmla="*/ 2641784 w 4477595"/>
                  <a:gd name="connsiteY19" fmla="*/ 5910123 h 6128401"/>
                  <a:gd name="connsiteX20" fmla="*/ 2312476 w 4477595"/>
                  <a:gd name="connsiteY20" fmla="*/ 6128401 h 6128401"/>
                  <a:gd name="connsiteX21" fmla="*/ 2165118 w 4477595"/>
                  <a:gd name="connsiteY21" fmla="*/ 6128401 h 6128401"/>
                  <a:gd name="connsiteX22" fmla="*/ 1835810 w 4477595"/>
                  <a:gd name="connsiteY22" fmla="*/ 5910123 h 6128401"/>
                  <a:gd name="connsiteX23" fmla="*/ 1826975 w 4477595"/>
                  <a:gd name="connsiteY23" fmla="*/ 5881661 h 6128401"/>
                  <a:gd name="connsiteX24" fmla="*/ 1699568 w 4477595"/>
                  <a:gd name="connsiteY24" fmla="*/ 5881345 h 6128401"/>
                  <a:gd name="connsiteX25" fmla="*/ 1252464 w 4477595"/>
                  <a:gd name="connsiteY25" fmla="*/ 5306553 h 6128401"/>
                  <a:gd name="connsiteX26" fmla="*/ 1260702 w 4477595"/>
                  <a:gd name="connsiteY26" fmla="*/ 4439941 h 6128401"/>
                  <a:gd name="connsiteX27" fmla="*/ 1247395 w 4477595"/>
                  <a:gd name="connsiteY27" fmla="*/ 4251681 h 6128401"/>
                  <a:gd name="connsiteX28" fmla="*/ 1171654 w 4477595"/>
                  <a:gd name="connsiteY28" fmla="*/ 4207383 h 6128401"/>
                  <a:gd name="connsiteX29" fmla="*/ 0 w 4477595"/>
                  <a:gd name="connsiteY29" fmla="*/ 2238797 h 6128401"/>
                  <a:gd name="connsiteX30" fmla="*/ 2238797 w 4477595"/>
                  <a:gd name="connsiteY30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27594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539568 w 4477595"/>
                  <a:gd name="connsiteY5" fmla="*/ 4531711 h 6128401"/>
                  <a:gd name="connsiteX6" fmla="*/ 2860637 w 4477595"/>
                  <a:gd name="connsiteY6" fmla="*/ 4311091 h 6128401"/>
                  <a:gd name="connsiteX7" fmla="*/ 3109338 w 4477595"/>
                  <a:gd name="connsiteY7" fmla="*/ 3834987 h 6128401"/>
                  <a:gd name="connsiteX8" fmla="*/ 3110879 w 4477595"/>
                  <a:gd name="connsiteY8" fmla="*/ 3834037 h 6128401"/>
                  <a:gd name="connsiteX9" fmla="*/ 3181541 w 4477595"/>
                  <a:gd name="connsiteY9" fmla="*/ 3791109 h 6128401"/>
                  <a:gd name="connsiteX10" fmla="*/ 4056807 w 4477595"/>
                  <a:gd name="connsiteY10" fmla="*/ 2238797 h 6128401"/>
                  <a:gd name="connsiteX11" fmla="*/ 2238798 w 4477595"/>
                  <a:gd name="connsiteY11" fmla="*/ 420786 h 6128401"/>
                  <a:gd name="connsiteX12" fmla="*/ 2238797 w 4477595"/>
                  <a:gd name="connsiteY12" fmla="*/ 0 h 6128401"/>
                  <a:gd name="connsiteX13" fmla="*/ 4477595 w 4477595"/>
                  <a:gd name="connsiteY13" fmla="*/ 2238797 h 6128401"/>
                  <a:gd name="connsiteX14" fmla="*/ 3305941 w 4477595"/>
                  <a:gd name="connsiteY14" fmla="*/ 4207383 h 6128401"/>
                  <a:gd name="connsiteX15" fmla="*/ 3243251 w 4477595"/>
                  <a:gd name="connsiteY15" fmla="*/ 4439941 h 6128401"/>
                  <a:gd name="connsiteX16" fmla="*/ 3243251 w 4477595"/>
                  <a:gd name="connsiteY16" fmla="*/ 5318909 h 6128401"/>
                  <a:gd name="connsiteX17" fmla="*/ 2705531 w 4477595"/>
                  <a:gd name="connsiteY17" fmla="*/ 5880081 h 6128401"/>
                  <a:gd name="connsiteX18" fmla="*/ 2650833 w 4477595"/>
                  <a:gd name="connsiteY18" fmla="*/ 5880971 h 6128401"/>
                  <a:gd name="connsiteX19" fmla="*/ 2641784 w 4477595"/>
                  <a:gd name="connsiteY19" fmla="*/ 5910123 h 6128401"/>
                  <a:gd name="connsiteX20" fmla="*/ 2312476 w 4477595"/>
                  <a:gd name="connsiteY20" fmla="*/ 6128401 h 6128401"/>
                  <a:gd name="connsiteX21" fmla="*/ 2165118 w 4477595"/>
                  <a:gd name="connsiteY21" fmla="*/ 6128401 h 6128401"/>
                  <a:gd name="connsiteX22" fmla="*/ 1835810 w 4477595"/>
                  <a:gd name="connsiteY22" fmla="*/ 5910123 h 6128401"/>
                  <a:gd name="connsiteX23" fmla="*/ 1826975 w 4477595"/>
                  <a:gd name="connsiteY23" fmla="*/ 5881661 h 6128401"/>
                  <a:gd name="connsiteX24" fmla="*/ 1699568 w 4477595"/>
                  <a:gd name="connsiteY24" fmla="*/ 5881345 h 6128401"/>
                  <a:gd name="connsiteX25" fmla="*/ 1252464 w 4477595"/>
                  <a:gd name="connsiteY25" fmla="*/ 5306553 h 6128401"/>
                  <a:gd name="connsiteX26" fmla="*/ 1260702 w 4477595"/>
                  <a:gd name="connsiteY26" fmla="*/ 4439941 h 6128401"/>
                  <a:gd name="connsiteX27" fmla="*/ 1247395 w 4477595"/>
                  <a:gd name="connsiteY27" fmla="*/ 4251681 h 6128401"/>
                  <a:gd name="connsiteX28" fmla="*/ 1171654 w 4477595"/>
                  <a:gd name="connsiteY28" fmla="*/ 4207383 h 6128401"/>
                  <a:gd name="connsiteX29" fmla="*/ 0 w 4477595"/>
                  <a:gd name="connsiteY29" fmla="*/ 2238797 h 6128401"/>
                  <a:gd name="connsiteX30" fmla="*/ 2238797 w 4477595"/>
                  <a:gd name="connsiteY30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27594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539568 w 4477595"/>
                  <a:gd name="connsiteY5" fmla="*/ 4531711 h 6128401"/>
                  <a:gd name="connsiteX6" fmla="*/ 2860637 w 4477595"/>
                  <a:gd name="connsiteY6" fmla="*/ 4311091 h 6128401"/>
                  <a:gd name="connsiteX7" fmla="*/ 3109338 w 4477595"/>
                  <a:gd name="connsiteY7" fmla="*/ 3834987 h 6128401"/>
                  <a:gd name="connsiteX8" fmla="*/ 3110879 w 4477595"/>
                  <a:gd name="connsiteY8" fmla="*/ 3834037 h 6128401"/>
                  <a:gd name="connsiteX9" fmla="*/ 3181541 w 4477595"/>
                  <a:gd name="connsiteY9" fmla="*/ 3791109 h 6128401"/>
                  <a:gd name="connsiteX10" fmla="*/ 4056807 w 4477595"/>
                  <a:gd name="connsiteY10" fmla="*/ 2238797 h 6128401"/>
                  <a:gd name="connsiteX11" fmla="*/ 2238798 w 4477595"/>
                  <a:gd name="connsiteY11" fmla="*/ 420786 h 6128401"/>
                  <a:gd name="connsiteX12" fmla="*/ 2238797 w 4477595"/>
                  <a:gd name="connsiteY12" fmla="*/ 0 h 6128401"/>
                  <a:gd name="connsiteX13" fmla="*/ 4477595 w 4477595"/>
                  <a:gd name="connsiteY13" fmla="*/ 2238797 h 6128401"/>
                  <a:gd name="connsiteX14" fmla="*/ 3305941 w 4477595"/>
                  <a:gd name="connsiteY14" fmla="*/ 4207383 h 6128401"/>
                  <a:gd name="connsiteX15" fmla="*/ 3243251 w 4477595"/>
                  <a:gd name="connsiteY15" fmla="*/ 4439941 h 6128401"/>
                  <a:gd name="connsiteX16" fmla="*/ 3243251 w 4477595"/>
                  <a:gd name="connsiteY16" fmla="*/ 5318909 h 6128401"/>
                  <a:gd name="connsiteX17" fmla="*/ 2705531 w 4477595"/>
                  <a:gd name="connsiteY17" fmla="*/ 5880081 h 6128401"/>
                  <a:gd name="connsiteX18" fmla="*/ 2650833 w 4477595"/>
                  <a:gd name="connsiteY18" fmla="*/ 5880971 h 6128401"/>
                  <a:gd name="connsiteX19" fmla="*/ 2641784 w 4477595"/>
                  <a:gd name="connsiteY19" fmla="*/ 5910123 h 6128401"/>
                  <a:gd name="connsiteX20" fmla="*/ 2312476 w 4477595"/>
                  <a:gd name="connsiteY20" fmla="*/ 6128401 h 6128401"/>
                  <a:gd name="connsiteX21" fmla="*/ 2165118 w 4477595"/>
                  <a:gd name="connsiteY21" fmla="*/ 6128401 h 6128401"/>
                  <a:gd name="connsiteX22" fmla="*/ 1835810 w 4477595"/>
                  <a:gd name="connsiteY22" fmla="*/ 5910123 h 6128401"/>
                  <a:gd name="connsiteX23" fmla="*/ 1826975 w 4477595"/>
                  <a:gd name="connsiteY23" fmla="*/ 5881661 h 6128401"/>
                  <a:gd name="connsiteX24" fmla="*/ 1699568 w 4477595"/>
                  <a:gd name="connsiteY24" fmla="*/ 5881345 h 6128401"/>
                  <a:gd name="connsiteX25" fmla="*/ 1252464 w 4477595"/>
                  <a:gd name="connsiteY25" fmla="*/ 5306553 h 6128401"/>
                  <a:gd name="connsiteX26" fmla="*/ 1260702 w 4477595"/>
                  <a:gd name="connsiteY26" fmla="*/ 4439941 h 6128401"/>
                  <a:gd name="connsiteX27" fmla="*/ 1247395 w 4477595"/>
                  <a:gd name="connsiteY27" fmla="*/ 4251681 h 6128401"/>
                  <a:gd name="connsiteX28" fmla="*/ 1171654 w 4477595"/>
                  <a:gd name="connsiteY28" fmla="*/ 4207383 h 6128401"/>
                  <a:gd name="connsiteX29" fmla="*/ 0 w 4477595"/>
                  <a:gd name="connsiteY29" fmla="*/ 2238797 h 6128401"/>
                  <a:gd name="connsiteX30" fmla="*/ 2238797 w 4477595"/>
                  <a:gd name="connsiteY30" fmla="*/ 0 h 6128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4477595" h="6128401">
                    <a:moveTo>
                      <a:pt x="2238798" y="420786"/>
                    </a:moveTo>
                    <a:cubicBezTo>
                      <a:pt x="1234738" y="420786"/>
                      <a:pt x="420787" y="1234737"/>
                      <a:pt x="420787" y="2238797"/>
                    </a:cubicBezTo>
                    <a:cubicBezTo>
                      <a:pt x="423730" y="2352803"/>
                      <a:pt x="351911" y="3087911"/>
                      <a:pt x="1223247" y="3754007"/>
                    </a:cubicBezTo>
                    <a:cubicBezTo>
                      <a:pt x="1717667" y="4011636"/>
                      <a:pt x="1619902" y="4226675"/>
                      <a:pt x="1627594" y="4311091"/>
                    </a:cubicBezTo>
                    <a:cubicBezTo>
                      <a:pt x="1617757" y="4418123"/>
                      <a:pt x="1705319" y="4534189"/>
                      <a:pt x="1936940" y="4531711"/>
                    </a:cubicBezTo>
                    <a:lnTo>
                      <a:pt x="2539568" y="4531711"/>
                    </a:lnTo>
                    <a:cubicBezTo>
                      <a:pt x="2771189" y="4534189"/>
                      <a:pt x="2870474" y="4418123"/>
                      <a:pt x="2860637" y="4311091"/>
                    </a:cubicBezTo>
                    <a:cubicBezTo>
                      <a:pt x="2867368" y="4237227"/>
                      <a:pt x="2823275" y="4027453"/>
                      <a:pt x="3109338" y="3834987"/>
                    </a:cubicBezTo>
                    <a:lnTo>
                      <a:pt x="3110879" y="3834037"/>
                    </a:lnTo>
                    <a:lnTo>
                      <a:pt x="3181541" y="3791109"/>
                    </a:lnTo>
                    <a:cubicBezTo>
                      <a:pt x="3939122" y="3371438"/>
                      <a:pt x="4058350" y="2583705"/>
                      <a:pt x="4056807" y="2238797"/>
                    </a:cubicBezTo>
                    <a:cubicBezTo>
                      <a:pt x="4056807" y="1234737"/>
                      <a:pt x="3242858" y="420786"/>
                      <a:pt x="2238798" y="420786"/>
                    </a:cubicBezTo>
                    <a:close/>
                    <a:moveTo>
                      <a:pt x="2238797" y="0"/>
                    </a:moveTo>
                    <a:cubicBezTo>
                      <a:pt x="3475250" y="0"/>
                      <a:pt x="4477595" y="1002344"/>
                      <a:pt x="4477595" y="2238797"/>
                    </a:cubicBezTo>
                    <a:cubicBezTo>
                      <a:pt x="4477595" y="3088857"/>
                      <a:pt x="4003830" y="3828265"/>
                      <a:pt x="3305941" y="4207383"/>
                    </a:cubicBezTo>
                    <a:cubicBezTo>
                      <a:pt x="3307381" y="4222369"/>
                      <a:pt x="3228811" y="4212497"/>
                      <a:pt x="3243251" y="4439941"/>
                    </a:cubicBezTo>
                    <a:lnTo>
                      <a:pt x="3243251" y="5318909"/>
                    </a:lnTo>
                    <a:cubicBezTo>
                      <a:pt x="3259726" y="5591157"/>
                      <a:pt x="3093445" y="5886389"/>
                      <a:pt x="2705531" y="5880081"/>
                    </a:cubicBezTo>
                    <a:lnTo>
                      <a:pt x="2650833" y="5880971"/>
                    </a:lnTo>
                    <a:lnTo>
                      <a:pt x="2641784" y="5910123"/>
                    </a:lnTo>
                    <a:cubicBezTo>
                      <a:pt x="2587529" y="6038395"/>
                      <a:pt x="2460513" y="6128401"/>
                      <a:pt x="2312476" y="6128401"/>
                    </a:cubicBezTo>
                    <a:lnTo>
                      <a:pt x="2165118" y="6128401"/>
                    </a:lnTo>
                    <a:cubicBezTo>
                      <a:pt x="2017081" y="6128401"/>
                      <a:pt x="1890065" y="6038395"/>
                      <a:pt x="1835810" y="5910123"/>
                    </a:cubicBezTo>
                    <a:lnTo>
                      <a:pt x="1826975" y="5881661"/>
                    </a:lnTo>
                    <a:lnTo>
                      <a:pt x="1699568" y="5881345"/>
                    </a:lnTo>
                    <a:cubicBezTo>
                      <a:pt x="1373774" y="5889581"/>
                      <a:pt x="1241446" y="5564849"/>
                      <a:pt x="1252464" y="5306553"/>
                    </a:cubicBezTo>
                    <a:lnTo>
                      <a:pt x="1260702" y="4439941"/>
                    </a:lnTo>
                    <a:cubicBezTo>
                      <a:pt x="1260702" y="4367661"/>
                      <a:pt x="1281375" y="4321187"/>
                      <a:pt x="1247395" y="4251681"/>
                    </a:cubicBezTo>
                    <a:lnTo>
                      <a:pt x="1171654" y="4207383"/>
                    </a:lnTo>
                    <a:cubicBezTo>
                      <a:pt x="473764" y="3828265"/>
                      <a:pt x="0" y="3088857"/>
                      <a:pt x="0" y="2238797"/>
                    </a:cubicBezTo>
                    <a:cubicBezTo>
                      <a:pt x="0" y="1002344"/>
                      <a:pt x="1002344" y="0"/>
                      <a:pt x="2238797" y="0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519970">
                  <a:defRPr/>
                </a:pPr>
                <a:r>
                  <a:rPr lang="en-US" sz="1842" kern="0">
                    <a:solidFill>
                      <a:prstClr val="white"/>
                    </a:solidFill>
                    <a:latin typeface="Calibri"/>
                  </a:rPr>
                  <a:t>  </a:t>
                </a:r>
              </a:p>
            </p:txBody>
          </p:sp>
          <p:grpSp>
            <p:nvGrpSpPr>
              <p:cNvPr id="569" name="Group 206"/>
              <p:cNvGrpSpPr/>
              <p:nvPr/>
            </p:nvGrpSpPr>
            <p:grpSpPr>
              <a:xfrm>
                <a:off x="11961036" y="15547980"/>
                <a:ext cx="6135815" cy="3060371"/>
                <a:chOff x="11961036" y="15547980"/>
                <a:chExt cx="6135815" cy="3060371"/>
              </a:xfrm>
              <a:grpFill/>
            </p:grpSpPr>
            <p:sp>
              <p:nvSpPr>
                <p:cNvPr id="570" name="Rounded Rectangle 207"/>
                <p:cNvSpPr/>
                <p:nvPr/>
              </p:nvSpPr>
              <p:spPr>
                <a:xfrm rot="16200000" flipH="1">
                  <a:off x="12119095" y="16790050"/>
                  <a:ext cx="271696" cy="587813"/>
                </a:xfrm>
                <a:prstGeom prst="roundRect">
                  <a:avLst>
                    <a:gd name="adj" fmla="val 46875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519970">
                    <a:defRPr/>
                  </a:pPr>
                  <a:endParaRPr lang="en-US" sz="1842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571" name="Rounded Rectangle 208"/>
                <p:cNvSpPr/>
                <p:nvPr/>
              </p:nvSpPr>
              <p:spPr>
                <a:xfrm rot="17791932" flipH="1">
                  <a:off x="12487809" y="15407565"/>
                  <a:ext cx="271696" cy="587813"/>
                </a:xfrm>
                <a:prstGeom prst="roundRect">
                  <a:avLst>
                    <a:gd name="adj" fmla="val 46875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519970">
                    <a:defRPr/>
                  </a:pPr>
                  <a:endParaRPr lang="en-US" sz="1842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572" name="Rounded Rectangle 209"/>
                <p:cNvSpPr/>
                <p:nvPr/>
              </p:nvSpPr>
              <p:spPr>
                <a:xfrm rot="3328556" flipH="1">
                  <a:off x="17277054" y="15389921"/>
                  <a:ext cx="271696" cy="587813"/>
                </a:xfrm>
                <a:prstGeom prst="roundRect">
                  <a:avLst>
                    <a:gd name="adj" fmla="val 46875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519970">
                    <a:defRPr/>
                  </a:pPr>
                  <a:endParaRPr lang="en-US" sz="1842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573" name="Rounded Rectangle 210"/>
                <p:cNvSpPr/>
                <p:nvPr/>
              </p:nvSpPr>
              <p:spPr>
                <a:xfrm rot="5578962" flipH="1">
                  <a:off x="17667097" y="16790050"/>
                  <a:ext cx="271696" cy="587813"/>
                </a:xfrm>
                <a:prstGeom prst="roundRect">
                  <a:avLst>
                    <a:gd name="adj" fmla="val 46875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519970">
                    <a:defRPr/>
                  </a:pPr>
                  <a:endParaRPr lang="en-US" sz="1842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574" name="Rounded Rectangle 211"/>
                <p:cNvSpPr/>
                <p:nvPr/>
              </p:nvSpPr>
              <p:spPr>
                <a:xfrm rot="7381646" flipH="1">
                  <a:off x="17287055" y="18178596"/>
                  <a:ext cx="271696" cy="587813"/>
                </a:xfrm>
                <a:prstGeom prst="roundRect">
                  <a:avLst>
                    <a:gd name="adj" fmla="val 46875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519970">
                    <a:defRPr/>
                  </a:pPr>
                  <a:endParaRPr lang="en-US" sz="1842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575" name="Rounded Rectangle 212"/>
                <p:cNvSpPr/>
                <p:nvPr/>
              </p:nvSpPr>
              <p:spPr>
                <a:xfrm rot="14497153" flipH="1">
                  <a:off x="12487809" y="18178594"/>
                  <a:ext cx="271696" cy="587813"/>
                </a:xfrm>
                <a:prstGeom prst="roundRect">
                  <a:avLst>
                    <a:gd name="adj" fmla="val 46875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519970">
                    <a:defRPr/>
                  </a:pPr>
                  <a:endParaRPr lang="en-US" sz="1842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</p:grpSp>
        </p:grpSp>
      </p:grp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7CCF248-FA51-4868-B03B-20A875196B2F}"/>
              </a:ext>
            </a:extLst>
          </p:cNvPr>
          <p:cNvCxnSpPr>
            <a:cxnSpLocks/>
          </p:cNvCxnSpPr>
          <p:nvPr/>
        </p:nvCxnSpPr>
        <p:spPr>
          <a:xfrm>
            <a:off x="8663908" y="4501192"/>
            <a:ext cx="0" cy="1732391"/>
          </a:xfrm>
          <a:prstGeom prst="line">
            <a:avLst/>
          </a:prstGeom>
          <a:ln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4" name="Rectangle 373">
            <a:extLst>
              <a:ext uri="{FF2B5EF4-FFF2-40B4-BE49-F238E27FC236}">
                <a16:creationId xmlns:a16="http://schemas.microsoft.com/office/drawing/2014/main" id="{B6BB4AB2-435E-4F51-B8E8-501296A583F0}"/>
              </a:ext>
            </a:extLst>
          </p:cNvPr>
          <p:cNvSpPr/>
          <p:nvPr/>
        </p:nvSpPr>
        <p:spPr>
          <a:xfrm>
            <a:off x="8437882" y="6368192"/>
            <a:ext cx="463588" cy="2120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27"/>
            <a:r>
              <a:rPr lang="en-US" sz="778" i="1">
                <a:solidFill>
                  <a:prstClr val="white">
                    <a:lumMod val="50000"/>
                  </a:prstClr>
                </a:solidFill>
                <a:latin typeface="Arial"/>
                <a:cs typeface="Arial" panose="020B0604020202020204" pitchFamily="34" charset="0"/>
              </a:rPr>
              <a:t>Today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9A5CE73-02A9-434F-A10E-E693C9DCEE33}"/>
              </a:ext>
            </a:extLst>
          </p:cNvPr>
          <p:cNvGrpSpPr/>
          <p:nvPr/>
        </p:nvGrpSpPr>
        <p:grpSpPr>
          <a:xfrm>
            <a:off x="203515" y="1144822"/>
            <a:ext cx="3182519" cy="709656"/>
            <a:chOff x="139137" y="1030340"/>
            <a:chExt cx="2864267" cy="638690"/>
          </a:xfrm>
        </p:grpSpPr>
        <p:sp>
          <p:nvSpPr>
            <p:cNvPr id="23" name="Round Same Side Corner Rectangle 22"/>
            <p:cNvSpPr/>
            <p:nvPr/>
          </p:nvSpPr>
          <p:spPr>
            <a:xfrm>
              <a:off x="139137" y="1030340"/>
              <a:ext cx="2864267" cy="298244"/>
            </a:xfrm>
            <a:prstGeom prst="round2SameRect">
              <a:avLst/>
            </a:prstGeom>
            <a:gradFill flip="none" rotWithShape="1">
              <a:gsLst>
                <a:gs pos="0">
                  <a:schemeClr val="tx2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8900000" scaled="1"/>
              <a:tileRect/>
            </a:gradFill>
          </p:spPr>
          <p:txBody>
            <a:bodyPr wrap="square" lIns="121920" tIns="0" bIns="60960" anchor="ctr">
              <a:noAutofit/>
            </a:bodyPr>
            <a:lstStyle/>
            <a:p>
              <a:pPr algn="ctr" defTabSz="1058286"/>
              <a:r>
                <a:rPr lang="en-US" sz="1400" b="1">
                  <a:solidFill>
                    <a:prstClr val="white"/>
                  </a:solidFill>
                  <a:latin typeface="Arial"/>
                  <a:cs typeface="DIN Next LT Arabic"/>
                </a:rPr>
                <a:t>Project Manager</a:t>
              </a:r>
            </a:p>
          </p:txBody>
        </p:sp>
        <p:sp>
          <p:nvSpPr>
            <p:cNvPr id="381" name="Rectangle 380">
              <a:extLst>
                <a:ext uri="{FF2B5EF4-FFF2-40B4-BE49-F238E27FC236}">
                  <a16:creationId xmlns:a16="http://schemas.microsoft.com/office/drawing/2014/main" id="{7D779BF8-3B5C-4B82-98FC-7644DB10E2C1}"/>
                </a:ext>
              </a:extLst>
            </p:cNvPr>
            <p:cNvSpPr/>
            <p:nvPr/>
          </p:nvSpPr>
          <p:spPr>
            <a:xfrm>
              <a:off x="139137" y="1306150"/>
              <a:ext cx="2864267" cy="3628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algn="ctr"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92" name="Rectangle 391">
              <a:extLst>
                <a:ext uri="{FF2B5EF4-FFF2-40B4-BE49-F238E27FC236}">
                  <a16:creationId xmlns:a16="http://schemas.microsoft.com/office/drawing/2014/main" id="{80FC6DC5-4FE4-4476-ABEF-A97BB110834C}"/>
                </a:ext>
              </a:extLst>
            </p:cNvPr>
            <p:cNvSpPr/>
            <p:nvPr/>
          </p:nvSpPr>
          <p:spPr>
            <a:xfrm>
              <a:off x="169029" y="1367714"/>
              <a:ext cx="2712040" cy="25235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pt-BR" sz="1222" b="1"/>
                <a:t>Asiminia Asimota</a:t>
              </a:r>
              <a:endParaRPr lang="en-US" sz="1222" b="1"/>
            </a:p>
          </p:txBody>
        </p:sp>
      </p:grpSp>
      <p:grpSp>
        <p:nvGrpSpPr>
          <p:cNvPr id="393" name="Group 392">
            <a:extLst>
              <a:ext uri="{FF2B5EF4-FFF2-40B4-BE49-F238E27FC236}">
                <a16:creationId xmlns:a16="http://schemas.microsoft.com/office/drawing/2014/main" id="{B8D3427F-F685-4F6F-AAFC-5B0EAD38E18B}"/>
              </a:ext>
            </a:extLst>
          </p:cNvPr>
          <p:cNvGrpSpPr/>
          <p:nvPr/>
        </p:nvGrpSpPr>
        <p:grpSpPr>
          <a:xfrm>
            <a:off x="3945521" y="1144822"/>
            <a:ext cx="3182519" cy="709656"/>
            <a:chOff x="139137" y="1030340"/>
            <a:chExt cx="2864267" cy="638690"/>
          </a:xfrm>
        </p:grpSpPr>
        <p:sp>
          <p:nvSpPr>
            <p:cNvPr id="394" name="Round Same Side Corner Rectangle 22">
              <a:extLst>
                <a:ext uri="{FF2B5EF4-FFF2-40B4-BE49-F238E27FC236}">
                  <a16:creationId xmlns:a16="http://schemas.microsoft.com/office/drawing/2014/main" id="{54AA7BCD-3F0B-48E2-A6C2-28238D50BAF6}"/>
                </a:ext>
              </a:extLst>
            </p:cNvPr>
            <p:cNvSpPr/>
            <p:nvPr/>
          </p:nvSpPr>
          <p:spPr>
            <a:xfrm>
              <a:off x="139137" y="1030340"/>
              <a:ext cx="2864267" cy="298244"/>
            </a:xfrm>
            <a:prstGeom prst="round2SameRect">
              <a:avLst/>
            </a:prstGeom>
            <a:gradFill flip="none" rotWithShape="1">
              <a:gsLst>
                <a:gs pos="0">
                  <a:schemeClr val="tx2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8900000" scaled="1"/>
              <a:tileRect/>
            </a:gradFill>
          </p:spPr>
          <p:txBody>
            <a:bodyPr wrap="square" lIns="121920" tIns="0" bIns="60960" anchor="ctr">
              <a:noAutofit/>
            </a:bodyPr>
            <a:lstStyle/>
            <a:p>
              <a:pPr algn="ctr" defTabSz="1058286"/>
              <a:r>
                <a:rPr lang="en-US" sz="1400" b="1">
                  <a:solidFill>
                    <a:prstClr val="white"/>
                  </a:solidFill>
                  <a:latin typeface="Arial"/>
                  <a:cs typeface="DIN Next LT Arabic"/>
                </a:rPr>
                <a:t>Sponsor</a:t>
              </a:r>
            </a:p>
          </p:txBody>
        </p:sp>
        <p:sp>
          <p:nvSpPr>
            <p:cNvPr id="395" name="Rectangle 394">
              <a:extLst>
                <a:ext uri="{FF2B5EF4-FFF2-40B4-BE49-F238E27FC236}">
                  <a16:creationId xmlns:a16="http://schemas.microsoft.com/office/drawing/2014/main" id="{4060BCD0-1A60-4A53-8D45-148EB7FFF52D}"/>
                </a:ext>
              </a:extLst>
            </p:cNvPr>
            <p:cNvSpPr/>
            <p:nvPr/>
          </p:nvSpPr>
          <p:spPr>
            <a:xfrm>
              <a:off x="139137" y="1306150"/>
              <a:ext cx="2864267" cy="3628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algn="ctr"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96" name="Rectangle 395">
              <a:extLst>
                <a:ext uri="{FF2B5EF4-FFF2-40B4-BE49-F238E27FC236}">
                  <a16:creationId xmlns:a16="http://schemas.microsoft.com/office/drawing/2014/main" id="{E83DC2C4-A45D-47D3-B1E0-3C1FF243D9B8}"/>
                </a:ext>
              </a:extLst>
            </p:cNvPr>
            <p:cNvSpPr/>
            <p:nvPr/>
          </p:nvSpPr>
          <p:spPr>
            <a:xfrm>
              <a:off x="169029" y="1367714"/>
              <a:ext cx="2712040" cy="252358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en-US" sz="1200" b="1"/>
                <a:t>Maz Hussain</a:t>
              </a:r>
              <a:endParaRPr lang="en-US"/>
            </a:p>
          </p:txBody>
        </p:sp>
      </p:grpSp>
      <p:grpSp>
        <p:nvGrpSpPr>
          <p:cNvPr id="397" name="Group 396">
            <a:extLst>
              <a:ext uri="{FF2B5EF4-FFF2-40B4-BE49-F238E27FC236}">
                <a16:creationId xmlns:a16="http://schemas.microsoft.com/office/drawing/2014/main" id="{C733F652-2C64-42E0-9D60-E5666F31750A}"/>
              </a:ext>
            </a:extLst>
          </p:cNvPr>
          <p:cNvGrpSpPr/>
          <p:nvPr/>
        </p:nvGrpSpPr>
        <p:grpSpPr>
          <a:xfrm>
            <a:off x="9968164" y="2012376"/>
            <a:ext cx="1858458" cy="215793"/>
            <a:chOff x="2611840" y="2749253"/>
            <a:chExt cx="5845536" cy="225865"/>
          </a:xfrm>
        </p:grpSpPr>
        <p:sp>
          <p:nvSpPr>
            <p:cNvPr id="398" name="Rounded Rectangle 385">
              <a:extLst>
                <a:ext uri="{FF2B5EF4-FFF2-40B4-BE49-F238E27FC236}">
                  <a16:creationId xmlns:a16="http://schemas.microsoft.com/office/drawing/2014/main" id="{C441C946-799C-4E56-AC65-8B9DBF1F1832}"/>
                </a:ext>
              </a:extLst>
            </p:cNvPr>
            <p:cNvSpPr/>
            <p:nvPr/>
          </p:nvSpPr>
          <p:spPr>
            <a:xfrm>
              <a:off x="2611843" y="2749253"/>
              <a:ext cx="5845533" cy="225865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 w="10172">
              <a:noFill/>
            </a:ln>
          </p:spPr>
          <p:txBody>
            <a:bodyPr wrap="square" lIns="121920" tIns="121920" rIns="121920" bIns="121920" rtlCol="0" anchor="ctr"/>
            <a:lstStyle/>
            <a:p>
              <a:pPr defTabSz="1219176">
                <a:lnSpc>
                  <a:spcPts val="1467"/>
                </a:lnSpc>
              </a:pPr>
              <a:endParaRPr lang="en-US" sz="1333">
                <a:solidFill>
                  <a:srgbClr val="000000"/>
                </a:solidFill>
                <a:latin typeface="Arial"/>
                <a:ea typeface="Univers for KPMG Light" charset="0"/>
                <a:cs typeface="Univers for KPMG Light" charset="0"/>
              </a:endParaRPr>
            </a:p>
          </p:txBody>
        </p:sp>
        <p:sp>
          <p:nvSpPr>
            <p:cNvPr id="399" name="Rounded Rectangle 386">
              <a:extLst>
                <a:ext uri="{FF2B5EF4-FFF2-40B4-BE49-F238E27FC236}">
                  <a16:creationId xmlns:a16="http://schemas.microsoft.com/office/drawing/2014/main" id="{BCEC1C92-FB1E-4F9B-A257-B7DC4A28EC13}"/>
                </a:ext>
              </a:extLst>
            </p:cNvPr>
            <p:cNvSpPr/>
            <p:nvPr/>
          </p:nvSpPr>
          <p:spPr>
            <a:xfrm>
              <a:off x="2611840" y="2768725"/>
              <a:ext cx="5067120" cy="206393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tx2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8900000" scaled="1"/>
              <a:tileRect/>
            </a:gradFill>
          </p:spPr>
          <p:txBody>
            <a:bodyPr wrap="square" lIns="121920" tIns="0" bIns="60960" anchor="ctr">
              <a:noAutofit/>
            </a:bodyPr>
            <a:lstStyle/>
            <a:p>
              <a:pPr algn="ctr" defTabSz="1058286"/>
              <a:endParaRPr lang="en-US" sz="1400" b="1">
                <a:solidFill>
                  <a:prstClr val="white"/>
                </a:solidFill>
                <a:latin typeface="Arial"/>
                <a:cs typeface="DIN Next LT Arabic"/>
              </a:endParaRPr>
            </a:p>
          </p:txBody>
        </p:sp>
      </p:grp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7D55C1C-3F64-4129-B4C8-A12260C96ED9}"/>
              </a:ext>
            </a:extLst>
          </p:cNvPr>
          <p:cNvCxnSpPr/>
          <p:nvPr/>
        </p:nvCxnSpPr>
        <p:spPr>
          <a:xfrm>
            <a:off x="11779701" y="1956377"/>
            <a:ext cx="0" cy="316907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0" name="Rectangle 399">
            <a:extLst>
              <a:ext uri="{FF2B5EF4-FFF2-40B4-BE49-F238E27FC236}">
                <a16:creationId xmlns:a16="http://schemas.microsoft.com/office/drawing/2014/main" id="{223DE6C2-F6A2-4F77-9F17-16658C151A76}"/>
              </a:ext>
            </a:extLst>
          </p:cNvPr>
          <p:cNvSpPr/>
          <p:nvPr/>
        </p:nvSpPr>
        <p:spPr>
          <a:xfrm>
            <a:off x="11410460" y="1721242"/>
            <a:ext cx="753731" cy="2120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27"/>
            <a:r>
              <a:rPr lang="en-US" sz="778" i="1">
                <a:solidFill>
                  <a:prstClr val="white">
                    <a:lumMod val="50000"/>
                  </a:prstClr>
                </a:solidFill>
                <a:latin typeface="Arial"/>
                <a:cs typeface="Arial" panose="020B0604020202020204" pitchFamily="34" charset="0"/>
              </a:rPr>
              <a:t>Planned: 0%</a:t>
            </a:r>
          </a:p>
        </p:txBody>
      </p:sp>
      <p:sp>
        <p:nvSpPr>
          <p:cNvPr id="404" name="Rectangle 403">
            <a:extLst>
              <a:ext uri="{FF2B5EF4-FFF2-40B4-BE49-F238E27FC236}">
                <a16:creationId xmlns:a16="http://schemas.microsoft.com/office/drawing/2014/main" id="{2ADF1972-6919-42F3-88A4-E64A07BFF412}"/>
              </a:ext>
            </a:extLst>
          </p:cNvPr>
          <p:cNvSpPr/>
          <p:nvPr/>
        </p:nvSpPr>
        <p:spPr>
          <a:xfrm>
            <a:off x="10697053" y="2001938"/>
            <a:ext cx="322524" cy="207749"/>
          </a:xfrm>
          <a:prstGeom prst="rect">
            <a:avLst/>
          </a:prstGeom>
        </p:spPr>
        <p:txBody>
          <a:bodyPr wrap="none" lIns="91440" tIns="45720" rIns="91440" bIns="45720" anchor="t">
            <a:spAutoFit/>
          </a:bodyPr>
          <a:lstStyle/>
          <a:p>
            <a:pPr algn="ctr" defTabSz="1219127"/>
            <a:r>
              <a:rPr lang="en-US" sz="750" b="1" i="1">
                <a:solidFill>
                  <a:schemeClr val="bg1"/>
                </a:solidFill>
                <a:latin typeface="Arial"/>
                <a:cs typeface="Arial"/>
              </a:rPr>
              <a:t>0%</a:t>
            </a:r>
            <a:endParaRPr lang="en-US" sz="778" b="1" i="1">
              <a:solidFill>
                <a:schemeClr val="bg1"/>
              </a:solidFill>
              <a:latin typeface="Arial"/>
              <a:cs typeface="Arial" panose="020B0604020202020204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75E5899-6A04-49E8-9A1E-069A4424B858}"/>
              </a:ext>
            </a:extLst>
          </p:cNvPr>
          <p:cNvGrpSpPr/>
          <p:nvPr/>
        </p:nvGrpSpPr>
        <p:grpSpPr>
          <a:xfrm>
            <a:off x="107603" y="2034817"/>
            <a:ext cx="7014957" cy="2070160"/>
            <a:chOff x="638591" y="1470488"/>
            <a:chExt cx="6313461" cy="1863144"/>
          </a:xfrm>
        </p:grpSpPr>
        <p:graphicFrame>
          <p:nvGraphicFramePr>
            <p:cNvPr id="407" name="Chart 406">
              <a:extLst>
                <a:ext uri="{FF2B5EF4-FFF2-40B4-BE49-F238E27FC236}">
                  <a16:creationId xmlns:a16="http://schemas.microsoft.com/office/drawing/2014/main" id="{2DC1ED9C-6857-4C83-B158-AA08BB5CCA5F}"/>
                </a:ext>
              </a:extLst>
            </p:cNvPr>
            <p:cNvGraphicFramePr/>
            <p:nvPr/>
          </p:nvGraphicFramePr>
          <p:xfrm>
            <a:off x="4160327" y="1470488"/>
            <a:ext cx="2791725" cy="178171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cxnSp>
          <p:nvCxnSpPr>
            <p:cNvPr id="411" name="Straight Connector 410">
              <a:extLst>
                <a:ext uri="{FF2B5EF4-FFF2-40B4-BE49-F238E27FC236}">
                  <a16:creationId xmlns:a16="http://schemas.microsoft.com/office/drawing/2014/main" id="{89A117CA-CFF6-412E-AE1E-90E1352BAE6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527496" y="1478297"/>
              <a:ext cx="2" cy="1828381"/>
            </a:xfrm>
            <a:prstGeom prst="line">
              <a:avLst/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aphicFrame>
          <p:nvGraphicFramePr>
            <p:cNvPr id="414" name="Chart 413">
              <a:extLst>
                <a:ext uri="{FF2B5EF4-FFF2-40B4-BE49-F238E27FC236}">
                  <a16:creationId xmlns:a16="http://schemas.microsoft.com/office/drawing/2014/main" id="{F77E409F-B826-410B-9FD0-844EEE807211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495433486"/>
                </p:ext>
              </p:extLst>
            </p:nvPr>
          </p:nvGraphicFramePr>
          <p:xfrm>
            <a:off x="638591" y="1477877"/>
            <a:ext cx="3789628" cy="185575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80832342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4" name="think-cell Slide" r:id="rId5" imgW="293" imgH="274" progId="TCLayout.ActiveDocument.1">
                  <p:embed/>
                </p:oleObj>
              </mc:Choice>
              <mc:Fallback>
                <p:oleObj name="think-cell Slide" r:id="rId5" imgW="293" imgH="274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2" name="Rectangle 381"/>
          <p:cNvSpPr/>
          <p:nvPr/>
        </p:nvSpPr>
        <p:spPr>
          <a:xfrm>
            <a:off x="154597" y="4305118"/>
            <a:ext cx="3182519" cy="23750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defTabSz="1058286"/>
            <a:endParaRPr lang="en-US" sz="1500" err="1">
              <a:solidFill>
                <a:prstClr val="white"/>
              </a:solidFill>
              <a:latin typeface="Arial"/>
            </a:endParaRPr>
          </a:p>
        </p:txBody>
      </p:sp>
      <p:sp>
        <p:nvSpPr>
          <p:cNvPr id="431" name="Title 5"/>
          <p:cNvSpPr txBox="1">
            <a:spLocks/>
          </p:cNvSpPr>
          <p:nvPr/>
        </p:nvSpPr>
        <p:spPr>
          <a:xfrm>
            <a:off x="0" y="-4772"/>
            <a:ext cx="12192000" cy="1081733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61427" y="266394"/>
            <a:ext cx="8154804" cy="416216"/>
          </a:xfrm>
          <a:noFill/>
        </p:spPr>
        <p:txBody>
          <a:bodyPr anchor="t"/>
          <a:lstStyle/>
          <a:p>
            <a:pPr algn="l"/>
            <a:r>
              <a:rPr lang="en-US" sz="4889" dirty="0">
                <a:solidFill>
                  <a:schemeClr val="bg1"/>
                </a:solidFill>
              </a:rPr>
              <a:t>SABIC</a:t>
            </a:r>
          </a:p>
        </p:txBody>
      </p:sp>
      <p:sp>
        <p:nvSpPr>
          <p:cNvPr id="235" name="Title 5"/>
          <p:cNvSpPr txBox="1">
            <a:spLocks/>
          </p:cNvSpPr>
          <p:nvPr/>
        </p:nvSpPr>
        <p:spPr>
          <a:xfrm>
            <a:off x="3" y="-4772"/>
            <a:ext cx="60959" cy="1081733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cxnSp>
        <p:nvCxnSpPr>
          <p:cNvPr id="237" name="Straight Connector 236"/>
          <p:cNvCxnSpPr>
            <a:cxnSpLocks/>
          </p:cNvCxnSpPr>
          <p:nvPr/>
        </p:nvCxnSpPr>
        <p:spPr>
          <a:xfrm>
            <a:off x="308631" y="4305118"/>
            <a:ext cx="0" cy="231920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4" name="Round Same Side Corner Rectangle 243"/>
          <p:cNvSpPr/>
          <p:nvPr/>
        </p:nvSpPr>
        <p:spPr>
          <a:xfrm>
            <a:off x="154597" y="4289365"/>
            <a:ext cx="3182519" cy="331382"/>
          </a:xfrm>
          <a:prstGeom prst="round2Same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</p:spPr>
        <p:txBody>
          <a:bodyPr wrap="square" lIns="121920" tIns="0" bIns="60960" anchor="ctr">
            <a:noAutofit/>
          </a:bodyPr>
          <a:lstStyle/>
          <a:p>
            <a:pPr defTabSz="1058286"/>
            <a:r>
              <a:rPr lang="en-US" sz="1400" b="1">
                <a:solidFill>
                  <a:prstClr val="white"/>
                </a:solidFill>
                <a:latin typeface="Arial"/>
                <a:cs typeface="DIN Next LT Arabic"/>
              </a:rPr>
              <a:t>Other Key updates &amp; notes</a:t>
            </a:r>
          </a:p>
        </p:txBody>
      </p:sp>
      <p:grpSp>
        <p:nvGrpSpPr>
          <p:cNvPr id="383" name="Group 382"/>
          <p:cNvGrpSpPr/>
          <p:nvPr/>
        </p:nvGrpSpPr>
        <p:grpSpPr>
          <a:xfrm>
            <a:off x="172640" y="6624523"/>
            <a:ext cx="3164476" cy="104129"/>
            <a:chOff x="170119" y="2637607"/>
            <a:chExt cx="2373357" cy="130724"/>
          </a:xfrm>
        </p:grpSpPr>
        <p:sp>
          <p:nvSpPr>
            <p:cNvPr id="384" name="Right Triangle 383"/>
            <p:cNvSpPr/>
            <p:nvPr/>
          </p:nvSpPr>
          <p:spPr>
            <a:xfrm flipH="1" flipV="1">
              <a:off x="173559" y="2637607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85" name="Right Triangle 384"/>
            <p:cNvSpPr/>
            <p:nvPr/>
          </p:nvSpPr>
          <p:spPr>
            <a:xfrm flipV="1">
              <a:off x="170119" y="2637607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</p:grpSp>
      <p:sp>
        <p:nvSpPr>
          <p:cNvPr id="388" name="Rectangle 387"/>
          <p:cNvSpPr/>
          <p:nvPr/>
        </p:nvSpPr>
        <p:spPr>
          <a:xfrm>
            <a:off x="7518400" y="2655532"/>
            <a:ext cx="4579204" cy="26302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defTabSz="1058286"/>
            <a:endParaRPr lang="en-US" sz="1500" err="1">
              <a:solidFill>
                <a:prstClr val="white"/>
              </a:solidFill>
              <a:latin typeface="Arial"/>
            </a:endParaRPr>
          </a:p>
        </p:txBody>
      </p:sp>
      <p:grpSp>
        <p:nvGrpSpPr>
          <p:cNvPr id="389" name="Group 388"/>
          <p:cNvGrpSpPr/>
          <p:nvPr/>
        </p:nvGrpSpPr>
        <p:grpSpPr>
          <a:xfrm>
            <a:off x="7527930" y="6612634"/>
            <a:ext cx="4558976" cy="135134"/>
            <a:chOff x="170119" y="2402504"/>
            <a:chExt cx="2373357" cy="130725"/>
          </a:xfrm>
        </p:grpSpPr>
        <p:sp>
          <p:nvSpPr>
            <p:cNvPr id="390" name="Right Triangle 389"/>
            <p:cNvSpPr/>
            <p:nvPr/>
          </p:nvSpPr>
          <p:spPr>
            <a:xfrm flipH="1" flipV="1">
              <a:off x="173559" y="2402505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91" name="Right Triangle 390"/>
            <p:cNvSpPr/>
            <p:nvPr/>
          </p:nvSpPr>
          <p:spPr>
            <a:xfrm flipV="1">
              <a:off x="170119" y="2402504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</p:grpSp>
      <p:sp>
        <p:nvSpPr>
          <p:cNvPr id="582" name="Rectangle 581"/>
          <p:cNvSpPr/>
          <p:nvPr/>
        </p:nvSpPr>
        <p:spPr>
          <a:xfrm>
            <a:off x="7518400" y="3993261"/>
            <a:ext cx="4579204" cy="7858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</p:spPr>
        <p:txBody>
          <a:bodyPr wrap="square" lIns="121920" tIns="0" bIns="60960" anchor="ctr">
            <a:noAutofit/>
          </a:bodyPr>
          <a:lstStyle/>
          <a:p>
            <a:pPr algn="ctr" defTabSz="1058286"/>
            <a:endParaRPr lang="en-US" sz="1400" b="1" err="1">
              <a:solidFill>
                <a:prstClr val="white"/>
              </a:solidFill>
              <a:latin typeface="Arial"/>
              <a:cs typeface="DIN Next LT Arabic"/>
            </a:endParaRPr>
          </a:p>
        </p:txBody>
      </p:sp>
      <p:sp>
        <p:nvSpPr>
          <p:cNvPr id="403" name="Freeform 402"/>
          <p:cNvSpPr>
            <a:spLocks/>
          </p:cNvSpPr>
          <p:nvPr/>
        </p:nvSpPr>
        <p:spPr bwMode="auto">
          <a:xfrm>
            <a:off x="7647207" y="3629794"/>
            <a:ext cx="293866" cy="302299"/>
          </a:xfrm>
          <a:custGeom>
            <a:avLst/>
            <a:gdLst>
              <a:gd name="connsiteX0" fmla="*/ 189015 w 931448"/>
              <a:gd name="connsiteY0" fmla="*/ 777 h 970477"/>
              <a:gd name="connsiteX1" fmla="*/ 194858 w 931448"/>
              <a:gd name="connsiteY1" fmla="*/ 8026 h 970477"/>
              <a:gd name="connsiteX2" fmla="*/ 255296 w 931448"/>
              <a:gd name="connsiteY2" fmla="*/ 26885 h 970477"/>
              <a:gd name="connsiteX3" fmla="*/ 451720 w 931448"/>
              <a:gd name="connsiteY3" fmla="*/ 57059 h 970477"/>
              <a:gd name="connsiteX4" fmla="*/ 648144 w 931448"/>
              <a:gd name="connsiteY4" fmla="*/ 155125 h 970477"/>
              <a:gd name="connsiteX5" fmla="*/ 931448 w 931448"/>
              <a:gd name="connsiteY5" fmla="*/ 158897 h 970477"/>
              <a:gd name="connsiteX6" fmla="*/ 878565 w 931448"/>
              <a:gd name="connsiteY6" fmla="*/ 471953 h 970477"/>
              <a:gd name="connsiteX7" fmla="*/ 871010 w 931448"/>
              <a:gd name="connsiteY7" fmla="*/ 498355 h 970477"/>
              <a:gd name="connsiteX8" fmla="*/ 708582 w 931448"/>
              <a:gd name="connsiteY8" fmla="*/ 622823 h 970477"/>
              <a:gd name="connsiteX9" fmla="*/ 512158 w 931448"/>
              <a:gd name="connsiteY9" fmla="*/ 554932 h 970477"/>
              <a:gd name="connsiteX10" fmla="*/ 334621 w 931448"/>
              <a:gd name="connsiteY10" fmla="*/ 468181 h 970477"/>
              <a:gd name="connsiteX11" fmla="*/ 240187 w 931448"/>
              <a:gd name="connsiteY11" fmla="*/ 453094 h 970477"/>
              <a:gd name="connsiteX12" fmla="*/ 111756 w 931448"/>
              <a:gd name="connsiteY12" fmla="*/ 562475 h 970477"/>
              <a:gd name="connsiteX13" fmla="*/ 39114 w 931448"/>
              <a:gd name="connsiteY13" fmla="*/ 970477 h 970477"/>
              <a:gd name="connsiteX14" fmla="*/ 0 w 931448"/>
              <a:gd name="connsiteY14" fmla="*/ 938205 h 970477"/>
              <a:gd name="connsiteX15" fmla="*/ 149529 w 931448"/>
              <a:gd name="connsiteY15" fmla="*/ 79690 h 970477"/>
              <a:gd name="connsiteX16" fmla="*/ 160862 w 931448"/>
              <a:gd name="connsiteY16" fmla="*/ 19341 h 970477"/>
              <a:gd name="connsiteX17" fmla="*/ 189015 w 931448"/>
              <a:gd name="connsiteY17" fmla="*/ 777 h 9704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931448" h="970477">
                <a:moveTo>
                  <a:pt x="189015" y="777"/>
                </a:moveTo>
                <a:cubicBezTo>
                  <a:pt x="191789" y="1897"/>
                  <a:pt x="193914" y="4254"/>
                  <a:pt x="194858" y="8026"/>
                </a:cubicBezTo>
                <a:cubicBezTo>
                  <a:pt x="206190" y="57059"/>
                  <a:pt x="232632" y="30657"/>
                  <a:pt x="255296" y="26885"/>
                </a:cubicBezTo>
                <a:cubicBezTo>
                  <a:pt x="323289" y="15570"/>
                  <a:pt x="391282" y="26885"/>
                  <a:pt x="451720" y="57059"/>
                </a:cubicBezTo>
                <a:cubicBezTo>
                  <a:pt x="519713" y="87233"/>
                  <a:pt x="583929" y="124951"/>
                  <a:pt x="648144" y="155125"/>
                </a:cubicBezTo>
                <a:cubicBezTo>
                  <a:pt x="738802" y="196614"/>
                  <a:pt x="829459" y="211701"/>
                  <a:pt x="931448" y="158897"/>
                </a:cubicBezTo>
                <a:cubicBezTo>
                  <a:pt x="912561" y="268278"/>
                  <a:pt x="893674" y="370115"/>
                  <a:pt x="878565" y="471953"/>
                </a:cubicBezTo>
                <a:cubicBezTo>
                  <a:pt x="874787" y="479496"/>
                  <a:pt x="874787" y="490812"/>
                  <a:pt x="871010" y="498355"/>
                </a:cubicBezTo>
                <a:cubicBezTo>
                  <a:pt x="855900" y="600193"/>
                  <a:pt x="814349" y="630367"/>
                  <a:pt x="708582" y="622823"/>
                </a:cubicBezTo>
                <a:cubicBezTo>
                  <a:pt x="640589" y="615280"/>
                  <a:pt x="576374" y="588877"/>
                  <a:pt x="512158" y="554932"/>
                </a:cubicBezTo>
                <a:cubicBezTo>
                  <a:pt x="455498" y="524757"/>
                  <a:pt x="398837" y="490812"/>
                  <a:pt x="334621" y="468181"/>
                </a:cubicBezTo>
                <a:cubicBezTo>
                  <a:pt x="304402" y="460637"/>
                  <a:pt x="274183" y="453094"/>
                  <a:pt x="240187" y="453094"/>
                </a:cubicBezTo>
                <a:cubicBezTo>
                  <a:pt x="145752" y="449322"/>
                  <a:pt x="126865" y="464409"/>
                  <a:pt x="111756" y="562475"/>
                </a:cubicBezTo>
                <a:lnTo>
                  <a:pt x="39114" y="970477"/>
                </a:lnTo>
                <a:lnTo>
                  <a:pt x="0" y="938205"/>
                </a:lnTo>
                <a:lnTo>
                  <a:pt x="149529" y="79690"/>
                </a:lnTo>
                <a:cubicBezTo>
                  <a:pt x="153307" y="60831"/>
                  <a:pt x="153307" y="38200"/>
                  <a:pt x="160862" y="19341"/>
                </a:cubicBezTo>
                <a:cubicBezTo>
                  <a:pt x="166528" y="5198"/>
                  <a:pt x="180693" y="-2582"/>
                  <a:pt x="189015" y="777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Autofit/>
          </a:bodyPr>
          <a:lstStyle/>
          <a:p>
            <a:pPr defTabSz="914391"/>
            <a:endParaRPr lang="en-US" sz="2533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5" name="Freeform 404"/>
          <p:cNvSpPr>
            <a:spLocks/>
          </p:cNvSpPr>
          <p:nvPr/>
        </p:nvSpPr>
        <p:spPr bwMode="auto">
          <a:xfrm flipH="1">
            <a:off x="11685154" y="3703426"/>
            <a:ext cx="293869" cy="302299"/>
          </a:xfrm>
          <a:custGeom>
            <a:avLst/>
            <a:gdLst>
              <a:gd name="connsiteX0" fmla="*/ 189015 w 931448"/>
              <a:gd name="connsiteY0" fmla="*/ 777 h 970477"/>
              <a:gd name="connsiteX1" fmla="*/ 194858 w 931448"/>
              <a:gd name="connsiteY1" fmla="*/ 8026 h 970477"/>
              <a:gd name="connsiteX2" fmla="*/ 255296 w 931448"/>
              <a:gd name="connsiteY2" fmla="*/ 26885 h 970477"/>
              <a:gd name="connsiteX3" fmla="*/ 451720 w 931448"/>
              <a:gd name="connsiteY3" fmla="*/ 57059 h 970477"/>
              <a:gd name="connsiteX4" fmla="*/ 648144 w 931448"/>
              <a:gd name="connsiteY4" fmla="*/ 155125 h 970477"/>
              <a:gd name="connsiteX5" fmla="*/ 931448 w 931448"/>
              <a:gd name="connsiteY5" fmla="*/ 158897 h 970477"/>
              <a:gd name="connsiteX6" fmla="*/ 878565 w 931448"/>
              <a:gd name="connsiteY6" fmla="*/ 471953 h 970477"/>
              <a:gd name="connsiteX7" fmla="*/ 871010 w 931448"/>
              <a:gd name="connsiteY7" fmla="*/ 498355 h 970477"/>
              <a:gd name="connsiteX8" fmla="*/ 708582 w 931448"/>
              <a:gd name="connsiteY8" fmla="*/ 622823 h 970477"/>
              <a:gd name="connsiteX9" fmla="*/ 512158 w 931448"/>
              <a:gd name="connsiteY9" fmla="*/ 554932 h 970477"/>
              <a:gd name="connsiteX10" fmla="*/ 334621 w 931448"/>
              <a:gd name="connsiteY10" fmla="*/ 468181 h 970477"/>
              <a:gd name="connsiteX11" fmla="*/ 240187 w 931448"/>
              <a:gd name="connsiteY11" fmla="*/ 453094 h 970477"/>
              <a:gd name="connsiteX12" fmla="*/ 111756 w 931448"/>
              <a:gd name="connsiteY12" fmla="*/ 562475 h 970477"/>
              <a:gd name="connsiteX13" fmla="*/ 39114 w 931448"/>
              <a:gd name="connsiteY13" fmla="*/ 970477 h 970477"/>
              <a:gd name="connsiteX14" fmla="*/ 0 w 931448"/>
              <a:gd name="connsiteY14" fmla="*/ 938205 h 970477"/>
              <a:gd name="connsiteX15" fmla="*/ 149529 w 931448"/>
              <a:gd name="connsiteY15" fmla="*/ 79690 h 970477"/>
              <a:gd name="connsiteX16" fmla="*/ 160862 w 931448"/>
              <a:gd name="connsiteY16" fmla="*/ 19341 h 970477"/>
              <a:gd name="connsiteX17" fmla="*/ 189015 w 931448"/>
              <a:gd name="connsiteY17" fmla="*/ 777 h 9704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931448" h="970477">
                <a:moveTo>
                  <a:pt x="189015" y="777"/>
                </a:moveTo>
                <a:cubicBezTo>
                  <a:pt x="191789" y="1897"/>
                  <a:pt x="193914" y="4254"/>
                  <a:pt x="194858" y="8026"/>
                </a:cubicBezTo>
                <a:cubicBezTo>
                  <a:pt x="206190" y="57059"/>
                  <a:pt x="232632" y="30657"/>
                  <a:pt x="255296" y="26885"/>
                </a:cubicBezTo>
                <a:cubicBezTo>
                  <a:pt x="323289" y="15570"/>
                  <a:pt x="391282" y="26885"/>
                  <a:pt x="451720" y="57059"/>
                </a:cubicBezTo>
                <a:cubicBezTo>
                  <a:pt x="519713" y="87233"/>
                  <a:pt x="583929" y="124951"/>
                  <a:pt x="648144" y="155125"/>
                </a:cubicBezTo>
                <a:cubicBezTo>
                  <a:pt x="738802" y="196614"/>
                  <a:pt x="829459" y="211701"/>
                  <a:pt x="931448" y="158897"/>
                </a:cubicBezTo>
                <a:cubicBezTo>
                  <a:pt x="912561" y="268278"/>
                  <a:pt x="893674" y="370115"/>
                  <a:pt x="878565" y="471953"/>
                </a:cubicBezTo>
                <a:cubicBezTo>
                  <a:pt x="874787" y="479496"/>
                  <a:pt x="874787" y="490812"/>
                  <a:pt x="871010" y="498355"/>
                </a:cubicBezTo>
                <a:cubicBezTo>
                  <a:pt x="855900" y="600193"/>
                  <a:pt x="814349" y="630367"/>
                  <a:pt x="708582" y="622823"/>
                </a:cubicBezTo>
                <a:cubicBezTo>
                  <a:pt x="640589" y="615280"/>
                  <a:pt x="576374" y="588877"/>
                  <a:pt x="512158" y="554932"/>
                </a:cubicBezTo>
                <a:cubicBezTo>
                  <a:pt x="455498" y="524757"/>
                  <a:pt x="398837" y="490812"/>
                  <a:pt x="334621" y="468181"/>
                </a:cubicBezTo>
                <a:cubicBezTo>
                  <a:pt x="304402" y="460637"/>
                  <a:pt x="274183" y="453094"/>
                  <a:pt x="240187" y="453094"/>
                </a:cubicBezTo>
                <a:cubicBezTo>
                  <a:pt x="145752" y="449322"/>
                  <a:pt x="126865" y="464409"/>
                  <a:pt x="111756" y="562475"/>
                </a:cubicBezTo>
                <a:lnTo>
                  <a:pt x="39114" y="970477"/>
                </a:lnTo>
                <a:lnTo>
                  <a:pt x="0" y="938205"/>
                </a:lnTo>
                <a:lnTo>
                  <a:pt x="149529" y="79690"/>
                </a:lnTo>
                <a:cubicBezTo>
                  <a:pt x="153307" y="60831"/>
                  <a:pt x="153307" y="38200"/>
                  <a:pt x="160862" y="19341"/>
                </a:cubicBezTo>
                <a:cubicBezTo>
                  <a:pt x="166528" y="5198"/>
                  <a:pt x="180693" y="-2582"/>
                  <a:pt x="189015" y="777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Autofit/>
          </a:bodyPr>
          <a:lstStyle/>
          <a:p>
            <a:pPr defTabSz="914391"/>
            <a:endParaRPr lang="en-US" sz="2533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10591584" y="3450103"/>
            <a:ext cx="95070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127"/>
            <a:r>
              <a:rPr lang="en-US" sz="1200">
                <a:solidFill>
                  <a:prstClr val="white">
                    <a:lumMod val="50000"/>
                  </a:prstClr>
                </a:solidFill>
                <a:latin typeface="Arial"/>
                <a:cs typeface="Arial" panose="020B0604020202020204" pitchFamily="34" charset="0"/>
              </a:rPr>
              <a:t>END DATE</a:t>
            </a:r>
          </a:p>
        </p:txBody>
      </p:sp>
      <p:sp>
        <p:nvSpPr>
          <p:cNvPr id="406" name="Rectangle 405"/>
          <p:cNvSpPr/>
          <p:nvPr/>
        </p:nvSpPr>
        <p:spPr>
          <a:xfrm>
            <a:off x="10427080" y="3687170"/>
            <a:ext cx="130837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127"/>
            <a:r>
              <a:rPr lang="en-US" sz="1200" b="1" dirty="0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December 2022</a:t>
            </a:r>
          </a:p>
        </p:txBody>
      </p:sp>
      <p:sp>
        <p:nvSpPr>
          <p:cNvPr id="408" name="Rectangle 407"/>
          <p:cNvSpPr/>
          <p:nvPr/>
        </p:nvSpPr>
        <p:spPr>
          <a:xfrm>
            <a:off x="7941073" y="3450103"/>
            <a:ext cx="111492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127"/>
            <a:r>
              <a:rPr lang="en-US" sz="1200">
                <a:solidFill>
                  <a:prstClr val="white">
                    <a:lumMod val="50000"/>
                  </a:prstClr>
                </a:solidFill>
                <a:latin typeface="Arial"/>
                <a:cs typeface="Arial" panose="020B0604020202020204" pitchFamily="34" charset="0"/>
              </a:rPr>
              <a:t>START DATE</a:t>
            </a:r>
          </a:p>
        </p:txBody>
      </p:sp>
      <p:sp>
        <p:nvSpPr>
          <p:cNvPr id="409" name="Rectangle 408"/>
          <p:cNvSpPr/>
          <p:nvPr/>
        </p:nvSpPr>
        <p:spPr>
          <a:xfrm>
            <a:off x="7898340" y="3687170"/>
            <a:ext cx="92685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127"/>
            <a:r>
              <a:rPr lang="en-US" sz="1200" b="1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June 2022</a:t>
            </a:r>
          </a:p>
        </p:txBody>
      </p:sp>
      <p:sp>
        <p:nvSpPr>
          <p:cNvPr id="410" name="Round Same Side Corner Rectangle 409"/>
          <p:cNvSpPr/>
          <p:nvPr/>
        </p:nvSpPr>
        <p:spPr>
          <a:xfrm>
            <a:off x="7592024" y="4294033"/>
            <a:ext cx="4443494" cy="290140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chemeClr val="tx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</a:gradFill>
          <a:ln>
            <a:solidFill>
              <a:schemeClr val="accent3"/>
            </a:solidFill>
          </a:ln>
        </p:spPr>
        <p:txBody>
          <a:bodyPr wrap="square" lIns="121920">
            <a:noAutofit/>
          </a:bodyPr>
          <a:lstStyle/>
          <a:p>
            <a:pPr defTabSz="1058286"/>
            <a:endParaRPr lang="en-US" sz="1400" b="1">
              <a:solidFill>
                <a:prstClr val="white"/>
              </a:solidFill>
              <a:latin typeface="Arial"/>
              <a:cs typeface="DIN Next LT Arabic"/>
            </a:endParaRPr>
          </a:p>
        </p:txBody>
      </p:sp>
      <p:graphicFrame>
        <p:nvGraphicFramePr>
          <p:cNvPr id="44" name="Table 43"/>
          <p:cNvGraphicFramePr>
            <a:graphicFrameLocks noGrp="1"/>
          </p:cNvGraphicFramePr>
          <p:nvPr/>
        </p:nvGraphicFramePr>
        <p:xfrm>
          <a:off x="7595578" y="4312867"/>
          <a:ext cx="4439944" cy="2773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42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71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71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77333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Apr</a:t>
                      </a:r>
                    </a:p>
                  </a:txBody>
                  <a:tcPr marL="18000" marR="18000" marT="54000" marB="54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May</a:t>
                      </a:r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Jun</a:t>
                      </a:r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Jul.</a:t>
                      </a:r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Aug</a:t>
                      </a:r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Sep</a:t>
                      </a:r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Oct</a:t>
                      </a:r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427" name="Table 426"/>
          <p:cNvGraphicFramePr>
            <a:graphicFrameLocks noGrp="1"/>
          </p:cNvGraphicFramePr>
          <p:nvPr/>
        </p:nvGraphicFramePr>
        <p:xfrm>
          <a:off x="7595578" y="4583797"/>
          <a:ext cx="4439944" cy="17735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42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71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71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1773579">
                <a:tc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16" name="Rounded Rectangle 415"/>
          <p:cNvSpPr/>
          <p:nvPr/>
        </p:nvSpPr>
        <p:spPr>
          <a:xfrm>
            <a:off x="7853699" y="4683626"/>
            <a:ext cx="1038687" cy="18442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 w="10172">
            <a:noFill/>
          </a:ln>
        </p:spPr>
        <p:txBody>
          <a:bodyPr wrap="square" lIns="121920" tIns="121920" rIns="121920" bIns="121920" rtlCol="0" anchor="ctr"/>
          <a:lstStyle/>
          <a:p>
            <a:pPr algn="ctr" defTabSz="1219176"/>
            <a:r>
              <a:rPr lang="en-US" sz="889" b="1">
                <a:solidFill>
                  <a:schemeClr val="bg1"/>
                </a:solidFill>
                <a:latin typeface="Arial"/>
                <a:ea typeface="Univers for KPMG Light" charset="0"/>
                <a:cs typeface="Univers for KPMG Light" charset="0"/>
              </a:rPr>
              <a:t>Activity 1</a:t>
            </a:r>
          </a:p>
        </p:txBody>
      </p:sp>
      <p:sp>
        <p:nvSpPr>
          <p:cNvPr id="418" name="Rounded Rectangle 417"/>
          <p:cNvSpPr/>
          <p:nvPr/>
        </p:nvSpPr>
        <p:spPr>
          <a:xfrm>
            <a:off x="8712458" y="5082583"/>
            <a:ext cx="939542" cy="18442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0172">
            <a:noFill/>
          </a:ln>
        </p:spPr>
        <p:txBody>
          <a:bodyPr wrap="square" lIns="121920" tIns="121920" rIns="121920" bIns="121920" rtlCol="0" anchor="ctr"/>
          <a:lstStyle/>
          <a:p>
            <a:pPr algn="ctr" defTabSz="1219176">
              <a:defRPr/>
            </a:pPr>
            <a:r>
              <a:rPr lang="en-US" sz="889" b="1">
                <a:solidFill>
                  <a:schemeClr val="bg1"/>
                </a:solidFill>
                <a:latin typeface="Arial"/>
                <a:ea typeface="Univers for KPMG Light" charset="0"/>
                <a:cs typeface="Univers for KPMG Light" charset="0"/>
              </a:rPr>
              <a:t>Activity 2</a:t>
            </a:r>
          </a:p>
        </p:txBody>
      </p:sp>
      <p:sp>
        <p:nvSpPr>
          <p:cNvPr id="420" name="Rounded Rectangle 419"/>
          <p:cNvSpPr/>
          <p:nvPr/>
        </p:nvSpPr>
        <p:spPr>
          <a:xfrm>
            <a:off x="9067706" y="5422530"/>
            <a:ext cx="1884777" cy="18442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10172">
            <a:noFill/>
          </a:ln>
        </p:spPr>
        <p:txBody>
          <a:bodyPr wrap="square" lIns="121920" tIns="121920" rIns="121920" bIns="121920" rtlCol="0" anchor="ctr"/>
          <a:lstStyle/>
          <a:p>
            <a:pPr algn="ctr" defTabSz="1219176">
              <a:defRPr/>
            </a:pPr>
            <a:r>
              <a:rPr lang="en-US" sz="889" b="1">
                <a:solidFill>
                  <a:schemeClr val="bg1"/>
                </a:solidFill>
                <a:latin typeface="Arial"/>
                <a:ea typeface="Univers for KPMG Light" charset="0"/>
                <a:cs typeface="Univers for KPMG Light" charset="0"/>
              </a:rPr>
              <a:t>Activity 3</a:t>
            </a:r>
          </a:p>
        </p:txBody>
      </p:sp>
      <p:grpSp>
        <p:nvGrpSpPr>
          <p:cNvPr id="132" name="Group 131"/>
          <p:cNvGrpSpPr/>
          <p:nvPr/>
        </p:nvGrpSpPr>
        <p:grpSpPr>
          <a:xfrm>
            <a:off x="7527930" y="3097452"/>
            <a:ext cx="4558976" cy="135133"/>
            <a:chOff x="5645947" y="4054307"/>
            <a:chExt cx="3419232" cy="146922"/>
          </a:xfrm>
        </p:grpSpPr>
        <p:sp>
          <p:nvSpPr>
            <p:cNvPr id="435" name="Right Triangle 434"/>
            <p:cNvSpPr/>
            <p:nvPr/>
          </p:nvSpPr>
          <p:spPr>
            <a:xfrm flipH="1" flipV="1">
              <a:off x="5650903" y="4054307"/>
              <a:ext cx="3414276" cy="146922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436" name="Right Triangle 435"/>
            <p:cNvSpPr/>
            <p:nvPr/>
          </p:nvSpPr>
          <p:spPr>
            <a:xfrm flipV="1">
              <a:off x="5645947" y="4054307"/>
              <a:ext cx="3414276" cy="146922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</p:grpSp>
      <p:sp>
        <p:nvSpPr>
          <p:cNvPr id="437" name="Rectangle 436"/>
          <p:cNvSpPr/>
          <p:nvPr/>
        </p:nvSpPr>
        <p:spPr>
          <a:xfrm>
            <a:off x="7518400" y="1127265"/>
            <a:ext cx="4579204" cy="13745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defTabSz="1058286"/>
            <a:endParaRPr lang="en-US" sz="1500" err="1">
              <a:solidFill>
                <a:prstClr val="white"/>
              </a:solidFill>
              <a:latin typeface="Arial"/>
            </a:endParaRPr>
          </a:p>
        </p:txBody>
      </p:sp>
      <p:sp>
        <p:nvSpPr>
          <p:cNvPr id="439" name="Rectangle 438"/>
          <p:cNvSpPr/>
          <p:nvPr/>
        </p:nvSpPr>
        <p:spPr>
          <a:xfrm>
            <a:off x="7829747" y="1158904"/>
            <a:ext cx="1335622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27"/>
            <a:r>
              <a:rPr lang="en-US" sz="1333" b="1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Project Health</a:t>
            </a:r>
          </a:p>
        </p:txBody>
      </p:sp>
      <p:sp>
        <p:nvSpPr>
          <p:cNvPr id="440" name="Rectangle 439"/>
          <p:cNvSpPr/>
          <p:nvPr/>
        </p:nvSpPr>
        <p:spPr>
          <a:xfrm>
            <a:off x="10403346" y="1158904"/>
            <a:ext cx="925253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27"/>
            <a:r>
              <a:rPr lang="en-US" sz="1333" b="1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Progress</a:t>
            </a:r>
          </a:p>
        </p:txBody>
      </p:sp>
      <p:cxnSp>
        <p:nvCxnSpPr>
          <p:cNvPr id="444" name="Straight Connector 443"/>
          <p:cNvCxnSpPr/>
          <p:nvPr/>
        </p:nvCxnSpPr>
        <p:spPr>
          <a:xfrm>
            <a:off x="10152800" y="2452170"/>
            <a:ext cx="1426344" cy="0"/>
          </a:xfrm>
          <a:prstGeom prst="line">
            <a:avLst/>
          </a:prstGeom>
          <a:ln w="3175">
            <a:solidFill>
              <a:schemeClr val="bg1">
                <a:alpha val="2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7" name="Oval 446"/>
          <p:cNvSpPr/>
          <p:nvPr/>
        </p:nvSpPr>
        <p:spPr>
          <a:xfrm>
            <a:off x="10190609" y="1699559"/>
            <a:ext cx="1264898" cy="1264896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91"/>
            <a:endParaRPr lang="en-IN" sz="2154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57" name="Straight Connector 56"/>
          <p:cNvCxnSpPr/>
          <p:nvPr/>
        </p:nvCxnSpPr>
        <p:spPr>
          <a:xfrm>
            <a:off x="7661463" y="1451278"/>
            <a:ext cx="167219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8" name="Straight Connector 447"/>
          <p:cNvCxnSpPr/>
          <p:nvPr/>
        </p:nvCxnSpPr>
        <p:spPr>
          <a:xfrm>
            <a:off x="9910209" y="1451278"/>
            <a:ext cx="197021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0" name="Group 449"/>
          <p:cNvGrpSpPr/>
          <p:nvPr/>
        </p:nvGrpSpPr>
        <p:grpSpPr>
          <a:xfrm>
            <a:off x="8249008" y="1724075"/>
            <a:ext cx="605432" cy="944212"/>
            <a:chOff x="722750" y="906549"/>
            <a:chExt cx="553597" cy="863372"/>
          </a:xfrm>
        </p:grpSpPr>
        <p:grpSp>
          <p:nvGrpSpPr>
            <p:cNvPr id="451" name="Group 450"/>
            <p:cNvGrpSpPr/>
            <p:nvPr/>
          </p:nvGrpSpPr>
          <p:grpSpPr>
            <a:xfrm>
              <a:off x="722750" y="906549"/>
              <a:ext cx="553597" cy="863372"/>
              <a:chOff x="5997254" y="2460747"/>
              <a:chExt cx="1616607" cy="2521202"/>
            </a:xfrm>
          </p:grpSpPr>
          <p:sp>
            <p:nvSpPr>
              <p:cNvPr id="470" name="Rectangle 469"/>
              <p:cNvSpPr/>
              <p:nvPr/>
            </p:nvSpPr>
            <p:spPr>
              <a:xfrm>
                <a:off x="6718885" y="4188898"/>
                <a:ext cx="177760" cy="793051"/>
              </a:xfrm>
              <a:prstGeom prst="rect">
                <a:avLst/>
              </a:prstGeom>
              <a:gradFill>
                <a:gsLst>
                  <a:gs pos="0">
                    <a:sysClr val="windowText" lastClr="000000">
                      <a:lumMod val="75000"/>
                      <a:lumOff val="25000"/>
                      <a:shade val="30000"/>
                      <a:satMod val="115000"/>
                    </a:sysClr>
                  </a:gs>
                  <a:gs pos="50000">
                    <a:sysClr val="window" lastClr="FFFFFF"/>
                  </a:gs>
                  <a:gs pos="100000">
                    <a:sysClr val="windowText" lastClr="000000">
                      <a:lumMod val="75000"/>
                      <a:lumOff val="25000"/>
                      <a:shade val="100000"/>
                      <a:satMod val="115000"/>
                    </a:sysClr>
                  </a:gs>
                </a:gsLst>
                <a:lin ang="0" scaled="0"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060737">
                  <a:defRPr/>
                </a:pPr>
                <a:endParaRPr lang="en-US" sz="2088" kern="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471" name="Freeform 26"/>
              <p:cNvSpPr>
                <a:spLocks noEditPoints="1"/>
              </p:cNvSpPr>
              <p:nvPr/>
            </p:nvSpPr>
            <p:spPr bwMode="auto">
              <a:xfrm>
                <a:off x="5997254" y="2460747"/>
                <a:ext cx="1616607" cy="1618702"/>
              </a:xfrm>
              <a:custGeom>
                <a:avLst/>
                <a:gdLst>
                  <a:gd name="T0" fmla="*/ 323 w 326"/>
                  <a:gd name="T1" fmla="*/ 157 h 326"/>
                  <a:gd name="T2" fmla="*/ 169 w 326"/>
                  <a:gd name="T3" fmla="*/ 2 h 326"/>
                  <a:gd name="T4" fmla="*/ 163 w 326"/>
                  <a:gd name="T5" fmla="*/ 0 h 326"/>
                  <a:gd name="T6" fmla="*/ 157 w 326"/>
                  <a:gd name="T7" fmla="*/ 2 h 326"/>
                  <a:gd name="T8" fmla="*/ 3 w 326"/>
                  <a:gd name="T9" fmla="*/ 157 h 326"/>
                  <a:gd name="T10" fmla="*/ 0 w 326"/>
                  <a:gd name="T11" fmla="*/ 163 h 326"/>
                  <a:gd name="T12" fmla="*/ 3 w 326"/>
                  <a:gd name="T13" fmla="*/ 169 h 326"/>
                  <a:gd name="T14" fmla="*/ 157 w 326"/>
                  <a:gd name="T15" fmla="*/ 323 h 326"/>
                  <a:gd name="T16" fmla="*/ 163 w 326"/>
                  <a:gd name="T17" fmla="*/ 326 h 326"/>
                  <a:gd name="T18" fmla="*/ 169 w 326"/>
                  <a:gd name="T19" fmla="*/ 323 h 326"/>
                  <a:gd name="T20" fmla="*/ 323 w 326"/>
                  <a:gd name="T21" fmla="*/ 169 h 326"/>
                  <a:gd name="T22" fmla="*/ 326 w 326"/>
                  <a:gd name="T23" fmla="*/ 163 h 326"/>
                  <a:gd name="T24" fmla="*/ 323 w 326"/>
                  <a:gd name="T25" fmla="*/ 157 h 326"/>
                  <a:gd name="T26" fmla="*/ 306 w 326"/>
                  <a:gd name="T27" fmla="*/ 168 h 326"/>
                  <a:gd name="T28" fmla="*/ 168 w 326"/>
                  <a:gd name="T29" fmla="*/ 306 h 326"/>
                  <a:gd name="T30" fmla="*/ 163 w 326"/>
                  <a:gd name="T31" fmla="*/ 308 h 326"/>
                  <a:gd name="T32" fmla="*/ 157 w 326"/>
                  <a:gd name="T33" fmla="*/ 306 h 326"/>
                  <a:gd name="T34" fmla="*/ 20 w 326"/>
                  <a:gd name="T35" fmla="*/ 168 h 326"/>
                  <a:gd name="T36" fmla="*/ 17 w 326"/>
                  <a:gd name="T37" fmla="*/ 163 h 326"/>
                  <a:gd name="T38" fmla="*/ 20 w 326"/>
                  <a:gd name="T39" fmla="*/ 157 h 326"/>
                  <a:gd name="T40" fmla="*/ 157 w 326"/>
                  <a:gd name="T41" fmla="*/ 19 h 326"/>
                  <a:gd name="T42" fmla="*/ 163 w 326"/>
                  <a:gd name="T43" fmla="*/ 17 h 326"/>
                  <a:gd name="T44" fmla="*/ 168 w 326"/>
                  <a:gd name="T45" fmla="*/ 19 h 326"/>
                  <a:gd name="T46" fmla="*/ 306 w 326"/>
                  <a:gd name="T47" fmla="*/ 157 h 326"/>
                  <a:gd name="T48" fmla="*/ 309 w 326"/>
                  <a:gd name="T49" fmla="*/ 163 h 326"/>
                  <a:gd name="T50" fmla="*/ 306 w 326"/>
                  <a:gd name="T51" fmla="*/ 168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6" h="326">
                    <a:moveTo>
                      <a:pt x="323" y="157"/>
                    </a:moveTo>
                    <a:cubicBezTo>
                      <a:pt x="169" y="2"/>
                      <a:pt x="169" y="2"/>
                      <a:pt x="169" y="2"/>
                    </a:cubicBezTo>
                    <a:cubicBezTo>
                      <a:pt x="167" y="0"/>
                      <a:pt x="164" y="0"/>
                      <a:pt x="163" y="0"/>
                    </a:cubicBezTo>
                    <a:cubicBezTo>
                      <a:pt x="162" y="0"/>
                      <a:pt x="159" y="0"/>
                      <a:pt x="157" y="2"/>
                    </a:cubicBezTo>
                    <a:cubicBezTo>
                      <a:pt x="3" y="157"/>
                      <a:pt x="3" y="157"/>
                      <a:pt x="3" y="157"/>
                    </a:cubicBezTo>
                    <a:cubicBezTo>
                      <a:pt x="1" y="158"/>
                      <a:pt x="0" y="160"/>
                      <a:pt x="0" y="163"/>
                    </a:cubicBezTo>
                    <a:cubicBezTo>
                      <a:pt x="0" y="165"/>
                      <a:pt x="1" y="167"/>
                      <a:pt x="3" y="169"/>
                    </a:cubicBezTo>
                    <a:cubicBezTo>
                      <a:pt x="157" y="323"/>
                      <a:pt x="157" y="323"/>
                      <a:pt x="157" y="323"/>
                    </a:cubicBezTo>
                    <a:cubicBezTo>
                      <a:pt x="159" y="325"/>
                      <a:pt x="162" y="326"/>
                      <a:pt x="163" y="326"/>
                    </a:cubicBezTo>
                    <a:cubicBezTo>
                      <a:pt x="164" y="326"/>
                      <a:pt x="167" y="325"/>
                      <a:pt x="169" y="323"/>
                    </a:cubicBezTo>
                    <a:cubicBezTo>
                      <a:pt x="323" y="169"/>
                      <a:pt x="323" y="169"/>
                      <a:pt x="323" y="169"/>
                    </a:cubicBezTo>
                    <a:cubicBezTo>
                      <a:pt x="325" y="167"/>
                      <a:pt x="326" y="164"/>
                      <a:pt x="326" y="163"/>
                    </a:cubicBezTo>
                    <a:cubicBezTo>
                      <a:pt x="326" y="161"/>
                      <a:pt x="325" y="159"/>
                      <a:pt x="323" y="157"/>
                    </a:cubicBezTo>
                    <a:close/>
                    <a:moveTo>
                      <a:pt x="306" y="168"/>
                    </a:moveTo>
                    <a:cubicBezTo>
                      <a:pt x="168" y="306"/>
                      <a:pt x="168" y="306"/>
                      <a:pt x="168" y="306"/>
                    </a:cubicBezTo>
                    <a:cubicBezTo>
                      <a:pt x="167" y="308"/>
                      <a:pt x="164" y="308"/>
                      <a:pt x="163" y="308"/>
                    </a:cubicBezTo>
                    <a:cubicBezTo>
                      <a:pt x="162" y="308"/>
                      <a:pt x="159" y="308"/>
                      <a:pt x="157" y="306"/>
                    </a:cubicBezTo>
                    <a:cubicBezTo>
                      <a:pt x="20" y="168"/>
                      <a:pt x="20" y="168"/>
                      <a:pt x="20" y="168"/>
                    </a:cubicBezTo>
                    <a:cubicBezTo>
                      <a:pt x="18" y="167"/>
                      <a:pt x="17" y="165"/>
                      <a:pt x="17" y="163"/>
                    </a:cubicBezTo>
                    <a:cubicBezTo>
                      <a:pt x="17" y="161"/>
                      <a:pt x="18" y="159"/>
                      <a:pt x="20" y="157"/>
                    </a:cubicBezTo>
                    <a:cubicBezTo>
                      <a:pt x="157" y="19"/>
                      <a:pt x="157" y="19"/>
                      <a:pt x="157" y="19"/>
                    </a:cubicBezTo>
                    <a:cubicBezTo>
                      <a:pt x="159" y="17"/>
                      <a:pt x="162" y="17"/>
                      <a:pt x="163" y="17"/>
                    </a:cubicBezTo>
                    <a:cubicBezTo>
                      <a:pt x="164" y="17"/>
                      <a:pt x="167" y="17"/>
                      <a:pt x="168" y="19"/>
                    </a:cubicBezTo>
                    <a:cubicBezTo>
                      <a:pt x="306" y="157"/>
                      <a:pt x="306" y="157"/>
                      <a:pt x="306" y="157"/>
                    </a:cubicBezTo>
                    <a:cubicBezTo>
                      <a:pt x="308" y="159"/>
                      <a:pt x="309" y="161"/>
                      <a:pt x="309" y="163"/>
                    </a:cubicBezTo>
                    <a:cubicBezTo>
                      <a:pt x="309" y="164"/>
                      <a:pt x="308" y="166"/>
                      <a:pt x="306" y="16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106072" tIns="53034" rIns="106072" bIns="53034" numCol="1" anchor="t" anchorCtr="0" compatLnSpc="1">
                <a:prstTxWarp prst="textNoShape">
                  <a:avLst/>
                </a:prstTxWarp>
              </a:bodyPr>
              <a:lstStyle/>
              <a:p>
                <a:pPr defTabSz="1060737">
                  <a:defRPr/>
                </a:pPr>
                <a:endParaRPr lang="en-US" sz="2088" kern="0">
                  <a:solidFill>
                    <a:prstClr val="black"/>
                  </a:solidFill>
                  <a:latin typeface="Arial"/>
                </a:endParaRPr>
              </a:p>
            </p:txBody>
          </p:sp>
        </p:grpSp>
        <p:grpSp>
          <p:nvGrpSpPr>
            <p:cNvPr id="452" name="Group 37"/>
            <p:cNvGrpSpPr/>
            <p:nvPr/>
          </p:nvGrpSpPr>
          <p:grpSpPr>
            <a:xfrm>
              <a:off x="758945" y="928520"/>
              <a:ext cx="476130" cy="740410"/>
              <a:chOff x="1903412" y="1676400"/>
              <a:chExt cx="1776606" cy="2835299"/>
            </a:xfrm>
          </p:grpSpPr>
          <p:sp>
            <p:nvSpPr>
              <p:cNvPr id="453" name="Freeform 7"/>
              <p:cNvSpPr>
                <a:spLocks/>
              </p:cNvSpPr>
              <p:nvPr/>
            </p:nvSpPr>
            <p:spPr bwMode="auto">
              <a:xfrm>
                <a:off x="2239650" y="1690031"/>
                <a:ext cx="1114733" cy="2809552"/>
              </a:xfrm>
              <a:custGeom>
                <a:avLst/>
                <a:gdLst/>
                <a:ahLst/>
                <a:cxnLst>
                  <a:cxn ang="0">
                    <a:pos x="79" y="0"/>
                  </a:cxn>
                  <a:cxn ang="0">
                    <a:pos x="657" y="0"/>
                  </a:cxn>
                  <a:cxn ang="0">
                    <a:pos x="675" y="2"/>
                  </a:cxn>
                  <a:cxn ang="0">
                    <a:pos x="691" y="8"/>
                  </a:cxn>
                  <a:cxn ang="0">
                    <a:pos x="706" y="17"/>
                  </a:cxn>
                  <a:cxn ang="0">
                    <a:pos x="718" y="29"/>
                  </a:cxn>
                  <a:cxn ang="0">
                    <a:pos x="728" y="44"/>
                  </a:cxn>
                  <a:cxn ang="0">
                    <a:pos x="733" y="60"/>
                  </a:cxn>
                  <a:cxn ang="0">
                    <a:pos x="736" y="79"/>
                  </a:cxn>
                  <a:cxn ang="0">
                    <a:pos x="736" y="1776"/>
                  </a:cxn>
                  <a:cxn ang="0">
                    <a:pos x="733" y="1794"/>
                  </a:cxn>
                  <a:cxn ang="0">
                    <a:pos x="728" y="1811"/>
                  </a:cxn>
                  <a:cxn ang="0">
                    <a:pos x="718" y="1825"/>
                  </a:cxn>
                  <a:cxn ang="0">
                    <a:pos x="706" y="1838"/>
                  </a:cxn>
                  <a:cxn ang="0">
                    <a:pos x="691" y="1847"/>
                  </a:cxn>
                  <a:cxn ang="0">
                    <a:pos x="675" y="1853"/>
                  </a:cxn>
                  <a:cxn ang="0">
                    <a:pos x="657" y="1855"/>
                  </a:cxn>
                  <a:cxn ang="0">
                    <a:pos x="79" y="1855"/>
                  </a:cxn>
                  <a:cxn ang="0">
                    <a:pos x="61" y="1853"/>
                  </a:cxn>
                  <a:cxn ang="0">
                    <a:pos x="44" y="1847"/>
                  </a:cxn>
                  <a:cxn ang="0">
                    <a:pos x="30" y="1838"/>
                  </a:cxn>
                  <a:cxn ang="0">
                    <a:pos x="17" y="1825"/>
                  </a:cxn>
                  <a:cxn ang="0">
                    <a:pos x="8" y="1811"/>
                  </a:cxn>
                  <a:cxn ang="0">
                    <a:pos x="2" y="1794"/>
                  </a:cxn>
                  <a:cxn ang="0">
                    <a:pos x="0" y="1776"/>
                  </a:cxn>
                  <a:cxn ang="0">
                    <a:pos x="0" y="79"/>
                  </a:cxn>
                  <a:cxn ang="0">
                    <a:pos x="2" y="60"/>
                  </a:cxn>
                  <a:cxn ang="0">
                    <a:pos x="8" y="44"/>
                  </a:cxn>
                  <a:cxn ang="0">
                    <a:pos x="17" y="29"/>
                  </a:cxn>
                  <a:cxn ang="0">
                    <a:pos x="30" y="17"/>
                  </a:cxn>
                  <a:cxn ang="0">
                    <a:pos x="44" y="8"/>
                  </a:cxn>
                  <a:cxn ang="0">
                    <a:pos x="61" y="2"/>
                  </a:cxn>
                  <a:cxn ang="0">
                    <a:pos x="79" y="0"/>
                  </a:cxn>
                </a:cxnLst>
                <a:rect l="0" t="0" r="r" b="b"/>
                <a:pathLst>
                  <a:path w="736" h="1855">
                    <a:moveTo>
                      <a:pt x="79" y="0"/>
                    </a:moveTo>
                    <a:lnTo>
                      <a:pt x="657" y="0"/>
                    </a:lnTo>
                    <a:lnTo>
                      <a:pt x="675" y="2"/>
                    </a:lnTo>
                    <a:lnTo>
                      <a:pt x="691" y="8"/>
                    </a:lnTo>
                    <a:lnTo>
                      <a:pt x="706" y="17"/>
                    </a:lnTo>
                    <a:lnTo>
                      <a:pt x="718" y="29"/>
                    </a:lnTo>
                    <a:lnTo>
                      <a:pt x="728" y="44"/>
                    </a:lnTo>
                    <a:lnTo>
                      <a:pt x="733" y="60"/>
                    </a:lnTo>
                    <a:lnTo>
                      <a:pt x="736" y="79"/>
                    </a:lnTo>
                    <a:lnTo>
                      <a:pt x="736" y="1776"/>
                    </a:lnTo>
                    <a:lnTo>
                      <a:pt x="733" y="1794"/>
                    </a:lnTo>
                    <a:lnTo>
                      <a:pt x="728" y="1811"/>
                    </a:lnTo>
                    <a:lnTo>
                      <a:pt x="718" y="1825"/>
                    </a:lnTo>
                    <a:lnTo>
                      <a:pt x="706" y="1838"/>
                    </a:lnTo>
                    <a:lnTo>
                      <a:pt x="691" y="1847"/>
                    </a:lnTo>
                    <a:lnTo>
                      <a:pt x="675" y="1853"/>
                    </a:lnTo>
                    <a:lnTo>
                      <a:pt x="657" y="1855"/>
                    </a:lnTo>
                    <a:lnTo>
                      <a:pt x="79" y="1855"/>
                    </a:lnTo>
                    <a:lnTo>
                      <a:pt x="61" y="1853"/>
                    </a:lnTo>
                    <a:lnTo>
                      <a:pt x="44" y="1847"/>
                    </a:lnTo>
                    <a:lnTo>
                      <a:pt x="30" y="1838"/>
                    </a:lnTo>
                    <a:lnTo>
                      <a:pt x="17" y="1825"/>
                    </a:lnTo>
                    <a:lnTo>
                      <a:pt x="8" y="1811"/>
                    </a:lnTo>
                    <a:lnTo>
                      <a:pt x="2" y="1794"/>
                    </a:lnTo>
                    <a:lnTo>
                      <a:pt x="0" y="1776"/>
                    </a:lnTo>
                    <a:lnTo>
                      <a:pt x="0" y="79"/>
                    </a:lnTo>
                    <a:lnTo>
                      <a:pt x="2" y="60"/>
                    </a:lnTo>
                    <a:lnTo>
                      <a:pt x="8" y="44"/>
                    </a:lnTo>
                    <a:lnTo>
                      <a:pt x="17" y="29"/>
                    </a:lnTo>
                    <a:lnTo>
                      <a:pt x="30" y="17"/>
                    </a:lnTo>
                    <a:lnTo>
                      <a:pt x="44" y="8"/>
                    </a:lnTo>
                    <a:lnTo>
                      <a:pt x="61" y="2"/>
                    </a:lnTo>
                    <a:lnTo>
                      <a:pt x="79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95000"/>
                      <a:lumOff val="5000"/>
                    </a:schemeClr>
                  </a:gs>
                  <a:gs pos="100000">
                    <a:schemeClr val="tx1">
                      <a:lumMod val="75000"/>
                      <a:lumOff val="2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4" name="Freeform 8"/>
              <p:cNvSpPr>
                <a:spLocks noEditPoints="1"/>
              </p:cNvSpPr>
              <p:nvPr/>
            </p:nvSpPr>
            <p:spPr bwMode="auto">
              <a:xfrm>
                <a:off x="2226018" y="1676400"/>
                <a:ext cx="1140482" cy="2835299"/>
              </a:xfrm>
              <a:custGeom>
                <a:avLst/>
                <a:gdLst/>
                <a:ahLst/>
                <a:cxnLst>
                  <a:cxn ang="0">
                    <a:pos x="72" y="19"/>
                  </a:cxn>
                  <a:cxn ang="0">
                    <a:pos x="44" y="33"/>
                  </a:cxn>
                  <a:cxn ang="0">
                    <a:pos x="25" y="56"/>
                  </a:cxn>
                  <a:cxn ang="0">
                    <a:pos x="18" y="88"/>
                  </a:cxn>
                  <a:cxn ang="0">
                    <a:pos x="20" y="1801"/>
                  </a:cxn>
                  <a:cxn ang="0">
                    <a:pos x="33" y="1829"/>
                  </a:cxn>
                  <a:cxn ang="0">
                    <a:pos x="57" y="1848"/>
                  </a:cxn>
                  <a:cxn ang="0">
                    <a:pos x="88" y="1855"/>
                  </a:cxn>
                  <a:cxn ang="0">
                    <a:pos x="682" y="1853"/>
                  </a:cxn>
                  <a:cxn ang="0">
                    <a:pos x="709" y="1840"/>
                  </a:cxn>
                  <a:cxn ang="0">
                    <a:pos x="729" y="1816"/>
                  </a:cxn>
                  <a:cxn ang="0">
                    <a:pos x="735" y="1785"/>
                  </a:cxn>
                  <a:cxn ang="0">
                    <a:pos x="734" y="72"/>
                  </a:cxn>
                  <a:cxn ang="0">
                    <a:pos x="720" y="44"/>
                  </a:cxn>
                  <a:cxn ang="0">
                    <a:pos x="697" y="25"/>
                  </a:cxn>
                  <a:cxn ang="0">
                    <a:pos x="666" y="18"/>
                  </a:cxn>
                  <a:cxn ang="0">
                    <a:pos x="88" y="0"/>
                  </a:cxn>
                  <a:cxn ang="0">
                    <a:pos x="686" y="3"/>
                  </a:cxn>
                  <a:cxn ang="0">
                    <a:pos x="720" y="19"/>
                  </a:cxn>
                  <a:cxn ang="0">
                    <a:pos x="744" y="49"/>
                  </a:cxn>
                  <a:cxn ang="0">
                    <a:pos x="753" y="88"/>
                  </a:cxn>
                  <a:cxn ang="0">
                    <a:pos x="751" y="1805"/>
                  </a:cxn>
                  <a:cxn ang="0">
                    <a:pos x="734" y="1840"/>
                  </a:cxn>
                  <a:cxn ang="0">
                    <a:pos x="704" y="1863"/>
                  </a:cxn>
                  <a:cxn ang="0">
                    <a:pos x="666" y="1872"/>
                  </a:cxn>
                  <a:cxn ang="0">
                    <a:pos x="68" y="1870"/>
                  </a:cxn>
                  <a:cxn ang="0">
                    <a:pos x="33" y="1853"/>
                  </a:cxn>
                  <a:cxn ang="0">
                    <a:pos x="10" y="1824"/>
                  </a:cxn>
                  <a:cxn ang="0">
                    <a:pos x="0" y="1785"/>
                  </a:cxn>
                  <a:cxn ang="0">
                    <a:pos x="3" y="67"/>
                  </a:cxn>
                  <a:cxn ang="0">
                    <a:pos x="20" y="33"/>
                  </a:cxn>
                  <a:cxn ang="0">
                    <a:pos x="50" y="9"/>
                  </a:cxn>
                  <a:cxn ang="0">
                    <a:pos x="88" y="0"/>
                  </a:cxn>
                </a:cxnLst>
                <a:rect l="0" t="0" r="r" b="b"/>
                <a:pathLst>
                  <a:path w="753" h="1872">
                    <a:moveTo>
                      <a:pt x="88" y="18"/>
                    </a:moveTo>
                    <a:lnTo>
                      <a:pt x="72" y="19"/>
                    </a:lnTo>
                    <a:lnTo>
                      <a:pt x="57" y="25"/>
                    </a:lnTo>
                    <a:lnTo>
                      <a:pt x="44" y="33"/>
                    </a:lnTo>
                    <a:lnTo>
                      <a:pt x="33" y="44"/>
                    </a:lnTo>
                    <a:lnTo>
                      <a:pt x="25" y="56"/>
                    </a:lnTo>
                    <a:lnTo>
                      <a:pt x="20" y="72"/>
                    </a:lnTo>
                    <a:lnTo>
                      <a:pt x="18" y="88"/>
                    </a:lnTo>
                    <a:lnTo>
                      <a:pt x="18" y="1785"/>
                    </a:lnTo>
                    <a:lnTo>
                      <a:pt x="20" y="1801"/>
                    </a:lnTo>
                    <a:lnTo>
                      <a:pt x="25" y="1816"/>
                    </a:lnTo>
                    <a:lnTo>
                      <a:pt x="33" y="1829"/>
                    </a:lnTo>
                    <a:lnTo>
                      <a:pt x="44" y="1840"/>
                    </a:lnTo>
                    <a:lnTo>
                      <a:pt x="57" y="1848"/>
                    </a:lnTo>
                    <a:lnTo>
                      <a:pt x="72" y="1853"/>
                    </a:lnTo>
                    <a:lnTo>
                      <a:pt x="88" y="1855"/>
                    </a:lnTo>
                    <a:lnTo>
                      <a:pt x="666" y="1855"/>
                    </a:lnTo>
                    <a:lnTo>
                      <a:pt x="682" y="1853"/>
                    </a:lnTo>
                    <a:lnTo>
                      <a:pt x="697" y="1848"/>
                    </a:lnTo>
                    <a:lnTo>
                      <a:pt x="709" y="1840"/>
                    </a:lnTo>
                    <a:lnTo>
                      <a:pt x="720" y="1829"/>
                    </a:lnTo>
                    <a:lnTo>
                      <a:pt x="729" y="1816"/>
                    </a:lnTo>
                    <a:lnTo>
                      <a:pt x="734" y="1801"/>
                    </a:lnTo>
                    <a:lnTo>
                      <a:pt x="735" y="1785"/>
                    </a:lnTo>
                    <a:lnTo>
                      <a:pt x="735" y="88"/>
                    </a:lnTo>
                    <a:lnTo>
                      <a:pt x="734" y="72"/>
                    </a:lnTo>
                    <a:lnTo>
                      <a:pt x="729" y="56"/>
                    </a:lnTo>
                    <a:lnTo>
                      <a:pt x="720" y="44"/>
                    </a:lnTo>
                    <a:lnTo>
                      <a:pt x="709" y="33"/>
                    </a:lnTo>
                    <a:lnTo>
                      <a:pt x="697" y="25"/>
                    </a:lnTo>
                    <a:lnTo>
                      <a:pt x="682" y="19"/>
                    </a:lnTo>
                    <a:lnTo>
                      <a:pt x="666" y="18"/>
                    </a:lnTo>
                    <a:lnTo>
                      <a:pt x="88" y="18"/>
                    </a:lnTo>
                    <a:close/>
                    <a:moveTo>
                      <a:pt x="88" y="0"/>
                    </a:moveTo>
                    <a:lnTo>
                      <a:pt x="666" y="0"/>
                    </a:lnTo>
                    <a:lnTo>
                      <a:pt x="686" y="3"/>
                    </a:lnTo>
                    <a:lnTo>
                      <a:pt x="704" y="9"/>
                    </a:lnTo>
                    <a:lnTo>
                      <a:pt x="720" y="19"/>
                    </a:lnTo>
                    <a:lnTo>
                      <a:pt x="734" y="33"/>
                    </a:lnTo>
                    <a:lnTo>
                      <a:pt x="744" y="49"/>
                    </a:lnTo>
                    <a:lnTo>
                      <a:pt x="751" y="67"/>
                    </a:lnTo>
                    <a:lnTo>
                      <a:pt x="753" y="88"/>
                    </a:lnTo>
                    <a:lnTo>
                      <a:pt x="753" y="1785"/>
                    </a:lnTo>
                    <a:lnTo>
                      <a:pt x="751" y="1805"/>
                    </a:lnTo>
                    <a:lnTo>
                      <a:pt x="744" y="1824"/>
                    </a:lnTo>
                    <a:lnTo>
                      <a:pt x="734" y="1840"/>
                    </a:lnTo>
                    <a:lnTo>
                      <a:pt x="720" y="1853"/>
                    </a:lnTo>
                    <a:lnTo>
                      <a:pt x="704" y="1863"/>
                    </a:lnTo>
                    <a:lnTo>
                      <a:pt x="686" y="1870"/>
                    </a:lnTo>
                    <a:lnTo>
                      <a:pt x="666" y="1872"/>
                    </a:lnTo>
                    <a:lnTo>
                      <a:pt x="88" y="1872"/>
                    </a:lnTo>
                    <a:lnTo>
                      <a:pt x="68" y="1870"/>
                    </a:lnTo>
                    <a:lnTo>
                      <a:pt x="50" y="1863"/>
                    </a:lnTo>
                    <a:lnTo>
                      <a:pt x="33" y="1853"/>
                    </a:lnTo>
                    <a:lnTo>
                      <a:pt x="20" y="1840"/>
                    </a:lnTo>
                    <a:lnTo>
                      <a:pt x="10" y="1824"/>
                    </a:lnTo>
                    <a:lnTo>
                      <a:pt x="3" y="1805"/>
                    </a:lnTo>
                    <a:lnTo>
                      <a:pt x="0" y="1785"/>
                    </a:lnTo>
                    <a:lnTo>
                      <a:pt x="0" y="88"/>
                    </a:lnTo>
                    <a:lnTo>
                      <a:pt x="3" y="67"/>
                    </a:lnTo>
                    <a:lnTo>
                      <a:pt x="10" y="49"/>
                    </a:lnTo>
                    <a:lnTo>
                      <a:pt x="20" y="33"/>
                    </a:lnTo>
                    <a:lnTo>
                      <a:pt x="33" y="19"/>
                    </a:lnTo>
                    <a:lnTo>
                      <a:pt x="50" y="9"/>
                    </a:lnTo>
                    <a:lnTo>
                      <a:pt x="68" y="3"/>
                    </a:lnTo>
                    <a:lnTo>
                      <a:pt x="88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  <a:shade val="30000"/>
                      <a:satMod val="115000"/>
                    </a:schemeClr>
                  </a:gs>
                  <a:gs pos="50000">
                    <a:schemeClr val="tx1">
                      <a:lumMod val="75000"/>
                      <a:lumOff val="25000"/>
                      <a:shade val="67500"/>
                      <a:satMod val="115000"/>
                    </a:schemeClr>
                  </a:gs>
                  <a:gs pos="100000">
                    <a:schemeClr val="tx1">
                      <a:lumMod val="75000"/>
                      <a:lumOff val="2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5" name="Freeform 24"/>
              <p:cNvSpPr>
                <a:spLocks/>
              </p:cNvSpPr>
              <p:nvPr/>
            </p:nvSpPr>
            <p:spPr bwMode="auto">
              <a:xfrm>
                <a:off x="1903412" y="1853606"/>
                <a:ext cx="322607" cy="75880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3" y="0"/>
                  </a:cxn>
                  <a:cxn ang="0">
                    <a:pos x="213" y="501"/>
                  </a:cxn>
                  <a:cxn ang="0">
                    <a:pos x="163" y="501"/>
                  </a:cxn>
                  <a:cxn ang="0">
                    <a:pos x="163" y="250"/>
                  </a:cxn>
                  <a:cxn ang="0">
                    <a:pos x="0" y="0"/>
                  </a:cxn>
                </a:cxnLst>
                <a:rect l="0" t="0" r="r" b="b"/>
                <a:pathLst>
                  <a:path w="213" h="501">
                    <a:moveTo>
                      <a:pt x="0" y="0"/>
                    </a:moveTo>
                    <a:lnTo>
                      <a:pt x="213" y="0"/>
                    </a:lnTo>
                    <a:lnTo>
                      <a:pt x="213" y="501"/>
                    </a:lnTo>
                    <a:lnTo>
                      <a:pt x="163" y="501"/>
                    </a:lnTo>
                    <a:lnTo>
                      <a:pt x="163" y="25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6" name="Freeform 25"/>
              <p:cNvSpPr>
                <a:spLocks/>
              </p:cNvSpPr>
              <p:nvPr/>
            </p:nvSpPr>
            <p:spPr bwMode="auto">
              <a:xfrm>
                <a:off x="1903412" y="2724491"/>
                <a:ext cx="322607" cy="75880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3" y="0"/>
                  </a:cxn>
                  <a:cxn ang="0">
                    <a:pos x="213" y="501"/>
                  </a:cxn>
                  <a:cxn ang="0">
                    <a:pos x="163" y="501"/>
                  </a:cxn>
                  <a:cxn ang="0">
                    <a:pos x="163" y="250"/>
                  </a:cxn>
                  <a:cxn ang="0">
                    <a:pos x="0" y="0"/>
                  </a:cxn>
                </a:cxnLst>
                <a:rect l="0" t="0" r="r" b="b"/>
                <a:pathLst>
                  <a:path w="213" h="501">
                    <a:moveTo>
                      <a:pt x="0" y="0"/>
                    </a:moveTo>
                    <a:lnTo>
                      <a:pt x="213" y="0"/>
                    </a:lnTo>
                    <a:lnTo>
                      <a:pt x="213" y="501"/>
                    </a:lnTo>
                    <a:lnTo>
                      <a:pt x="163" y="501"/>
                    </a:lnTo>
                    <a:lnTo>
                      <a:pt x="163" y="25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7" name="Freeform 26"/>
              <p:cNvSpPr>
                <a:spLocks/>
              </p:cNvSpPr>
              <p:nvPr/>
            </p:nvSpPr>
            <p:spPr bwMode="auto">
              <a:xfrm>
                <a:off x="1903412" y="3554483"/>
                <a:ext cx="322607" cy="75729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3" y="0"/>
                  </a:cxn>
                  <a:cxn ang="0">
                    <a:pos x="213" y="500"/>
                  </a:cxn>
                  <a:cxn ang="0">
                    <a:pos x="163" y="500"/>
                  </a:cxn>
                  <a:cxn ang="0">
                    <a:pos x="163" y="250"/>
                  </a:cxn>
                  <a:cxn ang="0">
                    <a:pos x="0" y="0"/>
                  </a:cxn>
                </a:cxnLst>
                <a:rect l="0" t="0" r="r" b="b"/>
                <a:pathLst>
                  <a:path w="213" h="500">
                    <a:moveTo>
                      <a:pt x="0" y="0"/>
                    </a:moveTo>
                    <a:lnTo>
                      <a:pt x="213" y="0"/>
                    </a:lnTo>
                    <a:lnTo>
                      <a:pt x="213" y="500"/>
                    </a:lnTo>
                    <a:lnTo>
                      <a:pt x="163" y="500"/>
                    </a:lnTo>
                    <a:lnTo>
                      <a:pt x="163" y="25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8" name="Freeform 27"/>
              <p:cNvSpPr>
                <a:spLocks/>
              </p:cNvSpPr>
              <p:nvPr/>
            </p:nvSpPr>
            <p:spPr bwMode="auto">
              <a:xfrm>
                <a:off x="3358926" y="1853606"/>
                <a:ext cx="321092" cy="75880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2" y="0"/>
                  </a:cxn>
                  <a:cxn ang="0">
                    <a:pos x="50" y="250"/>
                  </a:cxn>
                  <a:cxn ang="0">
                    <a:pos x="50" y="501"/>
                  </a:cxn>
                  <a:cxn ang="0">
                    <a:pos x="0" y="501"/>
                  </a:cxn>
                  <a:cxn ang="0">
                    <a:pos x="0" y="0"/>
                  </a:cxn>
                </a:cxnLst>
                <a:rect l="0" t="0" r="r" b="b"/>
                <a:pathLst>
                  <a:path w="212" h="501">
                    <a:moveTo>
                      <a:pt x="0" y="0"/>
                    </a:moveTo>
                    <a:lnTo>
                      <a:pt x="212" y="0"/>
                    </a:lnTo>
                    <a:lnTo>
                      <a:pt x="50" y="250"/>
                    </a:lnTo>
                    <a:lnTo>
                      <a:pt x="50" y="501"/>
                    </a:lnTo>
                    <a:lnTo>
                      <a:pt x="0" y="501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9" name="Freeform 28"/>
              <p:cNvSpPr>
                <a:spLocks/>
              </p:cNvSpPr>
              <p:nvPr/>
            </p:nvSpPr>
            <p:spPr bwMode="auto">
              <a:xfrm>
                <a:off x="3358926" y="2724491"/>
                <a:ext cx="321092" cy="75880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2" y="0"/>
                  </a:cxn>
                  <a:cxn ang="0">
                    <a:pos x="50" y="250"/>
                  </a:cxn>
                  <a:cxn ang="0">
                    <a:pos x="50" y="501"/>
                  </a:cxn>
                  <a:cxn ang="0">
                    <a:pos x="0" y="501"/>
                  </a:cxn>
                  <a:cxn ang="0">
                    <a:pos x="0" y="0"/>
                  </a:cxn>
                </a:cxnLst>
                <a:rect l="0" t="0" r="r" b="b"/>
                <a:pathLst>
                  <a:path w="212" h="501">
                    <a:moveTo>
                      <a:pt x="0" y="0"/>
                    </a:moveTo>
                    <a:lnTo>
                      <a:pt x="212" y="0"/>
                    </a:lnTo>
                    <a:lnTo>
                      <a:pt x="50" y="250"/>
                    </a:lnTo>
                    <a:lnTo>
                      <a:pt x="50" y="501"/>
                    </a:lnTo>
                    <a:lnTo>
                      <a:pt x="0" y="501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60" name="Freeform 29"/>
              <p:cNvSpPr>
                <a:spLocks/>
              </p:cNvSpPr>
              <p:nvPr/>
            </p:nvSpPr>
            <p:spPr bwMode="auto">
              <a:xfrm>
                <a:off x="3358926" y="3554483"/>
                <a:ext cx="321092" cy="75729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2" y="0"/>
                  </a:cxn>
                  <a:cxn ang="0">
                    <a:pos x="50" y="250"/>
                  </a:cxn>
                  <a:cxn ang="0">
                    <a:pos x="50" y="500"/>
                  </a:cxn>
                  <a:cxn ang="0">
                    <a:pos x="0" y="500"/>
                  </a:cxn>
                  <a:cxn ang="0">
                    <a:pos x="0" y="0"/>
                  </a:cxn>
                </a:cxnLst>
                <a:rect l="0" t="0" r="r" b="b"/>
                <a:pathLst>
                  <a:path w="212" h="500">
                    <a:moveTo>
                      <a:pt x="0" y="0"/>
                    </a:moveTo>
                    <a:lnTo>
                      <a:pt x="212" y="0"/>
                    </a:lnTo>
                    <a:lnTo>
                      <a:pt x="50" y="250"/>
                    </a:lnTo>
                    <a:lnTo>
                      <a:pt x="50" y="500"/>
                    </a:lnTo>
                    <a:lnTo>
                      <a:pt x="0" y="50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grpSp>
            <p:nvGrpSpPr>
              <p:cNvPr id="461" name="Group 33"/>
              <p:cNvGrpSpPr/>
              <p:nvPr/>
            </p:nvGrpSpPr>
            <p:grpSpPr>
              <a:xfrm>
                <a:off x="2442604" y="1894500"/>
                <a:ext cx="708825" cy="707311"/>
                <a:chOff x="5722938" y="1676401"/>
                <a:chExt cx="742950" cy="741363"/>
              </a:xfrm>
              <a:effectLst>
                <a:outerShdw blurRad="38100" dist="63500" dir="2700000" algn="tl" rotWithShape="0">
                  <a:prstClr val="black">
                    <a:alpha val="99000"/>
                  </a:prstClr>
                </a:outerShdw>
              </a:effectLst>
            </p:grpSpPr>
            <p:sp>
              <p:nvSpPr>
                <p:cNvPr id="468" name="Freeform 17"/>
                <p:cNvSpPr>
                  <a:spLocks/>
                </p:cNvSpPr>
                <p:nvPr/>
              </p:nvSpPr>
              <p:spPr bwMode="auto">
                <a:xfrm>
                  <a:off x="5722938" y="1676401"/>
                  <a:ext cx="742950" cy="741363"/>
                </a:xfrm>
                <a:custGeom>
                  <a:avLst/>
                  <a:gdLst/>
                  <a:ahLst/>
                  <a:cxnLst>
                    <a:cxn ang="0">
                      <a:pos x="234" y="0"/>
                    </a:cxn>
                    <a:cxn ang="0">
                      <a:pos x="266" y="2"/>
                    </a:cxn>
                    <a:cxn ang="0">
                      <a:pos x="296" y="8"/>
                    </a:cxn>
                    <a:cxn ang="0">
                      <a:pos x="325" y="18"/>
                    </a:cxn>
                    <a:cxn ang="0">
                      <a:pos x="352" y="32"/>
                    </a:cxn>
                    <a:cxn ang="0">
                      <a:pos x="377" y="48"/>
                    </a:cxn>
                    <a:cxn ang="0">
                      <a:pos x="400" y="68"/>
                    </a:cxn>
                    <a:cxn ang="0">
                      <a:pos x="420" y="90"/>
                    </a:cxn>
                    <a:cxn ang="0">
                      <a:pos x="436" y="115"/>
                    </a:cxn>
                    <a:cxn ang="0">
                      <a:pos x="450" y="142"/>
                    </a:cxn>
                    <a:cxn ang="0">
                      <a:pos x="460" y="171"/>
                    </a:cxn>
                    <a:cxn ang="0">
                      <a:pos x="466" y="201"/>
                    </a:cxn>
                    <a:cxn ang="0">
                      <a:pos x="468" y="233"/>
                    </a:cxn>
                    <a:cxn ang="0">
                      <a:pos x="466" y="265"/>
                    </a:cxn>
                    <a:cxn ang="0">
                      <a:pos x="460" y="295"/>
                    </a:cxn>
                    <a:cxn ang="0">
                      <a:pos x="450" y="324"/>
                    </a:cxn>
                    <a:cxn ang="0">
                      <a:pos x="436" y="351"/>
                    </a:cxn>
                    <a:cxn ang="0">
                      <a:pos x="420" y="376"/>
                    </a:cxn>
                    <a:cxn ang="0">
                      <a:pos x="400" y="399"/>
                    </a:cxn>
                    <a:cxn ang="0">
                      <a:pos x="377" y="418"/>
                    </a:cxn>
                    <a:cxn ang="0">
                      <a:pos x="352" y="435"/>
                    </a:cxn>
                    <a:cxn ang="0">
                      <a:pos x="325" y="449"/>
                    </a:cxn>
                    <a:cxn ang="0">
                      <a:pos x="296" y="459"/>
                    </a:cxn>
                    <a:cxn ang="0">
                      <a:pos x="266" y="465"/>
                    </a:cxn>
                    <a:cxn ang="0">
                      <a:pos x="234" y="467"/>
                    </a:cxn>
                    <a:cxn ang="0">
                      <a:pos x="202" y="465"/>
                    </a:cxn>
                    <a:cxn ang="0">
                      <a:pos x="171" y="459"/>
                    </a:cxn>
                    <a:cxn ang="0">
                      <a:pos x="142" y="449"/>
                    </a:cxn>
                    <a:cxn ang="0">
                      <a:pos x="116" y="435"/>
                    </a:cxn>
                    <a:cxn ang="0">
                      <a:pos x="91" y="418"/>
                    </a:cxn>
                    <a:cxn ang="0">
                      <a:pos x="68" y="399"/>
                    </a:cxn>
                    <a:cxn ang="0">
                      <a:pos x="49" y="376"/>
                    </a:cxn>
                    <a:cxn ang="0">
                      <a:pos x="32" y="351"/>
                    </a:cxn>
                    <a:cxn ang="0">
                      <a:pos x="18" y="324"/>
                    </a:cxn>
                    <a:cxn ang="0">
                      <a:pos x="8" y="295"/>
                    </a:cxn>
                    <a:cxn ang="0">
                      <a:pos x="2" y="265"/>
                    </a:cxn>
                    <a:cxn ang="0">
                      <a:pos x="0" y="233"/>
                    </a:cxn>
                    <a:cxn ang="0">
                      <a:pos x="2" y="201"/>
                    </a:cxn>
                    <a:cxn ang="0">
                      <a:pos x="8" y="171"/>
                    </a:cxn>
                    <a:cxn ang="0">
                      <a:pos x="18" y="142"/>
                    </a:cxn>
                    <a:cxn ang="0">
                      <a:pos x="32" y="115"/>
                    </a:cxn>
                    <a:cxn ang="0">
                      <a:pos x="49" y="90"/>
                    </a:cxn>
                    <a:cxn ang="0">
                      <a:pos x="68" y="68"/>
                    </a:cxn>
                    <a:cxn ang="0">
                      <a:pos x="91" y="48"/>
                    </a:cxn>
                    <a:cxn ang="0">
                      <a:pos x="116" y="32"/>
                    </a:cxn>
                    <a:cxn ang="0">
                      <a:pos x="142" y="18"/>
                    </a:cxn>
                    <a:cxn ang="0">
                      <a:pos x="171" y="8"/>
                    </a:cxn>
                    <a:cxn ang="0">
                      <a:pos x="202" y="2"/>
                    </a:cxn>
                    <a:cxn ang="0">
                      <a:pos x="234" y="0"/>
                    </a:cxn>
                  </a:cxnLst>
                  <a:rect l="0" t="0" r="r" b="b"/>
                  <a:pathLst>
                    <a:path w="468" h="467">
                      <a:moveTo>
                        <a:pt x="234" y="0"/>
                      </a:moveTo>
                      <a:lnTo>
                        <a:pt x="266" y="2"/>
                      </a:lnTo>
                      <a:lnTo>
                        <a:pt x="296" y="8"/>
                      </a:lnTo>
                      <a:lnTo>
                        <a:pt x="325" y="18"/>
                      </a:lnTo>
                      <a:lnTo>
                        <a:pt x="352" y="32"/>
                      </a:lnTo>
                      <a:lnTo>
                        <a:pt x="377" y="48"/>
                      </a:lnTo>
                      <a:lnTo>
                        <a:pt x="400" y="68"/>
                      </a:lnTo>
                      <a:lnTo>
                        <a:pt x="420" y="90"/>
                      </a:lnTo>
                      <a:lnTo>
                        <a:pt x="436" y="115"/>
                      </a:lnTo>
                      <a:lnTo>
                        <a:pt x="450" y="142"/>
                      </a:lnTo>
                      <a:lnTo>
                        <a:pt x="460" y="171"/>
                      </a:lnTo>
                      <a:lnTo>
                        <a:pt x="466" y="201"/>
                      </a:lnTo>
                      <a:lnTo>
                        <a:pt x="468" y="233"/>
                      </a:lnTo>
                      <a:lnTo>
                        <a:pt x="466" y="265"/>
                      </a:lnTo>
                      <a:lnTo>
                        <a:pt x="460" y="295"/>
                      </a:lnTo>
                      <a:lnTo>
                        <a:pt x="450" y="324"/>
                      </a:lnTo>
                      <a:lnTo>
                        <a:pt x="436" y="351"/>
                      </a:lnTo>
                      <a:lnTo>
                        <a:pt x="420" y="376"/>
                      </a:lnTo>
                      <a:lnTo>
                        <a:pt x="400" y="399"/>
                      </a:lnTo>
                      <a:lnTo>
                        <a:pt x="377" y="418"/>
                      </a:lnTo>
                      <a:lnTo>
                        <a:pt x="352" y="435"/>
                      </a:lnTo>
                      <a:lnTo>
                        <a:pt x="325" y="449"/>
                      </a:lnTo>
                      <a:lnTo>
                        <a:pt x="296" y="459"/>
                      </a:lnTo>
                      <a:lnTo>
                        <a:pt x="266" y="465"/>
                      </a:lnTo>
                      <a:lnTo>
                        <a:pt x="234" y="467"/>
                      </a:lnTo>
                      <a:lnTo>
                        <a:pt x="202" y="465"/>
                      </a:lnTo>
                      <a:lnTo>
                        <a:pt x="171" y="459"/>
                      </a:lnTo>
                      <a:lnTo>
                        <a:pt x="142" y="449"/>
                      </a:lnTo>
                      <a:lnTo>
                        <a:pt x="116" y="435"/>
                      </a:lnTo>
                      <a:lnTo>
                        <a:pt x="91" y="418"/>
                      </a:lnTo>
                      <a:lnTo>
                        <a:pt x="68" y="399"/>
                      </a:lnTo>
                      <a:lnTo>
                        <a:pt x="49" y="376"/>
                      </a:lnTo>
                      <a:lnTo>
                        <a:pt x="32" y="351"/>
                      </a:lnTo>
                      <a:lnTo>
                        <a:pt x="18" y="324"/>
                      </a:lnTo>
                      <a:lnTo>
                        <a:pt x="8" y="295"/>
                      </a:lnTo>
                      <a:lnTo>
                        <a:pt x="2" y="265"/>
                      </a:lnTo>
                      <a:lnTo>
                        <a:pt x="0" y="233"/>
                      </a:lnTo>
                      <a:lnTo>
                        <a:pt x="2" y="201"/>
                      </a:lnTo>
                      <a:lnTo>
                        <a:pt x="8" y="171"/>
                      </a:lnTo>
                      <a:lnTo>
                        <a:pt x="18" y="142"/>
                      </a:lnTo>
                      <a:lnTo>
                        <a:pt x="32" y="115"/>
                      </a:lnTo>
                      <a:lnTo>
                        <a:pt x="49" y="90"/>
                      </a:lnTo>
                      <a:lnTo>
                        <a:pt x="68" y="68"/>
                      </a:lnTo>
                      <a:lnTo>
                        <a:pt x="91" y="48"/>
                      </a:lnTo>
                      <a:lnTo>
                        <a:pt x="116" y="32"/>
                      </a:lnTo>
                      <a:lnTo>
                        <a:pt x="142" y="18"/>
                      </a:lnTo>
                      <a:lnTo>
                        <a:pt x="171" y="8"/>
                      </a:lnTo>
                      <a:lnTo>
                        <a:pt x="202" y="2"/>
                      </a:lnTo>
                      <a:lnTo>
                        <a:pt x="234" y="0"/>
                      </a:lnTo>
                      <a:close/>
                    </a:path>
                  </a:pathLst>
                </a:custGeom>
                <a:noFill/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128302" tIns="64151" rIns="128302" bIns="6415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710448"/>
                  <a:endParaRPr lang="en-US" sz="3368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469" name="Freeform 18"/>
                <p:cNvSpPr>
                  <a:spLocks/>
                </p:cNvSpPr>
                <p:nvPr/>
              </p:nvSpPr>
              <p:spPr bwMode="auto">
                <a:xfrm>
                  <a:off x="5746750" y="2032001"/>
                  <a:ext cx="695325" cy="36036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" y="31"/>
                    </a:cxn>
                    <a:cxn ang="0">
                      <a:pos x="12" y="61"/>
                    </a:cxn>
                    <a:cxn ang="0">
                      <a:pos x="23" y="89"/>
                    </a:cxn>
                    <a:cxn ang="0">
                      <a:pos x="38" y="115"/>
                    </a:cxn>
                    <a:cxn ang="0">
                      <a:pos x="56" y="138"/>
                    </a:cxn>
                    <a:cxn ang="0">
                      <a:pos x="78" y="159"/>
                    </a:cxn>
                    <a:cxn ang="0">
                      <a:pos x="102" y="176"/>
                    </a:cxn>
                    <a:cxn ang="0">
                      <a:pos x="128" y="190"/>
                    </a:cxn>
                    <a:cxn ang="0">
                      <a:pos x="157" y="200"/>
                    </a:cxn>
                    <a:cxn ang="0">
                      <a:pos x="187" y="207"/>
                    </a:cxn>
                    <a:cxn ang="0">
                      <a:pos x="219" y="209"/>
                    </a:cxn>
                    <a:cxn ang="0">
                      <a:pos x="250" y="207"/>
                    </a:cxn>
                    <a:cxn ang="0">
                      <a:pos x="280" y="200"/>
                    </a:cxn>
                    <a:cxn ang="0">
                      <a:pos x="309" y="190"/>
                    </a:cxn>
                    <a:cxn ang="0">
                      <a:pos x="335" y="176"/>
                    </a:cxn>
                    <a:cxn ang="0">
                      <a:pos x="360" y="159"/>
                    </a:cxn>
                    <a:cxn ang="0">
                      <a:pos x="381" y="138"/>
                    </a:cxn>
                    <a:cxn ang="0">
                      <a:pos x="399" y="115"/>
                    </a:cxn>
                    <a:cxn ang="0">
                      <a:pos x="414" y="89"/>
                    </a:cxn>
                    <a:cxn ang="0">
                      <a:pos x="426" y="61"/>
                    </a:cxn>
                    <a:cxn ang="0">
                      <a:pos x="433" y="31"/>
                    </a:cxn>
                    <a:cxn ang="0">
                      <a:pos x="437" y="0"/>
                    </a:cxn>
                    <a:cxn ang="0">
                      <a:pos x="437" y="3"/>
                    </a:cxn>
                    <a:cxn ang="0">
                      <a:pos x="438" y="6"/>
                    </a:cxn>
                    <a:cxn ang="0">
                      <a:pos x="438" y="8"/>
                    </a:cxn>
                    <a:cxn ang="0">
                      <a:pos x="436" y="41"/>
                    </a:cxn>
                    <a:cxn ang="0">
                      <a:pos x="429" y="71"/>
                    </a:cxn>
                    <a:cxn ang="0">
                      <a:pos x="417" y="100"/>
                    </a:cxn>
                    <a:cxn ang="0">
                      <a:pos x="403" y="127"/>
                    </a:cxn>
                    <a:cxn ang="0">
                      <a:pos x="384" y="152"/>
                    </a:cxn>
                    <a:cxn ang="0">
                      <a:pos x="363" y="173"/>
                    </a:cxn>
                    <a:cxn ang="0">
                      <a:pos x="338" y="192"/>
                    </a:cxn>
                    <a:cxn ang="0">
                      <a:pos x="311" y="206"/>
                    </a:cxn>
                    <a:cxn ang="0">
                      <a:pos x="282" y="218"/>
                    </a:cxn>
                    <a:cxn ang="0">
                      <a:pos x="251" y="225"/>
                    </a:cxn>
                    <a:cxn ang="0">
                      <a:pos x="219" y="227"/>
                    </a:cxn>
                    <a:cxn ang="0">
                      <a:pos x="186" y="225"/>
                    </a:cxn>
                    <a:cxn ang="0">
                      <a:pos x="155" y="218"/>
                    </a:cxn>
                    <a:cxn ang="0">
                      <a:pos x="127" y="206"/>
                    </a:cxn>
                    <a:cxn ang="0">
                      <a:pos x="100" y="192"/>
                    </a:cxn>
                    <a:cxn ang="0">
                      <a:pos x="76" y="173"/>
                    </a:cxn>
                    <a:cxn ang="0">
                      <a:pos x="53" y="152"/>
                    </a:cxn>
                    <a:cxn ang="0">
                      <a:pos x="35" y="127"/>
                    </a:cxn>
                    <a:cxn ang="0">
                      <a:pos x="21" y="100"/>
                    </a:cxn>
                    <a:cxn ang="0">
                      <a:pos x="9" y="71"/>
                    </a:cxn>
                    <a:cxn ang="0">
                      <a:pos x="2" y="41"/>
                    </a:cxn>
                    <a:cxn ang="0">
                      <a:pos x="0" y="8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38" h="227">
                      <a:moveTo>
                        <a:pt x="0" y="0"/>
                      </a:moveTo>
                      <a:lnTo>
                        <a:pt x="4" y="31"/>
                      </a:lnTo>
                      <a:lnTo>
                        <a:pt x="12" y="61"/>
                      </a:lnTo>
                      <a:lnTo>
                        <a:pt x="23" y="89"/>
                      </a:lnTo>
                      <a:lnTo>
                        <a:pt x="38" y="115"/>
                      </a:lnTo>
                      <a:lnTo>
                        <a:pt x="56" y="138"/>
                      </a:lnTo>
                      <a:lnTo>
                        <a:pt x="78" y="159"/>
                      </a:lnTo>
                      <a:lnTo>
                        <a:pt x="102" y="176"/>
                      </a:lnTo>
                      <a:lnTo>
                        <a:pt x="128" y="190"/>
                      </a:lnTo>
                      <a:lnTo>
                        <a:pt x="157" y="200"/>
                      </a:lnTo>
                      <a:lnTo>
                        <a:pt x="187" y="207"/>
                      </a:lnTo>
                      <a:lnTo>
                        <a:pt x="219" y="209"/>
                      </a:lnTo>
                      <a:lnTo>
                        <a:pt x="250" y="207"/>
                      </a:lnTo>
                      <a:lnTo>
                        <a:pt x="280" y="200"/>
                      </a:lnTo>
                      <a:lnTo>
                        <a:pt x="309" y="190"/>
                      </a:lnTo>
                      <a:lnTo>
                        <a:pt x="335" y="176"/>
                      </a:lnTo>
                      <a:lnTo>
                        <a:pt x="360" y="159"/>
                      </a:lnTo>
                      <a:lnTo>
                        <a:pt x="381" y="138"/>
                      </a:lnTo>
                      <a:lnTo>
                        <a:pt x="399" y="115"/>
                      </a:lnTo>
                      <a:lnTo>
                        <a:pt x="414" y="89"/>
                      </a:lnTo>
                      <a:lnTo>
                        <a:pt x="426" y="61"/>
                      </a:lnTo>
                      <a:lnTo>
                        <a:pt x="433" y="31"/>
                      </a:lnTo>
                      <a:lnTo>
                        <a:pt x="437" y="0"/>
                      </a:lnTo>
                      <a:lnTo>
                        <a:pt x="437" y="3"/>
                      </a:lnTo>
                      <a:lnTo>
                        <a:pt x="438" y="6"/>
                      </a:lnTo>
                      <a:lnTo>
                        <a:pt x="438" y="8"/>
                      </a:lnTo>
                      <a:lnTo>
                        <a:pt x="436" y="41"/>
                      </a:lnTo>
                      <a:lnTo>
                        <a:pt x="429" y="71"/>
                      </a:lnTo>
                      <a:lnTo>
                        <a:pt x="417" y="100"/>
                      </a:lnTo>
                      <a:lnTo>
                        <a:pt x="403" y="127"/>
                      </a:lnTo>
                      <a:lnTo>
                        <a:pt x="384" y="152"/>
                      </a:lnTo>
                      <a:lnTo>
                        <a:pt x="363" y="173"/>
                      </a:lnTo>
                      <a:lnTo>
                        <a:pt x="338" y="192"/>
                      </a:lnTo>
                      <a:lnTo>
                        <a:pt x="311" y="206"/>
                      </a:lnTo>
                      <a:lnTo>
                        <a:pt x="282" y="218"/>
                      </a:lnTo>
                      <a:lnTo>
                        <a:pt x="251" y="225"/>
                      </a:lnTo>
                      <a:lnTo>
                        <a:pt x="219" y="227"/>
                      </a:lnTo>
                      <a:lnTo>
                        <a:pt x="186" y="225"/>
                      </a:lnTo>
                      <a:lnTo>
                        <a:pt x="155" y="218"/>
                      </a:lnTo>
                      <a:lnTo>
                        <a:pt x="127" y="206"/>
                      </a:lnTo>
                      <a:lnTo>
                        <a:pt x="100" y="192"/>
                      </a:lnTo>
                      <a:lnTo>
                        <a:pt x="76" y="173"/>
                      </a:lnTo>
                      <a:lnTo>
                        <a:pt x="53" y="152"/>
                      </a:lnTo>
                      <a:lnTo>
                        <a:pt x="35" y="127"/>
                      </a:lnTo>
                      <a:lnTo>
                        <a:pt x="21" y="100"/>
                      </a:lnTo>
                      <a:lnTo>
                        <a:pt x="9" y="71"/>
                      </a:lnTo>
                      <a:lnTo>
                        <a:pt x="2" y="41"/>
                      </a:ln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>
                    <a:alpha val="33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128302" tIns="64151" rIns="128302" bIns="6415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710448"/>
                  <a:endParaRPr lang="en-US" sz="3368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462" name="Group 34"/>
              <p:cNvGrpSpPr/>
              <p:nvPr/>
            </p:nvGrpSpPr>
            <p:grpSpPr>
              <a:xfrm>
                <a:off x="2442609" y="1856926"/>
                <a:ext cx="708825" cy="1582447"/>
                <a:chOff x="5722936" y="1637019"/>
                <a:chExt cx="742949" cy="1658632"/>
              </a:xfrm>
              <a:effectLst>
                <a:outerShdw blurRad="38100" dist="63500" dir="2700000" algn="tl" rotWithShape="0">
                  <a:prstClr val="black">
                    <a:alpha val="99000"/>
                  </a:prstClr>
                </a:outerShdw>
              </a:effectLst>
            </p:grpSpPr>
            <p:sp>
              <p:nvSpPr>
                <p:cNvPr id="466" name="Freeform 13"/>
                <p:cNvSpPr>
                  <a:spLocks/>
                </p:cNvSpPr>
                <p:nvPr/>
              </p:nvSpPr>
              <p:spPr bwMode="auto">
                <a:xfrm>
                  <a:off x="5722936" y="1637019"/>
                  <a:ext cx="742949" cy="741360"/>
                </a:xfrm>
                <a:custGeom>
                  <a:avLst/>
                  <a:gdLst/>
                  <a:ahLst/>
                  <a:cxnLst>
                    <a:cxn ang="0">
                      <a:pos x="234" y="0"/>
                    </a:cxn>
                    <a:cxn ang="0">
                      <a:pos x="266" y="2"/>
                    </a:cxn>
                    <a:cxn ang="0">
                      <a:pos x="296" y="8"/>
                    </a:cxn>
                    <a:cxn ang="0">
                      <a:pos x="325" y="18"/>
                    </a:cxn>
                    <a:cxn ang="0">
                      <a:pos x="352" y="32"/>
                    </a:cxn>
                    <a:cxn ang="0">
                      <a:pos x="377" y="48"/>
                    </a:cxn>
                    <a:cxn ang="0">
                      <a:pos x="400" y="68"/>
                    </a:cxn>
                    <a:cxn ang="0">
                      <a:pos x="420" y="90"/>
                    </a:cxn>
                    <a:cxn ang="0">
                      <a:pos x="436" y="115"/>
                    </a:cxn>
                    <a:cxn ang="0">
                      <a:pos x="450" y="142"/>
                    </a:cxn>
                    <a:cxn ang="0">
                      <a:pos x="460" y="171"/>
                    </a:cxn>
                    <a:cxn ang="0">
                      <a:pos x="466" y="201"/>
                    </a:cxn>
                    <a:cxn ang="0">
                      <a:pos x="468" y="233"/>
                    </a:cxn>
                    <a:cxn ang="0">
                      <a:pos x="466" y="265"/>
                    </a:cxn>
                    <a:cxn ang="0">
                      <a:pos x="460" y="295"/>
                    </a:cxn>
                    <a:cxn ang="0">
                      <a:pos x="450" y="324"/>
                    </a:cxn>
                    <a:cxn ang="0">
                      <a:pos x="436" y="351"/>
                    </a:cxn>
                    <a:cxn ang="0">
                      <a:pos x="420" y="376"/>
                    </a:cxn>
                    <a:cxn ang="0">
                      <a:pos x="400" y="398"/>
                    </a:cxn>
                    <a:cxn ang="0">
                      <a:pos x="377" y="418"/>
                    </a:cxn>
                    <a:cxn ang="0">
                      <a:pos x="352" y="435"/>
                    </a:cxn>
                    <a:cxn ang="0">
                      <a:pos x="325" y="448"/>
                    </a:cxn>
                    <a:cxn ang="0">
                      <a:pos x="296" y="458"/>
                    </a:cxn>
                    <a:cxn ang="0">
                      <a:pos x="266" y="464"/>
                    </a:cxn>
                    <a:cxn ang="0">
                      <a:pos x="234" y="467"/>
                    </a:cxn>
                    <a:cxn ang="0">
                      <a:pos x="202" y="464"/>
                    </a:cxn>
                    <a:cxn ang="0">
                      <a:pos x="171" y="458"/>
                    </a:cxn>
                    <a:cxn ang="0">
                      <a:pos x="142" y="448"/>
                    </a:cxn>
                    <a:cxn ang="0">
                      <a:pos x="116" y="435"/>
                    </a:cxn>
                    <a:cxn ang="0">
                      <a:pos x="91" y="418"/>
                    </a:cxn>
                    <a:cxn ang="0">
                      <a:pos x="68" y="398"/>
                    </a:cxn>
                    <a:cxn ang="0">
                      <a:pos x="49" y="376"/>
                    </a:cxn>
                    <a:cxn ang="0">
                      <a:pos x="32" y="351"/>
                    </a:cxn>
                    <a:cxn ang="0">
                      <a:pos x="18" y="324"/>
                    </a:cxn>
                    <a:cxn ang="0">
                      <a:pos x="8" y="295"/>
                    </a:cxn>
                    <a:cxn ang="0">
                      <a:pos x="2" y="265"/>
                    </a:cxn>
                    <a:cxn ang="0">
                      <a:pos x="0" y="233"/>
                    </a:cxn>
                    <a:cxn ang="0">
                      <a:pos x="2" y="201"/>
                    </a:cxn>
                    <a:cxn ang="0">
                      <a:pos x="8" y="171"/>
                    </a:cxn>
                    <a:cxn ang="0">
                      <a:pos x="18" y="142"/>
                    </a:cxn>
                    <a:cxn ang="0">
                      <a:pos x="32" y="115"/>
                    </a:cxn>
                    <a:cxn ang="0">
                      <a:pos x="49" y="90"/>
                    </a:cxn>
                    <a:cxn ang="0">
                      <a:pos x="68" y="68"/>
                    </a:cxn>
                    <a:cxn ang="0">
                      <a:pos x="91" y="48"/>
                    </a:cxn>
                    <a:cxn ang="0">
                      <a:pos x="116" y="32"/>
                    </a:cxn>
                    <a:cxn ang="0">
                      <a:pos x="142" y="18"/>
                    </a:cxn>
                    <a:cxn ang="0">
                      <a:pos x="171" y="8"/>
                    </a:cxn>
                    <a:cxn ang="0">
                      <a:pos x="202" y="2"/>
                    </a:cxn>
                    <a:cxn ang="0">
                      <a:pos x="234" y="0"/>
                    </a:cxn>
                  </a:cxnLst>
                  <a:rect l="0" t="0" r="r" b="b"/>
                  <a:pathLst>
                    <a:path w="468" h="467">
                      <a:moveTo>
                        <a:pt x="234" y="0"/>
                      </a:moveTo>
                      <a:lnTo>
                        <a:pt x="266" y="2"/>
                      </a:lnTo>
                      <a:lnTo>
                        <a:pt x="296" y="8"/>
                      </a:lnTo>
                      <a:lnTo>
                        <a:pt x="325" y="18"/>
                      </a:lnTo>
                      <a:lnTo>
                        <a:pt x="352" y="32"/>
                      </a:lnTo>
                      <a:lnTo>
                        <a:pt x="377" y="48"/>
                      </a:lnTo>
                      <a:lnTo>
                        <a:pt x="400" y="68"/>
                      </a:lnTo>
                      <a:lnTo>
                        <a:pt x="420" y="90"/>
                      </a:lnTo>
                      <a:lnTo>
                        <a:pt x="436" y="115"/>
                      </a:lnTo>
                      <a:lnTo>
                        <a:pt x="450" y="142"/>
                      </a:lnTo>
                      <a:lnTo>
                        <a:pt x="460" y="171"/>
                      </a:lnTo>
                      <a:lnTo>
                        <a:pt x="466" y="201"/>
                      </a:lnTo>
                      <a:lnTo>
                        <a:pt x="468" y="233"/>
                      </a:lnTo>
                      <a:lnTo>
                        <a:pt x="466" y="265"/>
                      </a:lnTo>
                      <a:lnTo>
                        <a:pt x="460" y="295"/>
                      </a:lnTo>
                      <a:lnTo>
                        <a:pt x="450" y="324"/>
                      </a:lnTo>
                      <a:lnTo>
                        <a:pt x="436" y="351"/>
                      </a:lnTo>
                      <a:lnTo>
                        <a:pt x="420" y="376"/>
                      </a:lnTo>
                      <a:lnTo>
                        <a:pt x="400" y="398"/>
                      </a:lnTo>
                      <a:lnTo>
                        <a:pt x="377" y="418"/>
                      </a:lnTo>
                      <a:lnTo>
                        <a:pt x="352" y="435"/>
                      </a:lnTo>
                      <a:lnTo>
                        <a:pt x="325" y="448"/>
                      </a:lnTo>
                      <a:lnTo>
                        <a:pt x="296" y="458"/>
                      </a:lnTo>
                      <a:lnTo>
                        <a:pt x="266" y="464"/>
                      </a:lnTo>
                      <a:lnTo>
                        <a:pt x="234" y="467"/>
                      </a:lnTo>
                      <a:lnTo>
                        <a:pt x="202" y="464"/>
                      </a:lnTo>
                      <a:lnTo>
                        <a:pt x="171" y="458"/>
                      </a:lnTo>
                      <a:lnTo>
                        <a:pt x="142" y="448"/>
                      </a:lnTo>
                      <a:lnTo>
                        <a:pt x="116" y="435"/>
                      </a:lnTo>
                      <a:lnTo>
                        <a:pt x="91" y="418"/>
                      </a:lnTo>
                      <a:lnTo>
                        <a:pt x="68" y="398"/>
                      </a:lnTo>
                      <a:lnTo>
                        <a:pt x="49" y="376"/>
                      </a:lnTo>
                      <a:lnTo>
                        <a:pt x="32" y="351"/>
                      </a:lnTo>
                      <a:lnTo>
                        <a:pt x="18" y="324"/>
                      </a:lnTo>
                      <a:lnTo>
                        <a:pt x="8" y="295"/>
                      </a:lnTo>
                      <a:lnTo>
                        <a:pt x="2" y="265"/>
                      </a:lnTo>
                      <a:lnTo>
                        <a:pt x="0" y="233"/>
                      </a:lnTo>
                      <a:lnTo>
                        <a:pt x="2" y="201"/>
                      </a:lnTo>
                      <a:lnTo>
                        <a:pt x="8" y="171"/>
                      </a:lnTo>
                      <a:lnTo>
                        <a:pt x="18" y="142"/>
                      </a:lnTo>
                      <a:lnTo>
                        <a:pt x="32" y="115"/>
                      </a:lnTo>
                      <a:lnTo>
                        <a:pt x="49" y="90"/>
                      </a:lnTo>
                      <a:lnTo>
                        <a:pt x="68" y="68"/>
                      </a:lnTo>
                      <a:lnTo>
                        <a:pt x="91" y="48"/>
                      </a:lnTo>
                      <a:lnTo>
                        <a:pt x="116" y="32"/>
                      </a:lnTo>
                      <a:lnTo>
                        <a:pt x="142" y="18"/>
                      </a:lnTo>
                      <a:lnTo>
                        <a:pt x="171" y="8"/>
                      </a:lnTo>
                      <a:lnTo>
                        <a:pt x="202" y="2"/>
                      </a:lnTo>
                      <a:lnTo>
                        <a:pt x="234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128302" tIns="64151" rIns="128302" bIns="6415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710448"/>
                  <a:endParaRPr lang="en-US" sz="3368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467" name="Freeform 14"/>
                <p:cNvSpPr>
                  <a:spLocks/>
                </p:cNvSpPr>
                <p:nvPr/>
              </p:nvSpPr>
              <p:spPr bwMode="auto">
                <a:xfrm>
                  <a:off x="5746750" y="2935288"/>
                  <a:ext cx="695325" cy="36036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" y="31"/>
                    </a:cxn>
                    <a:cxn ang="0">
                      <a:pos x="12" y="60"/>
                    </a:cxn>
                    <a:cxn ang="0">
                      <a:pos x="23" y="89"/>
                    </a:cxn>
                    <a:cxn ang="0">
                      <a:pos x="38" y="114"/>
                    </a:cxn>
                    <a:cxn ang="0">
                      <a:pos x="56" y="137"/>
                    </a:cxn>
                    <a:cxn ang="0">
                      <a:pos x="78" y="158"/>
                    </a:cxn>
                    <a:cxn ang="0">
                      <a:pos x="102" y="176"/>
                    </a:cxn>
                    <a:cxn ang="0">
                      <a:pos x="128" y="190"/>
                    </a:cxn>
                    <a:cxn ang="0">
                      <a:pos x="157" y="200"/>
                    </a:cxn>
                    <a:cxn ang="0">
                      <a:pos x="187" y="207"/>
                    </a:cxn>
                    <a:cxn ang="0">
                      <a:pos x="219" y="209"/>
                    </a:cxn>
                    <a:cxn ang="0">
                      <a:pos x="250" y="207"/>
                    </a:cxn>
                    <a:cxn ang="0">
                      <a:pos x="280" y="200"/>
                    </a:cxn>
                    <a:cxn ang="0">
                      <a:pos x="309" y="190"/>
                    </a:cxn>
                    <a:cxn ang="0">
                      <a:pos x="335" y="176"/>
                    </a:cxn>
                    <a:cxn ang="0">
                      <a:pos x="360" y="158"/>
                    </a:cxn>
                    <a:cxn ang="0">
                      <a:pos x="381" y="137"/>
                    </a:cxn>
                    <a:cxn ang="0">
                      <a:pos x="399" y="114"/>
                    </a:cxn>
                    <a:cxn ang="0">
                      <a:pos x="414" y="89"/>
                    </a:cxn>
                    <a:cxn ang="0">
                      <a:pos x="426" y="60"/>
                    </a:cxn>
                    <a:cxn ang="0">
                      <a:pos x="433" y="31"/>
                    </a:cxn>
                    <a:cxn ang="0">
                      <a:pos x="437" y="0"/>
                    </a:cxn>
                    <a:cxn ang="0">
                      <a:pos x="437" y="3"/>
                    </a:cxn>
                    <a:cxn ang="0">
                      <a:pos x="438" y="5"/>
                    </a:cxn>
                    <a:cxn ang="0">
                      <a:pos x="438" y="8"/>
                    </a:cxn>
                    <a:cxn ang="0">
                      <a:pos x="436" y="41"/>
                    </a:cxn>
                    <a:cxn ang="0">
                      <a:pos x="429" y="71"/>
                    </a:cxn>
                    <a:cxn ang="0">
                      <a:pos x="417" y="100"/>
                    </a:cxn>
                    <a:cxn ang="0">
                      <a:pos x="403" y="127"/>
                    </a:cxn>
                    <a:cxn ang="0">
                      <a:pos x="384" y="152"/>
                    </a:cxn>
                    <a:cxn ang="0">
                      <a:pos x="363" y="173"/>
                    </a:cxn>
                    <a:cxn ang="0">
                      <a:pos x="338" y="192"/>
                    </a:cxn>
                    <a:cxn ang="0">
                      <a:pos x="311" y="206"/>
                    </a:cxn>
                    <a:cxn ang="0">
                      <a:pos x="282" y="218"/>
                    </a:cxn>
                    <a:cxn ang="0">
                      <a:pos x="251" y="224"/>
                    </a:cxn>
                    <a:cxn ang="0">
                      <a:pos x="219" y="227"/>
                    </a:cxn>
                    <a:cxn ang="0">
                      <a:pos x="186" y="224"/>
                    </a:cxn>
                    <a:cxn ang="0">
                      <a:pos x="155" y="218"/>
                    </a:cxn>
                    <a:cxn ang="0">
                      <a:pos x="127" y="206"/>
                    </a:cxn>
                    <a:cxn ang="0">
                      <a:pos x="100" y="192"/>
                    </a:cxn>
                    <a:cxn ang="0">
                      <a:pos x="76" y="173"/>
                    </a:cxn>
                    <a:cxn ang="0">
                      <a:pos x="53" y="152"/>
                    </a:cxn>
                    <a:cxn ang="0">
                      <a:pos x="35" y="127"/>
                    </a:cxn>
                    <a:cxn ang="0">
                      <a:pos x="21" y="100"/>
                    </a:cxn>
                    <a:cxn ang="0">
                      <a:pos x="9" y="71"/>
                    </a:cxn>
                    <a:cxn ang="0">
                      <a:pos x="2" y="41"/>
                    </a:cxn>
                    <a:cxn ang="0">
                      <a:pos x="0" y="8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38" h="227">
                      <a:moveTo>
                        <a:pt x="0" y="0"/>
                      </a:moveTo>
                      <a:lnTo>
                        <a:pt x="4" y="31"/>
                      </a:lnTo>
                      <a:lnTo>
                        <a:pt x="12" y="60"/>
                      </a:lnTo>
                      <a:lnTo>
                        <a:pt x="23" y="89"/>
                      </a:lnTo>
                      <a:lnTo>
                        <a:pt x="38" y="114"/>
                      </a:lnTo>
                      <a:lnTo>
                        <a:pt x="56" y="137"/>
                      </a:lnTo>
                      <a:lnTo>
                        <a:pt x="78" y="158"/>
                      </a:lnTo>
                      <a:lnTo>
                        <a:pt x="102" y="176"/>
                      </a:lnTo>
                      <a:lnTo>
                        <a:pt x="128" y="190"/>
                      </a:lnTo>
                      <a:lnTo>
                        <a:pt x="157" y="200"/>
                      </a:lnTo>
                      <a:lnTo>
                        <a:pt x="187" y="207"/>
                      </a:lnTo>
                      <a:lnTo>
                        <a:pt x="219" y="209"/>
                      </a:lnTo>
                      <a:lnTo>
                        <a:pt x="250" y="207"/>
                      </a:lnTo>
                      <a:lnTo>
                        <a:pt x="280" y="200"/>
                      </a:lnTo>
                      <a:lnTo>
                        <a:pt x="309" y="190"/>
                      </a:lnTo>
                      <a:lnTo>
                        <a:pt x="335" y="176"/>
                      </a:lnTo>
                      <a:lnTo>
                        <a:pt x="360" y="158"/>
                      </a:lnTo>
                      <a:lnTo>
                        <a:pt x="381" y="137"/>
                      </a:lnTo>
                      <a:lnTo>
                        <a:pt x="399" y="114"/>
                      </a:lnTo>
                      <a:lnTo>
                        <a:pt x="414" y="89"/>
                      </a:lnTo>
                      <a:lnTo>
                        <a:pt x="426" y="60"/>
                      </a:lnTo>
                      <a:lnTo>
                        <a:pt x="433" y="31"/>
                      </a:lnTo>
                      <a:lnTo>
                        <a:pt x="437" y="0"/>
                      </a:lnTo>
                      <a:lnTo>
                        <a:pt x="437" y="3"/>
                      </a:lnTo>
                      <a:lnTo>
                        <a:pt x="438" y="5"/>
                      </a:lnTo>
                      <a:lnTo>
                        <a:pt x="438" y="8"/>
                      </a:lnTo>
                      <a:lnTo>
                        <a:pt x="436" y="41"/>
                      </a:lnTo>
                      <a:lnTo>
                        <a:pt x="429" y="71"/>
                      </a:lnTo>
                      <a:lnTo>
                        <a:pt x="417" y="100"/>
                      </a:lnTo>
                      <a:lnTo>
                        <a:pt x="403" y="127"/>
                      </a:lnTo>
                      <a:lnTo>
                        <a:pt x="384" y="152"/>
                      </a:lnTo>
                      <a:lnTo>
                        <a:pt x="363" y="173"/>
                      </a:lnTo>
                      <a:lnTo>
                        <a:pt x="338" y="192"/>
                      </a:lnTo>
                      <a:lnTo>
                        <a:pt x="311" y="206"/>
                      </a:lnTo>
                      <a:lnTo>
                        <a:pt x="282" y="218"/>
                      </a:lnTo>
                      <a:lnTo>
                        <a:pt x="251" y="224"/>
                      </a:lnTo>
                      <a:lnTo>
                        <a:pt x="219" y="227"/>
                      </a:lnTo>
                      <a:lnTo>
                        <a:pt x="186" y="224"/>
                      </a:lnTo>
                      <a:lnTo>
                        <a:pt x="155" y="218"/>
                      </a:lnTo>
                      <a:lnTo>
                        <a:pt x="127" y="206"/>
                      </a:lnTo>
                      <a:lnTo>
                        <a:pt x="100" y="192"/>
                      </a:lnTo>
                      <a:lnTo>
                        <a:pt x="76" y="173"/>
                      </a:lnTo>
                      <a:lnTo>
                        <a:pt x="53" y="152"/>
                      </a:lnTo>
                      <a:lnTo>
                        <a:pt x="35" y="127"/>
                      </a:lnTo>
                      <a:lnTo>
                        <a:pt x="21" y="100"/>
                      </a:lnTo>
                      <a:lnTo>
                        <a:pt x="9" y="71"/>
                      </a:lnTo>
                      <a:lnTo>
                        <a:pt x="2" y="41"/>
                      </a:ln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>
                    <a:alpha val="33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128302" tIns="64151" rIns="128302" bIns="6415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710448"/>
                  <a:endParaRPr lang="en-US" sz="3368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463" name="Group 35"/>
              <p:cNvGrpSpPr/>
              <p:nvPr/>
            </p:nvGrpSpPr>
            <p:grpSpPr>
              <a:xfrm>
                <a:off x="2442609" y="3616581"/>
                <a:ext cx="708825" cy="708825"/>
                <a:chOff x="5722943" y="3481390"/>
                <a:chExt cx="742950" cy="742950"/>
              </a:xfrm>
              <a:effectLst>
                <a:outerShdw blurRad="38100" dist="63500" dir="2700000" algn="tl" rotWithShape="0">
                  <a:prstClr val="black">
                    <a:alpha val="99000"/>
                  </a:prstClr>
                </a:outerShdw>
              </a:effectLst>
            </p:grpSpPr>
            <p:sp>
              <p:nvSpPr>
                <p:cNvPr id="464" name="Freeform 9"/>
                <p:cNvSpPr>
                  <a:spLocks/>
                </p:cNvSpPr>
                <p:nvPr/>
              </p:nvSpPr>
              <p:spPr bwMode="auto">
                <a:xfrm>
                  <a:off x="5722943" y="3481390"/>
                  <a:ext cx="742950" cy="742950"/>
                </a:xfrm>
                <a:custGeom>
                  <a:avLst/>
                  <a:gdLst/>
                  <a:ahLst/>
                  <a:cxnLst>
                    <a:cxn ang="0">
                      <a:pos x="234" y="0"/>
                    </a:cxn>
                    <a:cxn ang="0">
                      <a:pos x="266" y="3"/>
                    </a:cxn>
                    <a:cxn ang="0">
                      <a:pos x="296" y="9"/>
                    </a:cxn>
                    <a:cxn ang="0">
                      <a:pos x="325" y="19"/>
                    </a:cxn>
                    <a:cxn ang="0">
                      <a:pos x="352" y="32"/>
                    </a:cxn>
                    <a:cxn ang="0">
                      <a:pos x="377" y="49"/>
                    </a:cxn>
                    <a:cxn ang="0">
                      <a:pos x="400" y="69"/>
                    </a:cxn>
                    <a:cxn ang="0">
                      <a:pos x="420" y="91"/>
                    </a:cxn>
                    <a:cxn ang="0">
                      <a:pos x="436" y="116"/>
                    </a:cxn>
                    <a:cxn ang="0">
                      <a:pos x="450" y="142"/>
                    </a:cxn>
                    <a:cxn ang="0">
                      <a:pos x="460" y="171"/>
                    </a:cxn>
                    <a:cxn ang="0">
                      <a:pos x="466" y="202"/>
                    </a:cxn>
                    <a:cxn ang="0">
                      <a:pos x="468" y="234"/>
                    </a:cxn>
                    <a:cxn ang="0">
                      <a:pos x="466" y="266"/>
                    </a:cxn>
                    <a:cxn ang="0">
                      <a:pos x="460" y="296"/>
                    </a:cxn>
                    <a:cxn ang="0">
                      <a:pos x="450" y="325"/>
                    </a:cxn>
                    <a:cxn ang="0">
                      <a:pos x="436" y="351"/>
                    </a:cxn>
                    <a:cxn ang="0">
                      <a:pos x="420" y="376"/>
                    </a:cxn>
                    <a:cxn ang="0">
                      <a:pos x="400" y="399"/>
                    </a:cxn>
                    <a:cxn ang="0">
                      <a:pos x="377" y="419"/>
                    </a:cxn>
                    <a:cxn ang="0">
                      <a:pos x="352" y="436"/>
                    </a:cxn>
                    <a:cxn ang="0">
                      <a:pos x="325" y="449"/>
                    </a:cxn>
                    <a:cxn ang="0">
                      <a:pos x="296" y="459"/>
                    </a:cxn>
                    <a:cxn ang="0">
                      <a:pos x="266" y="465"/>
                    </a:cxn>
                    <a:cxn ang="0">
                      <a:pos x="234" y="468"/>
                    </a:cxn>
                    <a:cxn ang="0">
                      <a:pos x="202" y="465"/>
                    </a:cxn>
                    <a:cxn ang="0">
                      <a:pos x="171" y="459"/>
                    </a:cxn>
                    <a:cxn ang="0">
                      <a:pos x="142" y="449"/>
                    </a:cxn>
                    <a:cxn ang="0">
                      <a:pos x="116" y="436"/>
                    </a:cxn>
                    <a:cxn ang="0">
                      <a:pos x="91" y="419"/>
                    </a:cxn>
                    <a:cxn ang="0">
                      <a:pos x="68" y="399"/>
                    </a:cxn>
                    <a:cxn ang="0">
                      <a:pos x="49" y="376"/>
                    </a:cxn>
                    <a:cxn ang="0">
                      <a:pos x="32" y="351"/>
                    </a:cxn>
                    <a:cxn ang="0">
                      <a:pos x="18" y="325"/>
                    </a:cxn>
                    <a:cxn ang="0">
                      <a:pos x="8" y="296"/>
                    </a:cxn>
                    <a:cxn ang="0">
                      <a:pos x="2" y="266"/>
                    </a:cxn>
                    <a:cxn ang="0">
                      <a:pos x="0" y="234"/>
                    </a:cxn>
                    <a:cxn ang="0">
                      <a:pos x="2" y="202"/>
                    </a:cxn>
                    <a:cxn ang="0">
                      <a:pos x="8" y="171"/>
                    </a:cxn>
                    <a:cxn ang="0">
                      <a:pos x="18" y="142"/>
                    </a:cxn>
                    <a:cxn ang="0">
                      <a:pos x="32" y="116"/>
                    </a:cxn>
                    <a:cxn ang="0">
                      <a:pos x="49" y="91"/>
                    </a:cxn>
                    <a:cxn ang="0">
                      <a:pos x="68" y="69"/>
                    </a:cxn>
                    <a:cxn ang="0">
                      <a:pos x="91" y="49"/>
                    </a:cxn>
                    <a:cxn ang="0">
                      <a:pos x="116" y="32"/>
                    </a:cxn>
                    <a:cxn ang="0">
                      <a:pos x="142" y="19"/>
                    </a:cxn>
                    <a:cxn ang="0">
                      <a:pos x="171" y="9"/>
                    </a:cxn>
                    <a:cxn ang="0">
                      <a:pos x="202" y="3"/>
                    </a:cxn>
                    <a:cxn ang="0">
                      <a:pos x="234" y="0"/>
                    </a:cxn>
                  </a:cxnLst>
                  <a:rect l="0" t="0" r="r" b="b"/>
                  <a:pathLst>
                    <a:path w="468" h="468">
                      <a:moveTo>
                        <a:pt x="234" y="0"/>
                      </a:moveTo>
                      <a:lnTo>
                        <a:pt x="266" y="3"/>
                      </a:lnTo>
                      <a:lnTo>
                        <a:pt x="296" y="9"/>
                      </a:lnTo>
                      <a:lnTo>
                        <a:pt x="325" y="19"/>
                      </a:lnTo>
                      <a:lnTo>
                        <a:pt x="352" y="32"/>
                      </a:lnTo>
                      <a:lnTo>
                        <a:pt x="377" y="49"/>
                      </a:lnTo>
                      <a:lnTo>
                        <a:pt x="400" y="69"/>
                      </a:lnTo>
                      <a:lnTo>
                        <a:pt x="420" y="91"/>
                      </a:lnTo>
                      <a:lnTo>
                        <a:pt x="436" y="116"/>
                      </a:lnTo>
                      <a:lnTo>
                        <a:pt x="450" y="142"/>
                      </a:lnTo>
                      <a:lnTo>
                        <a:pt x="460" y="171"/>
                      </a:lnTo>
                      <a:lnTo>
                        <a:pt x="466" y="202"/>
                      </a:lnTo>
                      <a:lnTo>
                        <a:pt x="468" y="234"/>
                      </a:lnTo>
                      <a:lnTo>
                        <a:pt x="466" y="266"/>
                      </a:lnTo>
                      <a:lnTo>
                        <a:pt x="460" y="296"/>
                      </a:lnTo>
                      <a:lnTo>
                        <a:pt x="450" y="325"/>
                      </a:lnTo>
                      <a:lnTo>
                        <a:pt x="436" y="351"/>
                      </a:lnTo>
                      <a:lnTo>
                        <a:pt x="420" y="376"/>
                      </a:lnTo>
                      <a:lnTo>
                        <a:pt x="400" y="399"/>
                      </a:lnTo>
                      <a:lnTo>
                        <a:pt x="377" y="419"/>
                      </a:lnTo>
                      <a:lnTo>
                        <a:pt x="352" y="436"/>
                      </a:lnTo>
                      <a:lnTo>
                        <a:pt x="325" y="449"/>
                      </a:lnTo>
                      <a:lnTo>
                        <a:pt x="296" y="459"/>
                      </a:lnTo>
                      <a:lnTo>
                        <a:pt x="266" y="465"/>
                      </a:lnTo>
                      <a:lnTo>
                        <a:pt x="234" y="468"/>
                      </a:lnTo>
                      <a:lnTo>
                        <a:pt x="202" y="465"/>
                      </a:lnTo>
                      <a:lnTo>
                        <a:pt x="171" y="459"/>
                      </a:lnTo>
                      <a:lnTo>
                        <a:pt x="142" y="449"/>
                      </a:lnTo>
                      <a:lnTo>
                        <a:pt x="116" y="436"/>
                      </a:lnTo>
                      <a:lnTo>
                        <a:pt x="91" y="419"/>
                      </a:lnTo>
                      <a:lnTo>
                        <a:pt x="68" y="399"/>
                      </a:lnTo>
                      <a:lnTo>
                        <a:pt x="49" y="376"/>
                      </a:lnTo>
                      <a:lnTo>
                        <a:pt x="32" y="351"/>
                      </a:lnTo>
                      <a:lnTo>
                        <a:pt x="18" y="325"/>
                      </a:lnTo>
                      <a:lnTo>
                        <a:pt x="8" y="296"/>
                      </a:lnTo>
                      <a:lnTo>
                        <a:pt x="2" y="266"/>
                      </a:lnTo>
                      <a:lnTo>
                        <a:pt x="0" y="234"/>
                      </a:lnTo>
                      <a:lnTo>
                        <a:pt x="2" y="202"/>
                      </a:lnTo>
                      <a:lnTo>
                        <a:pt x="8" y="171"/>
                      </a:lnTo>
                      <a:lnTo>
                        <a:pt x="18" y="142"/>
                      </a:lnTo>
                      <a:lnTo>
                        <a:pt x="32" y="116"/>
                      </a:lnTo>
                      <a:lnTo>
                        <a:pt x="49" y="91"/>
                      </a:lnTo>
                      <a:lnTo>
                        <a:pt x="68" y="69"/>
                      </a:lnTo>
                      <a:lnTo>
                        <a:pt x="91" y="49"/>
                      </a:lnTo>
                      <a:lnTo>
                        <a:pt x="116" y="32"/>
                      </a:lnTo>
                      <a:lnTo>
                        <a:pt x="142" y="19"/>
                      </a:lnTo>
                      <a:lnTo>
                        <a:pt x="171" y="9"/>
                      </a:lnTo>
                      <a:lnTo>
                        <a:pt x="202" y="3"/>
                      </a:lnTo>
                      <a:lnTo>
                        <a:pt x="234" y="0"/>
                      </a:lnTo>
                      <a:close/>
                    </a:path>
                  </a:pathLst>
                </a:custGeom>
                <a:noFill/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128302" tIns="64151" rIns="128302" bIns="6415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710448"/>
                  <a:endParaRPr lang="en-US" sz="3368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465" name="Freeform 12"/>
                <p:cNvSpPr>
                  <a:spLocks/>
                </p:cNvSpPr>
                <p:nvPr/>
              </p:nvSpPr>
              <p:spPr bwMode="auto">
                <a:xfrm>
                  <a:off x="5746750" y="3838576"/>
                  <a:ext cx="695325" cy="36036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" y="31"/>
                    </a:cxn>
                    <a:cxn ang="0">
                      <a:pos x="12" y="60"/>
                    </a:cxn>
                    <a:cxn ang="0">
                      <a:pos x="23" y="88"/>
                    </a:cxn>
                    <a:cxn ang="0">
                      <a:pos x="38" y="114"/>
                    </a:cxn>
                    <a:cxn ang="0">
                      <a:pos x="56" y="137"/>
                    </a:cxn>
                    <a:cxn ang="0">
                      <a:pos x="78" y="157"/>
                    </a:cxn>
                    <a:cxn ang="0">
                      <a:pos x="102" y="176"/>
                    </a:cxn>
                    <a:cxn ang="0">
                      <a:pos x="128" y="189"/>
                    </a:cxn>
                    <a:cxn ang="0">
                      <a:pos x="157" y="200"/>
                    </a:cxn>
                    <a:cxn ang="0">
                      <a:pos x="187" y="207"/>
                    </a:cxn>
                    <a:cxn ang="0">
                      <a:pos x="219" y="209"/>
                    </a:cxn>
                    <a:cxn ang="0">
                      <a:pos x="250" y="207"/>
                    </a:cxn>
                    <a:cxn ang="0">
                      <a:pos x="280" y="200"/>
                    </a:cxn>
                    <a:cxn ang="0">
                      <a:pos x="309" y="189"/>
                    </a:cxn>
                    <a:cxn ang="0">
                      <a:pos x="335" y="176"/>
                    </a:cxn>
                    <a:cxn ang="0">
                      <a:pos x="360" y="157"/>
                    </a:cxn>
                    <a:cxn ang="0">
                      <a:pos x="381" y="137"/>
                    </a:cxn>
                    <a:cxn ang="0">
                      <a:pos x="399" y="114"/>
                    </a:cxn>
                    <a:cxn ang="0">
                      <a:pos x="414" y="88"/>
                    </a:cxn>
                    <a:cxn ang="0">
                      <a:pos x="426" y="60"/>
                    </a:cxn>
                    <a:cxn ang="0">
                      <a:pos x="433" y="31"/>
                    </a:cxn>
                    <a:cxn ang="0">
                      <a:pos x="437" y="0"/>
                    </a:cxn>
                    <a:cxn ang="0">
                      <a:pos x="437" y="3"/>
                    </a:cxn>
                    <a:cxn ang="0">
                      <a:pos x="438" y="5"/>
                    </a:cxn>
                    <a:cxn ang="0">
                      <a:pos x="438" y="8"/>
                    </a:cxn>
                    <a:cxn ang="0">
                      <a:pos x="436" y="41"/>
                    </a:cxn>
                    <a:cxn ang="0">
                      <a:pos x="429" y="71"/>
                    </a:cxn>
                    <a:cxn ang="0">
                      <a:pos x="417" y="100"/>
                    </a:cxn>
                    <a:cxn ang="0">
                      <a:pos x="403" y="127"/>
                    </a:cxn>
                    <a:cxn ang="0">
                      <a:pos x="384" y="151"/>
                    </a:cxn>
                    <a:cxn ang="0">
                      <a:pos x="363" y="173"/>
                    </a:cxn>
                    <a:cxn ang="0">
                      <a:pos x="338" y="192"/>
                    </a:cxn>
                    <a:cxn ang="0">
                      <a:pos x="311" y="206"/>
                    </a:cxn>
                    <a:cxn ang="0">
                      <a:pos x="282" y="217"/>
                    </a:cxn>
                    <a:cxn ang="0">
                      <a:pos x="251" y="224"/>
                    </a:cxn>
                    <a:cxn ang="0">
                      <a:pos x="219" y="227"/>
                    </a:cxn>
                    <a:cxn ang="0">
                      <a:pos x="186" y="224"/>
                    </a:cxn>
                    <a:cxn ang="0">
                      <a:pos x="155" y="217"/>
                    </a:cxn>
                    <a:cxn ang="0">
                      <a:pos x="127" y="206"/>
                    </a:cxn>
                    <a:cxn ang="0">
                      <a:pos x="100" y="192"/>
                    </a:cxn>
                    <a:cxn ang="0">
                      <a:pos x="76" y="173"/>
                    </a:cxn>
                    <a:cxn ang="0">
                      <a:pos x="53" y="151"/>
                    </a:cxn>
                    <a:cxn ang="0">
                      <a:pos x="35" y="127"/>
                    </a:cxn>
                    <a:cxn ang="0">
                      <a:pos x="21" y="100"/>
                    </a:cxn>
                    <a:cxn ang="0">
                      <a:pos x="9" y="71"/>
                    </a:cxn>
                    <a:cxn ang="0">
                      <a:pos x="2" y="41"/>
                    </a:cxn>
                    <a:cxn ang="0">
                      <a:pos x="0" y="8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38" h="227">
                      <a:moveTo>
                        <a:pt x="0" y="0"/>
                      </a:moveTo>
                      <a:lnTo>
                        <a:pt x="4" y="31"/>
                      </a:lnTo>
                      <a:lnTo>
                        <a:pt x="12" y="60"/>
                      </a:lnTo>
                      <a:lnTo>
                        <a:pt x="23" y="88"/>
                      </a:lnTo>
                      <a:lnTo>
                        <a:pt x="38" y="114"/>
                      </a:lnTo>
                      <a:lnTo>
                        <a:pt x="56" y="137"/>
                      </a:lnTo>
                      <a:lnTo>
                        <a:pt x="78" y="157"/>
                      </a:lnTo>
                      <a:lnTo>
                        <a:pt x="102" y="176"/>
                      </a:lnTo>
                      <a:lnTo>
                        <a:pt x="128" y="189"/>
                      </a:lnTo>
                      <a:lnTo>
                        <a:pt x="157" y="200"/>
                      </a:lnTo>
                      <a:lnTo>
                        <a:pt x="187" y="207"/>
                      </a:lnTo>
                      <a:lnTo>
                        <a:pt x="219" y="209"/>
                      </a:lnTo>
                      <a:lnTo>
                        <a:pt x="250" y="207"/>
                      </a:lnTo>
                      <a:lnTo>
                        <a:pt x="280" y="200"/>
                      </a:lnTo>
                      <a:lnTo>
                        <a:pt x="309" y="189"/>
                      </a:lnTo>
                      <a:lnTo>
                        <a:pt x="335" y="176"/>
                      </a:lnTo>
                      <a:lnTo>
                        <a:pt x="360" y="157"/>
                      </a:lnTo>
                      <a:lnTo>
                        <a:pt x="381" y="137"/>
                      </a:lnTo>
                      <a:lnTo>
                        <a:pt x="399" y="114"/>
                      </a:lnTo>
                      <a:lnTo>
                        <a:pt x="414" y="88"/>
                      </a:lnTo>
                      <a:lnTo>
                        <a:pt x="426" y="60"/>
                      </a:lnTo>
                      <a:lnTo>
                        <a:pt x="433" y="31"/>
                      </a:lnTo>
                      <a:lnTo>
                        <a:pt x="437" y="0"/>
                      </a:lnTo>
                      <a:lnTo>
                        <a:pt x="437" y="3"/>
                      </a:lnTo>
                      <a:lnTo>
                        <a:pt x="438" y="5"/>
                      </a:lnTo>
                      <a:lnTo>
                        <a:pt x="438" y="8"/>
                      </a:lnTo>
                      <a:lnTo>
                        <a:pt x="436" y="41"/>
                      </a:lnTo>
                      <a:lnTo>
                        <a:pt x="429" y="71"/>
                      </a:lnTo>
                      <a:lnTo>
                        <a:pt x="417" y="100"/>
                      </a:lnTo>
                      <a:lnTo>
                        <a:pt x="403" y="127"/>
                      </a:lnTo>
                      <a:lnTo>
                        <a:pt x="384" y="151"/>
                      </a:lnTo>
                      <a:lnTo>
                        <a:pt x="363" y="173"/>
                      </a:lnTo>
                      <a:lnTo>
                        <a:pt x="338" y="192"/>
                      </a:lnTo>
                      <a:lnTo>
                        <a:pt x="311" y="206"/>
                      </a:lnTo>
                      <a:lnTo>
                        <a:pt x="282" y="217"/>
                      </a:lnTo>
                      <a:lnTo>
                        <a:pt x="251" y="224"/>
                      </a:lnTo>
                      <a:lnTo>
                        <a:pt x="219" y="227"/>
                      </a:lnTo>
                      <a:lnTo>
                        <a:pt x="186" y="224"/>
                      </a:lnTo>
                      <a:lnTo>
                        <a:pt x="155" y="217"/>
                      </a:lnTo>
                      <a:lnTo>
                        <a:pt x="127" y="206"/>
                      </a:lnTo>
                      <a:lnTo>
                        <a:pt x="100" y="192"/>
                      </a:lnTo>
                      <a:lnTo>
                        <a:pt x="76" y="173"/>
                      </a:lnTo>
                      <a:lnTo>
                        <a:pt x="53" y="151"/>
                      </a:lnTo>
                      <a:lnTo>
                        <a:pt x="35" y="127"/>
                      </a:lnTo>
                      <a:lnTo>
                        <a:pt x="21" y="100"/>
                      </a:lnTo>
                      <a:lnTo>
                        <a:pt x="9" y="71"/>
                      </a:lnTo>
                      <a:lnTo>
                        <a:pt x="2" y="41"/>
                      </a:ln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>
                    <a:alpha val="33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128302" tIns="64151" rIns="128302" bIns="6415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710448"/>
                  <a:endParaRPr lang="en-US" sz="3368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</p:grpSp>
        </p:grpSp>
      </p:grpSp>
      <p:sp>
        <p:nvSpPr>
          <p:cNvPr id="480" name="Rectangle 479"/>
          <p:cNvSpPr/>
          <p:nvPr/>
        </p:nvSpPr>
        <p:spPr>
          <a:xfrm>
            <a:off x="3652575" y="4610013"/>
            <a:ext cx="1717707" cy="2070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121920" rIns="54611" bIns="54611" rtlCol="0" anchor="t"/>
          <a:lstStyle/>
          <a:p>
            <a:pPr marL="228595" indent="-228595" defTabSz="1058286">
              <a:buFont typeface="Arial" panose="020B0604020202020204" pitchFamily="34" charset="0"/>
              <a:buChar char="•"/>
            </a:pPr>
            <a:endParaRPr lang="en-US" sz="1500">
              <a:solidFill>
                <a:prstClr val="white"/>
              </a:solidFill>
              <a:latin typeface="Arial"/>
            </a:endParaRPr>
          </a:p>
        </p:txBody>
      </p:sp>
      <p:sp>
        <p:nvSpPr>
          <p:cNvPr id="481" name="Round Same Side Corner Rectangle 480"/>
          <p:cNvSpPr/>
          <p:nvPr/>
        </p:nvSpPr>
        <p:spPr>
          <a:xfrm>
            <a:off x="3652575" y="4305118"/>
            <a:ext cx="1717707" cy="331382"/>
          </a:xfrm>
          <a:prstGeom prst="round2Same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</p:spPr>
        <p:txBody>
          <a:bodyPr wrap="square" lIns="121920" tIns="0" bIns="60960" anchor="ctr">
            <a:noAutofit/>
          </a:bodyPr>
          <a:lstStyle/>
          <a:p>
            <a:pPr defTabSz="1058286"/>
            <a:r>
              <a:rPr lang="en-US" sz="1400" b="1">
                <a:solidFill>
                  <a:prstClr val="white"/>
                </a:solidFill>
                <a:latin typeface="Arial"/>
                <a:cs typeface="DIN Next LT Arabic"/>
              </a:rPr>
              <a:t>Dependency </a:t>
            </a:r>
          </a:p>
        </p:txBody>
      </p:sp>
      <p:grpSp>
        <p:nvGrpSpPr>
          <p:cNvPr id="482" name="Group 481"/>
          <p:cNvGrpSpPr/>
          <p:nvPr/>
        </p:nvGrpSpPr>
        <p:grpSpPr>
          <a:xfrm>
            <a:off x="3662317" y="6624523"/>
            <a:ext cx="1707969" cy="104129"/>
            <a:chOff x="170119" y="2637607"/>
            <a:chExt cx="2373357" cy="130724"/>
          </a:xfrm>
        </p:grpSpPr>
        <p:sp>
          <p:nvSpPr>
            <p:cNvPr id="483" name="Right Triangle 482"/>
            <p:cNvSpPr/>
            <p:nvPr/>
          </p:nvSpPr>
          <p:spPr>
            <a:xfrm flipH="1" flipV="1">
              <a:off x="173559" y="2637607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484" name="Right Triangle 483"/>
            <p:cNvSpPr/>
            <p:nvPr/>
          </p:nvSpPr>
          <p:spPr>
            <a:xfrm flipV="1">
              <a:off x="170119" y="2637607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</p:grpSp>
      <p:sp>
        <p:nvSpPr>
          <p:cNvPr id="523" name="Rectangle 522"/>
          <p:cNvSpPr/>
          <p:nvPr/>
        </p:nvSpPr>
        <p:spPr>
          <a:xfrm>
            <a:off x="5502664" y="4610013"/>
            <a:ext cx="1717707" cy="2070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121920" rIns="54611" bIns="54611" rtlCol="0" anchor="t"/>
          <a:lstStyle/>
          <a:p>
            <a:pPr marL="190498" indent="-190498">
              <a:buFont typeface="Arial" panose="020B0604020202020204" pitchFamily="34" charset="0"/>
              <a:buChar char="•"/>
            </a:pP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524" name="Round Same Side Corner Rectangle 523"/>
          <p:cNvSpPr/>
          <p:nvPr/>
        </p:nvSpPr>
        <p:spPr>
          <a:xfrm>
            <a:off x="5502664" y="4305118"/>
            <a:ext cx="1717707" cy="331382"/>
          </a:xfrm>
          <a:prstGeom prst="round2Same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</p:spPr>
        <p:txBody>
          <a:bodyPr wrap="square" lIns="121920" tIns="0" bIns="60960" anchor="ctr">
            <a:noAutofit/>
          </a:bodyPr>
          <a:lstStyle/>
          <a:p>
            <a:pPr defTabSz="1058286"/>
            <a:r>
              <a:rPr lang="en-US" sz="1400" b="1">
                <a:solidFill>
                  <a:prstClr val="white"/>
                </a:solidFill>
                <a:latin typeface="Arial"/>
                <a:cs typeface="DIN Next LT Arabic"/>
              </a:rPr>
              <a:t>Risk</a:t>
            </a:r>
          </a:p>
        </p:txBody>
      </p:sp>
      <p:grpSp>
        <p:nvGrpSpPr>
          <p:cNvPr id="525" name="Group 524"/>
          <p:cNvGrpSpPr/>
          <p:nvPr/>
        </p:nvGrpSpPr>
        <p:grpSpPr>
          <a:xfrm>
            <a:off x="5512403" y="6624523"/>
            <a:ext cx="1707969" cy="104129"/>
            <a:chOff x="170119" y="2637607"/>
            <a:chExt cx="2373357" cy="130724"/>
          </a:xfrm>
        </p:grpSpPr>
        <p:sp>
          <p:nvSpPr>
            <p:cNvPr id="526" name="Right Triangle 525"/>
            <p:cNvSpPr/>
            <p:nvPr/>
          </p:nvSpPr>
          <p:spPr>
            <a:xfrm flipH="1" flipV="1">
              <a:off x="173559" y="2637607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527" name="Right Triangle 526"/>
            <p:cNvSpPr/>
            <p:nvPr/>
          </p:nvSpPr>
          <p:spPr>
            <a:xfrm flipV="1">
              <a:off x="170119" y="2637607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</p:grpSp>
      <p:grpSp>
        <p:nvGrpSpPr>
          <p:cNvPr id="534" name="Group 84"/>
          <p:cNvGrpSpPr>
            <a:grpSpLocks noChangeAspect="1"/>
          </p:cNvGrpSpPr>
          <p:nvPr/>
        </p:nvGrpSpPr>
        <p:grpSpPr bwMode="auto">
          <a:xfrm>
            <a:off x="6855887" y="4334996"/>
            <a:ext cx="310301" cy="267459"/>
            <a:chOff x="3333" y="1722"/>
            <a:chExt cx="1014" cy="874"/>
          </a:xfrm>
          <a:solidFill>
            <a:schemeClr val="bg1"/>
          </a:solidFill>
        </p:grpSpPr>
        <p:sp>
          <p:nvSpPr>
            <p:cNvPr id="535" name="Freeform 85"/>
            <p:cNvSpPr>
              <a:spLocks noEditPoints="1"/>
            </p:cNvSpPr>
            <p:nvPr/>
          </p:nvSpPr>
          <p:spPr bwMode="auto">
            <a:xfrm>
              <a:off x="3333" y="1722"/>
              <a:ext cx="1014" cy="874"/>
            </a:xfrm>
            <a:custGeom>
              <a:avLst/>
              <a:gdLst>
                <a:gd name="T0" fmla="*/ 213 w 426"/>
                <a:gd name="T1" fmla="*/ 366 h 367"/>
                <a:gd name="T2" fmla="*/ 36 w 426"/>
                <a:gd name="T3" fmla="*/ 367 h 367"/>
                <a:gd name="T4" fmla="*/ 6 w 426"/>
                <a:gd name="T5" fmla="*/ 351 h 367"/>
                <a:gd name="T6" fmla="*/ 9 w 426"/>
                <a:gd name="T7" fmla="*/ 318 h 367"/>
                <a:gd name="T8" fmla="*/ 183 w 426"/>
                <a:gd name="T9" fmla="*/ 20 h 367"/>
                <a:gd name="T10" fmla="*/ 214 w 426"/>
                <a:gd name="T11" fmla="*/ 0 h 367"/>
                <a:gd name="T12" fmla="*/ 243 w 426"/>
                <a:gd name="T13" fmla="*/ 20 h 367"/>
                <a:gd name="T14" fmla="*/ 417 w 426"/>
                <a:gd name="T15" fmla="*/ 318 h 367"/>
                <a:gd name="T16" fmla="*/ 420 w 426"/>
                <a:gd name="T17" fmla="*/ 351 h 367"/>
                <a:gd name="T18" fmla="*/ 390 w 426"/>
                <a:gd name="T19" fmla="*/ 367 h 367"/>
                <a:gd name="T20" fmla="*/ 213 w 426"/>
                <a:gd name="T21" fmla="*/ 366 h 367"/>
                <a:gd name="T22" fmla="*/ 213 w 426"/>
                <a:gd name="T23" fmla="*/ 336 h 367"/>
                <a:gd name="T24" fmla="*/ 375 w 426"/>
                <a:gd name="T25" fmla="*/ 336 h 367"/>
                <a:gd name="T26" fmla="*/ 384 w 426"/>
                <a:gd name="T27" fmla="*/ 323 h 367"/>
                <a:gd name="T28" fmla="*/ 221 w 426"/>
                <a:gd name="T29" fmla="*/ 46 h 367"/>
                <a:gd name="T30" fmla="*/ 205 w 426"/>
                <a:gd name="T31" fmla="*/ 45 h 367"/>
                <a:gd name="T32" fmla="*/ 44 w 426"/>
                <a:gd name="T33" fmla="*/ 321 h 367"/>
                <a:gd name="T34" fmla="*/ 54 w 426"/>
                <a:gd name="T35" fmla="*/ 336 h 367"/>
                <a:gd name="T36" fmla="*/ 213 w 426"/>
                <a:gd name="T37" fmla="*/ 336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26" h="367">
                  <a:moveTo>
                    <a:pt x="213" y="366"/>
                  </a:moveTo>
                  <a:cubicBezTo>
                    <a:pt x="154" y="366"/>
                    <a:pt x="95" y="366"/>
                    <a:pt x="36" y="367"/>
                  </a:cubicBezTo>
                  <a:cubicBezTo>
                    <a:pt x="23" y="367"/>
                    <a:pt x="12" y="363"/>
                    <a:pt x="6" y="351"/>
                  </a:cubicBezTo>
                  <a:cubicBezTo>
                    <a:pt x="0" y="340"/>
                    <a:pt x="3" y="329"/>
                    <a:pt x="9" y="318"/>
                  </a:cubicBezTo>
                  <a:cubicBezTo>
                    <a:pt x="67" y="219"/>
                    <a:pt x="125" y="119"/>
                    <a:pt x="183" y="20"/>
                  </a:cubicBezTo>
                  <a:cubicBezTo>
                    <a:pt x="190" y="8"/>
                    <a:pt x="199" y="0"/>
                    <a:pt x="214" y="0"/>
                  </a:cubicBezTo>
                  <a:cubicBezTo>
                    <a:pt x="228" y="0"/>
                    <a:pt x="236" y="9"/>
                    <a:pt x="243" y="20"/>
                  </a:cubicBezTo>
                  <a:cubicBezTo>
                    <a:pt x="300" y="120"/>
                    <a:pt x="358" y="219"/>
                    <a:pt x="417" y="318"/>
                  </a:cubicBezTo>
                  <a:cubicBezTo>
                    <a:pt x="423" y="329"/>
                    <a:pt x="426" y="340"/>
                    <a:pt x="420" y="351"/>
                  </a:cubicBezTo>
                  <a:cubicBezTo>
                    <a:pt x="414" y="363"/>
                    <a:pt x="403" y="367"/>
                    <a:pt x="390" y="367"/>
                  </a:cubicBezTo>
                  <a:cubicBezTo>
                    <a:pt x="331" y="366"/>
                    <a:pt x="272" y="366"/>
                    <a:pt x="213" y="366"/>
                  </a:cubicBezTo>
                  <a:close/>
                  <a:moveTo>
                    <a:pt x="213" y="336"/>
                  </a:moveTo>
                  <a:cubicBezTo>
                    <a:pt x="267" y="336"/>
                    <a:pt x="321" y="336"/>
                    <a:pt x="375" y="336"/>
                  </a:cubicBezTo>
                  <a:cubicBezTo>
                    <a:pt x="383" y="336"/>
                    <a:pt x="392" y="336"/>
                    <a:pt x="384" y="323"/>
                  </a:cubicBezTo>
                  <a:cubicBezTo>
                    <a:pt x="330" y="231"/>
                    <a:pt x="275" y="138"/>
                    <a:pt x="221" y="46"/>
                  </a:cubicBezTo>
                  <a:cubicBezTo>
                    <a:pt x="215" y="35"/>
                    <a:pt x="212" y="33"/>
                    <a:pt x="205" y="45"/>
                  </a:cubicBezTo>
                  <a:cubicBezTo>
                    <a:pt x="151" y="137"/>
                    <a:pt x="97" y="229"/>
                    <a:pt x="44" y="321"/>
                  </a:cubicBezTo>
                  <a:cubicBezTo>
                    <a:pt x="35" y="335"/>
                    <a:pt x="36" y="336"/>
                    <a:pt x="54" y="336"/>
                  </a:cubicBezTo>
                  <a:cubicBezTo>
                    <a:pt x="107" y="336"/>
                    <a:pt x="160" y="336"/>
                    <a:pt x="213" y="3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36" name="Freeform 86"/>
            <p:cNvSpPr>
              <a:spLocks/>
            </p:cNvSpPr>
            <p:nvPr/>
          </p:nvSpPr>
          <p:spPr bwMode="auto">
            <a:xfrm>
              <a:off x="3797" y="1943"/>
              <a:ext cx="88" cy="393"/>
            </a:xfrm>
            <a:custGeom>
              <a:avLst/>
              <a:gdLst>
                <a:gd name="T0" fmla="*/ 37 w 37"/>
                <a:gd name="T1" fmla="*/ 41 h 165"/>
                <a:gd name="T2" fmla="*/ 27 w 37"/>
                <a:gd name="T3" fmla="*/ 152 h 165"/>
                <a:gd name="T4" fmla="*/ 18 w 37"/>
                <a:gd name="T5" fmla="*/ 165 h 165"/>
                <a:gd name="T6" fmla="*/ 9 w 37"/>
                <a:gd name="T7" fmla="*/ 153 h 165"/>
                <a:gd name="T8" fmla="*/ 0 w 37"/>
                <a:gd name="T9" fmla="*/ 22 h 165"/>
                <a:gd name="T10" fmla="*/ 1 w 37"/>
                <a:gd name="T11" fmla="*/ 13 h 165"/>
                <a:gd name="T12" fmla="*/ 18 w 37"/>
                <a:gd name="T13" fmla="*/ 0 h 165"/>
                <a:gd name="T14" fmla="*/ 35 w 37"/>
                <a:gd name="T15" fmla="*/ 14 h 165"/>
                <a:gd name="T16" fmla="*/ 35 w 37"/>
                <a:gd name="T17" fmla="*/ 41 h 165"/>
                <a:gd name="T18" fmla="*/ 37 w 37"/>
                <a:gd name="T19" fmla="*/ 41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165">
                  <a:moveTo>
                    <a:pt x="37" y="41"/>
                  </a:moveTo>
                  <a:cubicBezTo>
                    <a:pt x="34" y="78"/>
                    <a:pt x="30" y="115"/>
                    <a:pt x="27" y="152"/>
                  </a:cubicBezTo>
                  <a:cubicBezTo>
                    <a:pt x="27" y="158"/>
                    <a:pt x="26" y="165"/>
                    <a:pt x="18" y="165"/>
                  </a:cubicBezTo>
                  <a:cubicBezTo>
                    <a:pt x="10" y="165"/>
                    <a:pt x="9" y="159"/>
                    <a:pt x="9" y="153"/>
                  </a:cubicBezTo>
                  <a:cubicBezTo>
                    <a:pt x="5" y="110"/>
                    <a:pt x="0" y="66"/>
                    <a:pt x="0" y="22"/>
                  </a:cubicBezTo>
                  <a:cubicBezTo>
                    <a:pt x="0" y="19"/>
                    <a:pt x="0" y="16"/>
                    <a:pt x="1" y="13"/>
                  </a:cubicBezTo>
                  <a:cubicBezTo>
                    <a:pt x="3" y="4"/>
                    <a:pt x="9" y="0"/>
                    <a:pt x="18" y="0"/>
                  </a:cubicBezTo>
                  <a:cubicBezTo>
                    <a:pt x="27" y="0"/>
                    <a:pt x="34" y="5"/>
                    <a:pt x="35" y="14"/>
                  </a:cubicBezTo>
                  <a:cubicBezTo>
                    <a:pt x="36" y="23"/>
                    <a:pt x="35" y="32"/>
                    <a:pt x="35" y="41"/>
                  </a:cubicBezTo>
                  <a:cubicBezTo>
                    <a:pt x="36" y="41"/>
                    <a:pt x="36" y="41"/>
                    <a:pt x="37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37" name="Freeform 87"/>
            <p:cNvSpPr>
              <a:spLocks/>
            </p:cNvSpPr>
            <p:nvPr/>
          </p:nvSpPr>
          <p:spPr bwMode="auto">
            <a:xfrm>
              <a:off x="3790" y="2379"/>
              <a:ext cx="95" cy="93"/>
            </a:xfrm>
            <a:custGeom>
              <a:avLst/>
              <a:gdLst>
                <a:gd name="T0" fmla="*/ 21 w 40"/>
                <a:gd name="T1" fmla="*/ 39 h 39"/>
                <a:gd name="T2" fmla="*/ 1 w 40"/>
                <a:gd name="T3" fmla="*/ 21 h 39"/>
                <a:gd name="T4" fmla="*/ 21 w 40"/>
                <a:gd name="T5" fmla="*/ 1 h 39"/>
                <a:gd name="T6" fmla="*/ 40 w 40"/>
                <a:gd name="T7" fmla="*/ 20 h 39"/>
                <a:gd name="T8" fmla="*/ 21 w 40"/>
                <a:gd name="T9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9">
                  <a:moveTo>
                    <a:pt x="21" y="39"/>
                  </a:moveTo>
                  <a:cubicBezTo>
                    <a:pt x="10" y="38"/>
                    <a:pt x="3" y="32"/>
                    <a:pt x="1" y="21"/>
                  </a:cubicBezTo>
                  <a:cubicBezTo>
                    <a:pt x="0" y="11"/>
                    <a:pt x="11" y="0"/>
                    <a:pt x="21" y="1"/>
                  </a:cubicBezTo>
                  <a:cubicBezTo>
                    <a:pt x="32" y="2"/>
                    <a:pt x="40" y="9"/>
                    <a:pt x="40" y="20"/>
                  </a:cubicBezTo>
                  <a:cubicBezTo>
                    <a:pt x="40" y="31"/>
                    <a:pt x="33" y="38"/>
                    <a:pt x="21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538" name="Group 55"/>
          <p:cNvGrpSpPr>
            <a:grpSpLocks noChangeAspect="1"/>
          </p:cNvGrpSpPr>
          <p:nvPr/>
        </p:nvGrpSpPr>
        <p:grpSpPr bwMode="auto">
          <a:xfrm>
            <a:off x="2982384" y="4305118"/>
            <a:ext cx="295909" cy="295666"/>
            <a:chOff x="2017" y="342"/>
            <a:chExt cx="3641" cy="3638"/>
          </a:xfrm>
          <a:solidFill>
            <a:schemeClr val="bg1"/>
          </a:solidFill>
        </p:grpSpPr>
        <p:sp>
          <p:nvSpPr>
            <p:cNvPr id="539" name="Freeform 56"/>
            <p:cNvSpPr>
              <a:spLocks noEditPoints="1"/>
            </p:cNvSpPr>
            <p:nvPr/>
          </p:nvSpPr>
          <p:spPr bwMode="auto">
            <a:xfrm>
              <a:off x="2017" y="342"/>
              <a:ext cx="3641" cy="3638"/>
            </a:xfrm>
            <a:custGeom>
              <a:avLst/>
              <a:gdLst>
                <a:gd name="T0" fmla="*/ 701 w 1538"/>
                <a:gd name="T1" fmla="*/ 0 h 1537"/>
                <a:gd name="T2" fmla="*/ 839 w 1538"/>
                <a:gd name="T3" fmla="*/ 0 h 1537"/>
                <a:gd name="T4" fmla="*/ 849 w 1538"/>
                <a:gd name="T5" fmla="*/ 4 h 1537"/>
                <a:gd name="T6" fmla="*/ 905 w 1538"/>
                <a:gd name="T7" fmla="*/ 11 h 1537"/>
                <a:gd name="T8" fmla="*/ 1083 w 1538"/>
                <a:gd name="T9" fmla="*/ 66 h 1537"/>
                <a:gd name="T10" fmla="*/ 1279 w 1538"/>
                <a:gd name="T11" fmla="*/ 192 h 1537"/>
                <a:gd name="T12" fmla="*/ 1451 w 1538"/>
                <a:gd name="T13" fmla="*/ 411 h 1537"/>
                <a:gd name="T14" fmla="*/ 1532 w 1538"/>
                <a:gd name="T15" fmla="*/ 666 h 1537"/>
                <a:gd name="T16" fmla="*/ 1538 w 1538"/>
                <a:gd name="T17" fmla="*/ 699 h 1537"/>
                <a:gd name="T18" fmla="*/ 1538 w 1538"/>
                <a:gd name="T19" fmla="*/ 837 h 1537"/>
                <a:gd name="T20" fmla="*/ 1534 w 1538"/>
                <a:gd name="T21" fmla="*/ 845 h 1537"/>
                <a:gd name="T22" fmla="*/ 1527 w 1538"/>
                <a:gd name="T23" fmla="*/ 901 h 1537"/>
                <a:gd name="T24" fmla="*/ 1440 w 1538"/>
                <a:gd name="T25" fmla="*/ 1144 h 1537"/>
                <a:gd name="T26" fmla="*/ 1258 w 1538"/>
                <a:gd name="T27" fmla="*/ 1362 h 1537"/>
                <a:gd name="T28" fmla="*/ 1055 w 1538"/>
                <a:gd name="T29" fmla="*/ 1482 h 1537"/>
                <a:gd name="T30" fmla="*/ 828 w 1538"/>
                <a:gd name="T31" fmla="*/ 1534 h 1537"/>
                <a:gd name="T32" fmla="*/ 695 w 1538"/>
                <a:gd name="T33" fmla="*/ 1533 h 1537"/>
                <a:gd name="T34" fmla="*/ 579 w 1538"/>
                <a:gd name="T35" fmla="*/ 1512 h 1537"/>
                <a:gd name="T36" fmla="*/ 372 w 1538"/>
                <a:gd name="T37" fmla="*/ 1426 h 1537"/>
                <a:gd name="T38" fmla="*/ 191 w 1538"/>
                <a:gd name="T39" fmla="*/ 1274 h 1537"/>
                <a:gd name="T40" fmla="*/ 64 w 1538"/>
                <a:gd name="T41" fmla="*/ 1073 h 1537"/>
                <a:gd name="T42" fmla="*/ 4 w 1538"/>
                <a:gd name="T43" fmla="*/ 827 h 1537"/>
                <a:gd name="T44" fmla="*/ 11 w 1538"/>
                <a:gd name="T45" fmla="*/ 646 h 1537"/>
                <a:gd name="T46" fmla="*/ 75 w 1538"/>
                <a:gd name="T47" fmla="*/ 439 h 1537"/>
                <a:gd name="T48" fmla="*/ 290 w 1538"/>
                <a:gd name="T49" fmla="*/ 168 h 1537"/>
                <a:gd name="T50" fmla="*/ 517 w 1538"/>
                <a:gd name="T51" fmla="*/ 42 h 1537"/>
                <a:gd name="T52" fmla="*/ 669 w 1538"/>
                <a:gd name="T53" fmla="*/ 6 h 1537"/>
                <a:gd name="T54" fmla="*/ 701 w 1538"/>
                <a:gd name="T55" fmla="*/ 0 h 1537"/>
                <a:gd name="T56" fmla="*/ 425 w 1538"/>
                <a:gd name="T57" fmla="*/ 775 h 1537"/>
                <a:gd name="T58" fmla="*/ 424 w 1538"/>
                <a:gd name="T59" fmla="*/ 1232 h 1537"/>
                <a:gd name="T60" fmla="*/ 441 w 1538"/>
                <a:gd name="T61" fmla="*/ 1249 h 1537"/>
                <a:gd name="T62" fmla="*/ 1097 w 1538"/>
                <a:gd name="T63" fmla="*/ 1249 h 1537"/>
                <a:gd name="T64" fmla="*/ 1113 w 1538"/>
                <a:gd name="T65" fmla="*/ 1233 h 1537"/>
                <a:gd name="T66" fmla="*/ 1113 w 1538"/>
                <a:gd name="T67" fmla="*/ 453 h 1537"/>
                <a:gd name="T68" fmla="*/ 1107 w 1538"/>
                <a:gd name="T69" fmla="*/ 432 h 1537"/>
                <a:gd name="T70" fmla="*/ 1035 w 1538"/>
                <a:gd name="T71" fmla="*/ 315 h 1537"/>
                <a:gd name="T72" fmla="*/ 1013 w 1538"/>
                <a:gd name="T73" fmla="*/ 302 h 1537"/>
                <a:gd name="T74" fmla="*/ 442 w 1538"/>
                <a:gd name="T75" fmla="*/ 302 h 1537"/>
                <a:gd name="T76" fmla="*/ 424 w 1538"/>
                <a:gd name="T77" fmla="*/ 319 h 1537"/>
                <a:gd name="T78" fmla="*/ 425 w 1538"/>
                <a:gd name="T79" fmla="*/ 775 h 1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38" h="1537">
                  <a:moveTo>
                    <a:pt x="701" y="0"/>
                  </a:moveTo>
                  <a:cubicBezTo>
                    <a:pt x="747" y="0"/>
                    <a:pt x="793" y="0"/>
                    <a:pt x="839" y="0"/>
                  </a:cubicBezTo>
                  <a:cubicBezTo>
                    <a:pt x="840" y="6"/>
                    <a:pt x="845" y="3"/>
                    <a:pt x="849" y="4"/>
                  </a:cubicBezTo>
                  <a:cubicBezTo>
                    <a:pt x="868" y="6"/>
                    <a:pt x="886" y="7"/>
                    <a:pt x="905" y="11"/>
                  </a:cubicBezTo>
                  <a:cubicBezTo>
                    <a:pt x="966" y="23"/>
                    <a:pt x="1025" y="41"/>
                    <a:pt x="1083" y="66"/>
                  </a:cubicBezTo>
                  <a:cubicBezTo>
                    <a:pt x="1155" y="97"/>
                    <a:pt x="1221" y="140"/>
                    <a:pt x="1279" y="192"/>
                  </a:cubicBezTo>
                  <a:cubicBezTo>
                    <a:pt x="1350" y="255"/>
                    <a:pt x="1407" y="327"/>
                    <a:pt x="1451" y="411"/>
                  </a:cubicBezTo>
                  <a:cubicBezTo>
                    <a:pt x="1492" y="492"/>
                    <a:pt x="1520" y="576"/>
                    <a:pt x="1532" y="666"/>
                  </a:cubicBezTo>
                  <a:cubicBezTo>
                    <a:pt x="1533" y="677"/>
                    <a:pt x="1529" y="689"/>
                    <a:pt x="1538" y="699"/>
                  </a:cubicBezTo>
                  <a:cubicBezTo>
                    <a:pt x="1538" y="745"/>
                    <a:pt x="1538" y="791"/>
                    <a:pt x="1538" y="837"/>
                  </a:cubicBezTo>
                  <a:cubicBezTo>
                    <a:pt x="1533" y="838"/>
                    <a:pt x="1534" y="842"/>
                    <a:pt x="1534" y="845"/>
                  </a:cubicBezTo>
                  <a:cubicBezTo>
                    <a:pt x="1534" y="864"/>
                    <a:pt x="1531" y="883"/>
                    <a:pt x="1527" y="901"/>
                  </a:cubicBezTo>
                  <a:cubicBezTo>
                    <a:pt x="1511" y="987"/>
                    <a:pt x="1483" y="1068"/>
                    <a:pt x="1440" y="1144"/>
                  </a:cubicBezTo>
                  <a:cubicBezTo>
                    <a:pt x="1393" y="1229"/>
                    <a:pt x="1332" y="1301"/>
                    <a:pt x="1258" y="1362"/>
                  </a:cubicBezTo>
                  <a:cubicBezTo>
                    <a:pt x="1197" y="1413"/>
                    <a:pt x="1129" y="1453"/>
                    <a:pt x="1055" y="1482"/>
                  </a:cubicBezTo>
                  <a:cubicBezTo>
                    <a:pt x="982" y="1511"/>
                    <a:pt x="906" y="1530"/>
                    <a:pt x="828" y="1534"/>
                  </a:cubicBezTo>
                  <a:cubicBezTo>
                    <a:pt x="784" y="1537"/>
                    <a:pt x="740" y="1537"/>
                    <a:pt x="695" y="1533"/>
                  </a:cubicBezTo>
                  <a:cubicBezTo>
                    <a:pt x="656" y="1529"/>
                    <a:pt x="617" y="1522"/>
                    <a:pt x="579" y="1512"/>
                  </a:cubicBezTo>
                  <a:cubicBezTo>
                    <a:pt x="505" y="1494"/>
                    <a:pt x="437" y="1464"/>
                    <a:pt x="372" y="1426"/>
                  </a:cubicBezTo>
                  <a:cubicBezTo>
                    <a:pt x="303" y="1384"/>
                    <a:pt x="243" y="1333"/>
                    <a:pt x="191" y="1274"/>
                  </a:cubicBezTo>
                  <a:cubicBezTo>
                    <a:pt x="138" y="1214"/>
                    <a:pt x="96" y="1147"/>
                    <a:pt x="64" y="1073"/>
                  </a:cubicBezTo>
                  <a:cubicBezTo>
                    <a:pt x="31" y="994"/>
                    <a:pt x="9" y="913"/>
                    <a:pt x="4" y="827"/>
                  </a:cubicBezTo>
                  <a:cubicBezTo>
                    <a:pt x="0" y="767"/>
                    <a:pt x="1" y="706"/>
                    <a:pt x="11" y="646"/>
                  </a:cubicBezTo>
                  <a:cubicBezTo>
                    <a:pt x="23" y="574"/>
                    <a:pt x="44" y="504"/>
                    <a:pt x="75" y="439"/>
                  </a:cubicBezTo>
                  <a:cubicBezTo>
                    <a:pt x="126" y="332"/>
                    <a:pt x="198" y="241"/>
                    <a:pt x="290" y="168"/>
                  </a:cubicBezTo>
                  <a:cubicBezTo>
                    <a:pt x="359" y="113"/>
                    <a:pt x="434" y="71"/>
                    <a:pt x="517" y="42"/>
                  </a:cubicBezTo>
                  <a:cubicBezTo>
                    <a:pt x="566" y="25"/>
                    <a:pt x="617" y="13"/>
                    <a:pt x="669" y="6"/>
                  </a:cubicBezTo>
                  <a:cubicBezTo>
                    <a:pt x="679" y="5"/>
                    <a:pt x="692" y="9"/>
                    <a:pt x="701" y="0"/>
                  </a:cubicBezTo>
                  <a:close/>
                  <a:moveTo>
                    <a:pt x="425" y="775"/>
                  </a:moveTo>
                  <a:cubicBezTo>
                    <a:pt x="425" y="927"/>
                    <a:pt x="425" y="1080"/>
                    <a:pt x="424" y="1232"/>
                  </a:cubicBezTo>
                  <a:cubicBezTo>
                    <a:pt x="424" y="1245"/>
                    <a:pt x="427" y="1249"/>
                    <a:pt x="441" y="1249"/>
                  </a:cubicBezTo>
                  <a:cubicBezTo>
                    <a:pt x="659" y="1248"/>
                    <a:pt x="878" y="1248"/>
                    <a:pt x="1097" y="1249"/>
                  </a:cubicBezTo>
                  <a:cubicBezTo>
                    <a:pt x="1110" y="1249"/>
                    <a:pt x="1113" y="1246"/>
                    <a:pt x="1113" y="1233"/>
                  </a:cubicBezTo>
                  <a:cubicBezTo>
                    <a:pt x="1113" y="973"/>
                    <a:pt x="1113" y="713"/>
                    <a:pt x="1113" y="453"/>
                  </a:cubicBezTo>
                  <a:cubicBezTo>
                    <a:pt x="1113" y="445"/>
                    <a:pt x="1111" y="439"/>
                    <a:pt x="1107" y="432"/>
                  </a:cubicBezTo>
                  <a:cubicBezTo>
                    <a:pt x="1083" y="393"/>
                    <a:pt x="1059" y="354"/>
                    <a:pt x="1035" y="315"/>
                  </a:cubicBezTo>
                  <a:cubicBezTo>
                    <a:pt x="1030" y="305"/>
                    <a:pt x="1024" y="302"/>
                    <a:pt x="1013" y="302"/>
                  </a:cubicBezTo>
                  <a:cubicBezTo>
                    <a:pt x="822" y="302"/>
                    <a:pt x="632" y="302"/>
                    <a:pt x="442" y="302"/>
                  </a:cubicBezTo>
                  <a:cubicBezTo>
                    <a:pt x="428" y="302"/>
                    <a:pt x="424" y="305"/>
                    <a:pt x="424" y="319"/>
                  </a:cubicBezTo>
                  <a:cubicBezTo>
                    <a:pt x="425" y="471"/>
                    <a:pt x="424" y="623"/>
                    <a:pt x="425" y="7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0" name="Freeform 57"/>
            <p:cNvSpPr>
              <a:spLocks noEditPoints="1"/>
            </p:cNvSpPr>
            <p:nvPr/>
          </p:nvSpPr>
          <p:spPr bwMode="auto">
            <a:xfrm>
              <a:off x="3187" y="1642"/>
              <a:ext cx="435" cy="291"/>
            </a:xfrm>
            <a:custGeom>
              <a:avLst/>
              <a:gdLst>
                <a:gd name="T0" fmla="*/ 119 w 184"/>
                <a:gd name="T1" fmla="*/ 35 h 123"/>
                <a:gd name="T2" fmla="*/ 163 w 184"/>
                <a:gd name="T3" fmla="*/ 5 h 123"/>
                <a:gd name="T4" fmla="*/ 176 w 184"/>
                <a:gd name="T5" fmla="*/ 8 h 123"/>
                <a:gd name="T6" fmla="*/ 175 w 184"/>
                <a:gd name="T7" fmla="*/ 23 h 123"/>
                <a:gd name="T8" fmla="*/ 128 w 184"/>
                <a:gd name="T9" fmla="*/ 54 h 123"/>
                <a:gd name="T10" fmla="*/ 118 w 184"/>
                <a:gd name="T11" fmla="*/ 73 h 123"/>
                <a:gd name="T12" fmla="*/ 119 w 184"/>
                <a:gd name="T13" fmla="*/ 112 h 123"/>
                <a:gd name="T14" fmla="*/ 107 w 184"/>
                <a:gd name="T15" fmla="*/ 123 h 123"/>
                <a:gd name="T16" fmla="*/ 11 w 184"/>
                <a:gd name="T17" fmla="*/ 123 h 123"/>
                <a:gd name="T18" fmla="*/ 0 w 184"/>
                <a:gd name="T19" fmla="*/ 112 h 123"/>
                <a:gd name="T20" fmla="*/ 0 w 184"/>
                <a:gd name="T21" fmla="*/ 16 h 123"/>
                <a:gd name="T22" fmla="*/ 12 w 184"/>
                <a:gd name="T23" fmla="*/ 3 h 123"/>
                <a:gd name="T24" fmla="*/ 106 w 184"/>
                <a:gd name="T25" fmla="*/ 3 h 123"/>
                <a:gd name="T26" fmla="*/ 119 w 184"/>
                <a:gd name="T27" fmla="*/ 16 h 123"/>
                <a:gd name="T28" fmla="*/ 119 w 184"/>
                <a:gd name="T29" fmla="*/ 35 h 123"/>
                <a:gd name="T30" fmla="*/ 107 w 184"/>
                <a:gd name="T31" fmla="*/ 69 h 123"/>
                <a:gd name="T32" fmla="*/ 85 w 184"/>
                <a:gd name="T33" fmla="*/ 84 h 123"/>
                <a:gd name="T34" fmla="*/ 34 w 184"/>
                <a:gd name="T35" fmla="*/ 80 h 123"/>
                <a:gd name="T36" fmla="*/ 31 w 184"/>
                <a:gd name="T37" fmla="*/ 64 h 123"/>
                <a:gd name="T38" fmla="*/ 49 w 184"/>
                <a:gd name="T39" fmla="*/ 64 h 123"/>
                <a:gd name="T40" fmla="*/ 66 w 184"/>
                <a:gd name="T41" fmla="*/ 71 h 123"/>
                <a:gd name="T42" fmla="*/ 103 w 184"/>
                <a:gd name="T43" fmla="*/ 45 h 123"/>
                <a:gd name="T44" fmla="*/ 108 w 184"/>
                <a:gd name="T45" fmla="*/ 19 h 123"/>
                <a:gd name="T46" fmla="*/ 93 w 184"/>
                <a:gd name="T47" fmla="*/ 15 h 123"/>
                <a:gd name="T48" fmla="*/ 22 w 184"/>
                <a:gd name="T49" fmla="*/ 14 h 123"/>
                <a:gd name="T50" fmla="*/ 9 w 184"/>
                <a:gd name="T51" fmla="*/ 27 h 123"/>
                <a:gd name="T52" fmla="*/ 9 w 184"/>
                <a:gd name="T53" fmla="*/ 101 h 123"/>
                <a:gd name="T54" fmla="*/ 21 w 184"/>
                <a:gd name="T55" fmla="*/ 113 h 123"/>
                <a:gd name="T56" fmla="*/ 71 w 184"/>
                <a:gd name="T57" fmla="*/ 113 h 123"/>
                <a:gd name="T58" fmla="*/ 107 w 184"/>
                <a:gd name="T59" fmla="*/ 69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4" h="123">
                  <a:moveTo>
                    <a:pt x="119" y="35"/>
                  </a:moveTo>
                  <a:cubicBezTo>
                    <a:pt x="135" y="24"/>
                    <a:pt x="150" y="15"/>
                    <a:pt x="163" y="5"/>
                  </a:cubicBezTo>
                  <a:cubicBezTo>
                    <a:pt x="170" y="0"/>
                    <a:pt x="172" y="3"/>
                    <a:pt x="176" y="8"/>
                  </a:cubicBezTo>
                  <a:cubicBezTo>
                    <a:pt x="179" y="13"/>
                    <a:pt x="184" y="18"/>
                    <a:pt x="175" y="23"/>
                  </a:cubicBezTo>
                  <a:cubicBezTo>
                    <a:pt x="159" y="33"/>
                    <a:pt x="144" y="44"/>
                    <a:pt x="128" y="54"/>
                  </a:cubicBezTo>
                  <a:cubicBezTo>
                    <a:pt x="121" y="59"/>
                    <a:pt x="118" y="64"/>
                    <a:pt x="118" y="73"/>
                  </a:cubicBezTo>
                  <a:cubicBezTo>
                    <a:pt x="119" y="86"/>
                    <a:pt x="118" y="99"/>
                    <a:pt x="119" y="112"/>
                  </a:cubicBezTo>
                  <a:cubicBezTo>
                    <a:pt x="119" y="120"/>
                    <a:pt x="116" y="123"/>
                    <a:pt x="107" y="123"/>
                  </a:cubicBezTo>
                  <a:cubicBezTo>
                    <a:pt x="75" y="123"/>
                    <a:pt x="43" y="123"/>
                    <a:pt x="11" y="123"/>
                  </a:cubicBezTo>
                  <a:cubicBezTo>
                    <a:pt x="3" y="123"/>
                    <a:pt x="0" y="120"/>
                    <a:pt x="0" y="112"/>
                  </a:cubicBezTo>
                  <a:cubicBezTo>
                    <a:pt x="0" y="80"/>
                    <a:pt x="0" y="48"/>
                    <a:pt x="0" y="16"/>
                  </a:cubicBezTo>
                  <a:cubicBezTo>
                    <a:pt x="0" y="7"/>
                    <a:pt x="3" y="3"/>
                    <a:pt x="12" y="3"/>
                  </a:cubicBezTo>
                  <a:cubicBezTo>
                    <a:pt x="43" y="4"/>
                    <a:pt x="75" y="4"/>
                    <a:pt x="106" y="3"/>
                  </a:cubicBezTo>
                  <a:cubicBezTo>
                    <a:pt x="115" y="3"/>
                    <a:pt x="119" y="7"/>
                    <a:pt x="119" y="16"/>
                  </a:cubicBezTo>
                  <a:cubicBezTo>
                    <a:pt x="118" y="21"/>
                    <a:pt x="119" y="26"/>
                    <a:pt x="119" y="35"/>
                  </a:cubicBezTo>
                  <a:close/>
                  <a:moveTo>
                    <a:pt x="107" y="69"/>
                  </a:moveTo>
                  <a:cubicBezTo>
                    <a:pt x="98" y="75"/>
                    <a:pt x="91" y="79"/>
                    <a:pt x="85" y="84"/>
                  </a:cubicBezTo>
                  <a:cubicBezTo>
                    <a:pt x="58" y="102"/>
                    <a:pt x="58" y="102"/>
                    <a:pt x="34" y="80"/>
                  </a:cubicBezTo>
                  <a:cubicBezTo>
                    <a:pt x="29" y="75"/>
                    <a:pt x="23" y="72"/>
                    <a:pt x="31" y="64"/>
                  </a:cubicBezTo>
                  <a:cubicBezTo>
                    <a:pt x="38" y="55"/>
                    <a:pt x="43" y="59"/>
                    <a:pt x="49" y="64"/>
                  </a:cubicBezTo>
                  <a:cubicBezTo>
                    <a:pt x="53" y="68"/>
                    <a:pt x="57" y="77"/>
                    <a:pt x="66" y="71"/>
                  </a:cubicBezTo>
                  <a:cubicBezTo>
                    <a:pt x="78" y="62"/>
                    <a:pt x="91" y="54"/>
                    <a:pt x="103" y="45"/>
                  </a:cubicBezTo>
                  <a:cubicBezTo>
                    <a:pt x="113" y="38"/>
                    <a:pt x="109" y="28"/>
                    <a:pt x="108" y="19"/>
                  </a:cubicBezTo>
                  <a:cubicBezTo>
                    <a:pt x="107" y="11"/>
                    <a:pt x="98" y="15"/>
                    <a:pt x="93" y="15"/>
                  </a:cubicBezTo>
                  <a:cubicBezTo>
                    <a:pt x="69" y="14"/>
                    <a:pt x="46" y="15"/>
                    <a:pt x="22" y="14"/>
                  </a:cubicBezTo>
                  <a:cubicBezTo>
                    <a:pt x="12" y="14"/>
                    <a:pt x="9" y="18"/>
                    <a:pt x="9" y="27"/>
                  </a:cubicBezTo>
                  <a:cubicBezTo>
                    <a:pt x="10" y="52"/>
                    <a:pt x="10" y="76"/>
                    <a:pt x="9" y="101"/>
                  </a:cubicBezTo>
                  <a:cubicBezTo>
                    <a:pt x="9" y="109"/>
                    <a:pt x="12" y="113"/>
                    <a:pt x="21" y="113"/>
                  </a:cubicBezTo>
                  <a:cubicBezTo>
                    <a:pt x="38" y="113"/>
                    <a:pt x="54" y="113"/>
                    <a:pt x="71" y="113"/>
                  </a:cubicBezTo>
                  <a:cubicBezTo>
                    <a:pt x="112" y="113"/>
                    <a:pt x="112" y="113"/>
                    <a:pt x="107" y="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1" name="Freeform 58"/>
            <p:cNvSpPr>
              <a:spLocks noEditPoints="1"/>
            </p:cNvSpPr>
            <p:nvPr/>
          </p:nvSpPr>
          <p:spPr bwMode="auto">
            <a:xfrm>
              <a:off x="3187" y="1261"/>
              <a:ext cx="430" cy="288"/>
            </a:xfrm>
            <a:custGeom>
              <a:avLst/>
              <a:gdLst>
                <a:gd name="T0" fmla="*/ 120 w 182"/>
                <a:gd name="T1" fmla="*/ 33 h 122"/>
                <a:gd name="T2" fmla="*/ 162 w 182"/>
                <a:gd name="T3" fmla="*/ 5 h 122"/>
                <a:gd name="T4" fmla="*/ 176 w 182"/>
                <a:gd name="T5" fmla="*/ 7 h 122"/>
                <a:gd name="T6" fmla="*/ 174 w 182"/>
                <a:gd name="T7" fmla="*/ 23 h 122"/>
                <a:gd name="T8" fmla="*/ 129 w 182"/>
                <a:gd name="T9" fmla="*/ 53 h 122"/>
                <a:gd name="T10" fmla="*/ 118 w 182"/>
                <a:gd name="T11" fmla="*/ 72 h 122"/>
                <a:gd name="T12" fmla="*/ 119 w 182"/>
                <a:gd name="T13" fmla="*/ 110 h 122"/>
                <a:gd name="T14" fmla="*/ 106 w 182"/>
                <a:gd name="T15" fmla="*/ 122 h 122"/>
                <a:gd name="T16" fmla="*/ 12 w 182"/>
                <a:gd name="T17" fmla="*/ 122 h 122"/>
                <a:gd name="T18" fmla="*/ 0 w 182"/>
                <a:gd name="T19" fmla="*/ 110 h 122"/>
                <a:gd name="T20" fmla="*/ 0 w 182"/>
                <a:gd name="T21" fmla="*/ 16 h 122"/>
                <a:gd name="T22" fmla="*/ 13 w 182"/>
                <a:gd name="T23" fmla="*/ 3 h 122"/>
                <a:gd name="T24" fmla="*/ 100 w 182"/>
                <a:gd name="T25" fmla="*/ 3 h 122"/>
                <a:gd name="T26" fmla="*/ 119 w 182"/>
                <a:gd name="T27" fmla="*/ 21 h 122"/>
                <a:gd name="T28" fmla="*/ 120 w 182"/>
                <a:gd name="T29" fmla="*/ 33 h 122"/>
                <a:gd name="T30" fmla="*/ 108 w 182"/>
                <a:gd name="T31" fmla="*/ 67 h 122"/>
                <a:gd name="T32" fmla="*/ 84 w 182"/>
                <a:gd name="T33" fmla="*/ 83 h 122"/>
                <a:gd name="T34" fmla="*/ 35 w 182"/>
                <a:gd name="T35" fmla="*/ 80 h 122"/>
                <a:gd name="T36" fmla="*/ 31 w 182"/>
                <a:gd name="T37" fmla="*/ 62 h 122"/>
                <a:gd name="T38" fmla="*/ 49 w 182"/>
                <a:gd name="T39" fmla="*/ 64 h 122"/>
                <a:gd name="T40" fmla="*/ 65 w 182"/>
                <a:gd name="T41" fmla="*/ 71 h 122"/>
                <a:gd name="T42" fmla="*/ 103 w 182"/>
                <a:gd name="T43" fmla="*/ 44 h 122"/>
                <a:gd name="T44" fmla="*/ 108 w 182"/>
                <a:gd name="T45" fmla="*/ 18 h 122"/>
                <a:gd name="T46" fmla="*/ 92 w 182"/>
                <a:gd name="T47" fmla="*/ 14 h 122"/>
                <a:gd name="T48" fmla="*/ 21 w 182"/>
                <a:gd name="T49" fmla="*/ 13 h 122"/>
                <a:gd name="T50" fmla="*/ 9 w 182"/>
                <a:gd name="T51" fmla="*/ 23 h 122"/>
                <a:gd name="T52" fmla="*/ 9 w 182"/>
                <a:gd name="T53" fmla="*/ 103 h 122"/>
                <a:gd name="T54" fmla="*/ 19 w 182"/>
                <a:gd name="T55" fmla="*/ 113 h 122"/>
                <a:gd name="T56" fmla="*/ 100 w 182"/>
                <a:gd name="T57" fmla="*/ 112 h 122"/>
                <a:gd name="T58" fmla="*/ 108 w 182"/>
                <a:gd name="T59" fmla="*/ 104 h 122"/>
                <a:gd name="T60" fmla="*/ 108 w 182"/>
                <a:gd name="T61" fmla="*/ 6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82" h="122">
                  <a:moveTo>
                    <a:pt x="120" y="33"/>
                  </a:moveTo>
                  <a:cubicBezTo>
                    <a:pt x="135" y="23"/>
                    <a:pt x="149" y="15"/>
                    <a:pt x="162" y="5"/>
                  </a:cubicBezTo>
                  <a:cubicBezTo>
                    <a:pt x="168" y="1"/>
                    <a:pt x="172" y="0"/>
                    <a:pt x="176" y="7"/>
                  </a:cubicBezTo>
                  <a:cubicBezTo>
                    <a:pt x="180" y="14"/>
                    <a:pt x="182" y="18"/>
                    <a:pt x="174" y="23"/>
                  </a:cubicBezTo>
                  <a:cubicBezTo>
                    <a:pt x="159" y="33"/>
                    <a:pt x="144" y="43"/>
                    <a:pt x="129" y="53"/>
                  </a:cubicBezTo>
                  <a:cubicBezTo>
                    <a:pt x="121" y="58"/>
                    <a:pt x="118" y="63"/>
                    <a:pt x="118" y="72"/>
                  </a:cubicBezTo>
                  <a:cubicBezTo>
                    <a:pt x="119" y="85"/>
                    <a:pt x="118" y="97"/>
                    <a:pt x="119" y="110"/>
                  </a:cubicBezTo>
                  <a:cubicBezTo>
                    <a:pt x="119" y="119"/>
                    <a:pt x="116" y="122"/>
                    <a:pt x="106" y="122"/>
                  </a:cubicBezTo>
                  <a:cubicBezTo>
                    <a:pt x="75" y="122"/>
                    <a:pt x="43" y="122"/>
                    <a:pt x="12" y="122"/>
                  </a:cubicBezTo>
                  <a:cubicBezTo>
                    <a:pt x="3" y="122"/>
                    <a:pt x="0" y="119"/>
                    <a:pt x="0" y="110"/>
                  </a:cubicBezTo>
                  <a:cubicBezTo>
                    <a:pt x="0" y="79"/>
                    <a:pt x="0" y="47"/>
                    <a:pt x="0" y="16"/>
                  </a:cubicBezTo>
                  <a:cubicBezTo>
                    <a:pt x="0" y="6"/>
                    <a:pt x="3" y="3"/>
                    <a:pt x="13" y="3"/>
                  </a:cubicBezTo>
                  <a:cubicBezTo>
                    <a:pt x="42" y="3"/>
                    <a:pt x="71" y="4"/>
                    <a:pt x="100" y="3"/>
                  </a:cubicBezTo>
                  <a:cubicBezTo>
                    <a:pt x="114" y="2"/>
                    <a:pt x="121" y="6"/>
                    <a:pt x="119" y="21"/>
                  </a:cubicBezTo>
                  <a:cubicBezTo>
                    <a:pt x="118" y="24"/>
                    <a:pt x="119" y="28"/>
                    <a:pt x="120" y="33"/>
                  </a:cubicBezTo>
                  <a:close/>
                  <a:moveTo>
                    <a:pt x="108" y="67"/>
                  </a:moveTo>
                  <a:cubicBezTo>
                    <a:pt x="98" y="74"/>
                    <a:pt x="91" y="79"/>
                    <a:pt x="84" y="83"/>
                  </a:cubicBezTo>
                  <a:cubicBezTo>
                    <a:pt x="58" y="101"/>
                    <a:pt x="58" y="101"/>
                    <a:pt x="35" y="80"/>
                  </a:cubicBezTo>
                  <a:cubicBezTo>
                    <a:pt x="29" y="75"/>
                    <a:pt x="23" y="72"/>
                    <a:pt x="31" y="62"/>
                  </a:cubicBezTo>
                  <a:cubicBezTo>
                    <a:pt x="40" y="53"/>
                    <a:pt x="43" y="60"/>
                    <a:pt x="49" y="64"/>
                  </a:cubicBezTo>
                  <a:cubicBezTo>
                    <a:pt x="54" y="68"/>
                    <a:pt x="57" y="76"/>
                    <a:pt x="65" y="71"/>
                  </a:cubicBezTo>
                  <a:cubicBezTo>
                    <a:pt x="78" y="62"/>
                    <a:pt x="91" y="54"/>
                    <a:pt x="103" y="44"/>
                  </a:cubicBezTo>
                  <a:cubicBezTo>
                    <a:pt x="113" y="37"/>
                    <a:pt x="109" y="27"/>
                    <a:pt x="108" y="18"/>
                  </a:cubicBezTo>
                  <a:cubicBezTo>
                    <a:pt x="107" y="10"/>
                    <a:pt x="98" y="14"/>
                    <a:pt x="92" y="14"/>
                  </a:cubicBezTo>
                  <a:cubicBezTo>
                    <a:pt x="68" y="13"/>
                    <a:pt x="44" y="14"/>
                    <a:pt x="21" y="13"/>
                  </a:cubicBezTo>
                  <a:cubicBezTo>
                    <a:pt x="13" y="13"/>
                    <a:pt x="9" y="15"/>
                    <a:pt x="9" y="23"/>
                  </a:cubicBezTo>
                  <a:cubicBezTo>
                    <a:pt x="10" y="50"/>
                    <a:pt x="10" y="76"/>
                    <a:pt x="9" y="103"/>
                  </a:cubicBezTo>
                  <a:cubicBezTo>
                    <a:pt x="9" y="109"/>
                    <a:pt x="12" y="113"/>
                    <a:pt x="19" y="113"/>
                  </a:cubicBezTo>
                  <a:cubicBezTo>
                    <a:pt x="46" y="112"/>
                    <a:pt x="73" y="112"/>
                    <a:pt x="100" y="112"/>
                  </a:cubicBezTo>
                  <a:cubicBezTo>
                    <a:pt x="106" y="112"/>
                    <a:pt x="108" y="110"/>
                    <a:pt x="108" y="104"/>
                  </a:cubicBezTo>
                  <a:cubicBezTo>
                    <a:pt x="108" y="93"/>
                    <a:pt x="108" y="82"/>
                    <a:pt x="108" y="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2" name="Freeform 59"/>
            <p:cNvSpPr>
              <a:spLocks/>
            </p:cNvSpPr>
            <p:nvPr/>
          </p:nvSpPr>
          <p:spPr bwMode="auto">
            <a:xfrm>
              <a:off x="3606" y="1871"/>
              <a:ext cx="861" cy="55"/>
            </a:xfrm>
            <a:custGeom>
              <a:avLst/>
              <a:gdLst>
                <a:gd name="T0" fmla="*/ 181 w 364"/>
                <a:gd name="T1" fmla="*/ 20 h 23"/>
                <a:gd name="T2" fmla="*/ 13 w 364"/>
                <a:gd name="T3" fmla="*/ 20 h 23"/>
                <a:gd name="T4" fmla="*/ 0 w 364"/>
                <a:gd name="T5" fmla="*/ 12 h 23"/>
                <a:gd name="T6" fmla="*/ 14 w 364"/>
                <a:gd name="T7" fmla="*/ 3 h 23"/>
                <a:gd name="T8" fmla="*/ 351 w 364"/>
                <a:gd name="T9" fmla="*/ 3 h 23"/>
                <a:gd name="T10" fmla="*/ 363 w 364"/>
                <a:gd name="T11" fmla="*/ 11 h 23"/>
                <a:gd name="T12" fmla="*/ 350 w 364"/>
                <a:gd name="T13" fmla="*/ 20 h 23"/>
                <a:gd name="T14" fmla="*/ 181 w 364"/>
                <a:gd name="T15" fmla="*/ 2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4" h="23">
                  <a:moveTo>
                    <a:pt x="181" y="20"/>
                  </a:moveTo>
                  <a:cubicBezTo>
                    <a:pt x="125" y="20"/>
                    <a:pt x="69" y="20"/>
                    <a:pt x="13" y="20"/>
                  </a:cubicBezTo>
                  <a:cubicBezTo>
                    <a:pt x="8" y="20"/>
                    <a:pt x="0" y="23"/>
                    <a:pt x="0" y="12"/>
                  </a:cubicBezTo>
                  <a:cubicBezTo>
                    <a:pt x="0" y="0"/>
                    <a:pt x="8" y="3"/>
                    <a:pt x="14" y="3"/>
                  </a:cubicBezTo>
                  <a:cubicBezTo>
                    <a:pt x="126" y="3"/>
                    <a:pt x="238" y="3"/>
                    <a:pt x="351" y="3"/>
                  </a:cubicBezTo>
                  <a:cubicBezTo>
                    <a:pt x="356" y="3"/>
                    <a:pt x="363" y="1"/>
                    <a:pt x="363" y="11"/>
                  </a:cubicBezTo>
                  <a:cubicBezTo>
                    <a:pt x="364" y="22"/>
                    <a:pt x="356" y="20"/>
                    <a:pt x="350" y="20"/>
                  </a:cubicBezTo>
                  <a:cubicBezTo>
                    <a:pt x="294" y="20"/>
                    <a:pt x="238" y="20"/>
                    <a:pt x="181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3" name="Freeform 60"/>
            <p:cNvSpPr>
              <a:spLocks/>
            </p:cNvSpPr>
            <p:nvPr/>
          </p:nvSpPr>
          <p:spPr bwMode="auto">
            <a:xfrm>
              <a:off x="3603" y="2245"/>
              <a:ext cx="864" cy="57"/>
            </a:xfrm>
            <a:custGeom>
              <a:avLst/>
              <a:gdLst>
                <a:gd name="T0" fmla="*/ 184 w 365"/>
                <a:gd name="T1" fmla="*/ 3 h 24"/>
                <a:gd name="T2" fmla="*/ 350 w 365"/>
                <a:gd name="T3" fmla="*/ 3 h 24"/>
                <a:gd name="T4" fmla="*/ 364 w 365"/>
                <a:gd name="T5" fmla="*/ 11 h 24"/>
                <a:gd name="T6" fmla="*/ 350 w 365"/>
                <a:gd name="T7" fmla="*/ 20 h 24"/>
                <a:gd name="T8" fmla="*/ 16 w 365"/>
                <a:gd name="T9" fmla="*/ 20 h 24"/>
                <a:gd name="T10" fmla="*/ 1 w 365"/>
                <a:gd name="T11" fmla="*/ 14 h 24"/>
                <a:gd name="T12" fmla="*/ 13 w 365"/>
                <a:gd name="T13" fmla="*/ 3 h 24"/>
                <a:gd name="T14" fmla="*/ 184 w 365"/>
                <a:gd name="T15" fmla="*/ 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5" h="24">
                  <a:moveTo>
                    <a:pt x="184" y="3"/>
                  </a:moveTo>
                  <a:cubicBezTo>
                    <a:pt x="240" y="3"/>
                    <a:pt x="295" y="3"/>
                    <a:pt x="350" y="3"/>
                  </a:cubicBezTo>
                  <a:cubicBezTo>
                    <a:pt x="356" y="3"/>
                    <a:pt x="364" y="0"/>
                    <a:pt x="364" y="11"/>
                  </a:cubicBezTo>
                  <a:cubicBezTo>
                    <a:pt x="365" y="23"/>
                    <a:pt x="356" y="20"/>
                    <a:pt x="350" y="20"/>
                  </a:cubicBezTo>
                  <a:cubicBezTo>
                    <a:pt x="239" y="20"/>
                    <a:pt x="127" y="20"/>
                    <a:pt x="16" y="20"/>
                  </a:cubicBezTo>
                  <a:cubicBezTo>
                    <a:pt x="11" y="20"/>
                    <a:pt x="3" y="24"/>
                    <a:pt x="1" y="14"/>
                  </a:cubicBezTo>
                  <a:cubicBezTo>
                    <a:pt x="0" y="5"/>
                    <a:pt x="4" y="3"/>
                    <a:pt x="13" y="3"/>
                  </a:cubicBezTo>
                  <a:cubicBezTo>
                    <a:pt x="70" y="3"/>
                    <a:pt x="127" y="3"/>
                    <a:pt x="18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4" name="Freeform 61"/>
            <p:cNvSpPr>
              <a:spLocks/>
            </p:cNvSpPr>
            <p:nvPr/>
          </p:nvSpPr>
          <p:spPr bwMode="auto">
            <a:xfrm>
              <a:off x="3606" y="3019"/>
              <a:ext cx="861" cy="57"/>
            </a:xfrm>
            <a:custGeom>
              <a:avLst/>
              <a:gdLst>
                <a:gd name="T0" fmla="*/ 183 w 364"/>
                <a:gd name="T1" fmla="*/ 3 h 24"/>
                <a:gd name="T2" fmla="*/ 349 w 364"/>
                <a:gd name="T3" fmla="*/ 3 h 24"/>
                <a:gd name="T4" fmla="*/ 363 w 364"/>
                <a:gd name="T5" fmla="*/ 13 h 24"/>
                <a:gd name="T6" fmla="*/ 349 w 364"/>
                <a:gd name="T7" fmla="*/ 20 h 24"/>
                <a:gd name="T8" fmla="*/ 14 w 364"/>
                <a:gd name="T9" fmla="*/ 21 h 24"/>
                <a:gd name="T10" fmla="*/ 0 w 364"/>
                <a:gd name="T11" fmla="*/ 11 h 24"/>
                <a:gd name="T12" fmla="*/ 14 w 364"/>
                <a:gd name="T13" fmla="*/ 4 h 24"/>
                <a:gd name="T14" fmla="*/ 183 w 364"/>
                <a:gd name="T15" fmla="*/ 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4" h="24">
                  <a:moveTo>
                    <a:pt x="183" y="3"/>
                  </a:moveTo>
                  <a:cubicBezTo>
                    <a:pt x="239" y="3"/>
                    <a:pt x="294" y="3"/>
                    <a:pt x="349" y="3"/>
                  </a:cubicBezTo>
                  <a:cubicBezTo>
                    <a:pt x="356" y="3"/>
                    <a:pt x="364" y="1"/>
                    <a:pt x="363" y="13"/>
                  </a:cubicBezTo>
                  <a:cubicBezTo>
                    <a:pt x="363" y="24"/>
                    <a:pt x="355" y="20"/>
                    <a:pt x="349" y="20"/>
                  </a:cubicBezTo>
                  <a:cubicBezTo>
                    <a:pt x="238" y="21"/>
                    <a:pt x="126" y="21"/>
                    <a:pt x="14" y="21"/>
                  </a:cubicBezTo>
                  <a:cubicBezTo>
                    <a:pt x="8" y="21"/>
                    <a:pt x="0" y="23"/>
                    <a:pt x="0" y="11"/>
                  </a:cubicBezTo>
                  <a:cubicBezTo>
                    <a:pt x="1" y="0"/>
                    <a:pt x="9" y="4"/>
                    <a:pt x="14" y="4"/>
                  </a:cubicBezTo>
                  <a:cubicBezTo>
                    <a:pt x="70" y="3"/>
                    <a:pt x="127" y="3"/>
                    <a:pt x="18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5" name="Freeform 62"/>
            <p:cNvSpPr>
              <a:spLocks/>
            </p:cNvSpPr>
            <p:nvPr/>
          </p:nvSpPr>
          <p:spPr bwMode="auto">
            <a:xfrm>
              <a:off x="3606" y="1462"/>
              <a:ext cx="859" cy="54"/>
            </a:xfrm>
            <a:custGeom>
              <a:avLst/>
              <a:gdLst>
                <a:gd name="T0" fmla="*/ 183 w 363"/>
                <a:gd name="T1" fmla="*/ 3 h 23"/>
                <a:gd name="T2" fmla="*/ 349 w 363"/>
                <a:gd name="T3" fmla="*/ 3 h 23"/>
                <a:gd name="T4" fmla="*/ 363 w 363"/>
                <a:gd name="T5" fmla="*/ 11 h 23"/>
                <a:gd name="T6" fmla="*/ 349 w 363"/>
                <a:gd name="T7" fmla="*/ 19 h 23"/>
                <a:gd name="T8" fmla="*/ 13 w 363"/>
                <a:gd name="T9" fmla="*/ 19 h 23"/>
                <a:gd name="T10" fmla="*/ 0 w 363"/>
                <a:gd name="T11" fmla="*/ 12 h 23"/>
                <a:gd name="T12" fmla="*/ 13 w 363"/>
                <a:gd name="T13" fmla="*/ 3 h 23"/>
                <a:gd name="T14" fmla="*/ 183 w 363"/>
                <a:gd name="T15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3" h="23">
                  <a:moveTo>
                    <a:pt x="183" y="3"/>
                  </a:moveTo>
                  <a:cubicBezTo>
                    <a:pt x="238" y="3"/>
                    <a:pt x="294" y="3"/>
                    <a:pt x="349" y="3"/>
                  </a:cubicBezTo>
                  <a:cubicBezTo>
                    <a:pt x="355" y="3"/>
                    <a:pt x="363" y="0"/>
                    <a:pt x="363" y="11"/>
                  </a:cubicBezTo>
                  <a:cubicBezTo>
                    <a:pt x="363" y="23"/>
                    <a:pt x="355" y="19"/>
                    <a:pt x="349" y="19"/>
                  </a:cubicBezTo>
                  <a:cubicBezTo>
                    <a:pt x="237" y="20"/>
                    <a:pt x="125" y="20"/>
                    <a:pt x="13" y="19"/>
                  </a:cubicBezTo>
                  <a:cubicBezTo>
                    <a:pt x="8" y="19"/>
                    <a:pt x="1" y="22"/>
                    <a:pt x="0" y="12"/>
                  </a:cubicBezTo>
                  <a:cubicBezTo>
                    <a:pt x="0" y="1"/>
                    <a:pt x="8" y="3"/>
                    <a:pt x="13" y="3"/>
                  </a:cubicBezTo>
                  <a:cubicBezTo>
                    <a:pt x="70" y="3"/>
                    <a:pt x="126" y="3"/>
                    <a:pt x="18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6" name="Freeform 63"/>
            <p:cNvSpPr>
              <a:spLocks/>
            </p:cNvSpPr>
            <p:nvPr/>
          </p:nvSpPr>
          <p:spPr bwMode="auto">
            <a:xfrm>
              <a:off x="3606" y="2655"/>
              <a:ext cx="859" cy="52"/>
            </a:xfrm>
            <a:custGeom>
              <a:avLst/>
              <a:gdLst>
                <a:gd name="T0" fmla="*/ 180 w 363"/>
                <a:gd name="T1" fmla="*/ 20 h 22"/>
                <a:gd name="T2" fmla="*/ 18 w 363"/>
                <a:gd name="T3" fmla="*/ 20 h 22"/>
                <a:gd name="T4" fmla="*/ 12 w 363"/>
                <a:gd name="T5" fmla="*/ 20 h 22"/>
                <a:gd name="T6" fmla="*/ 0 w 363"/>
                <a:gd name="T7" fmla="*/ 11 h 22"/>
                <a:gd name="T8" fmla="*/ 12 w 363"/>
                <a:gd name="T9" fmla="*/ 4 h 22"/>
                <a:gd name="T10" fmla="*/ 144 w 363"/>
                <a:gd name="T11" fmla="*/ 4 h 22"/>
                <a:gd name="T12" fmla="*/ 349 w 363"/>
                <a:gd name="T13" fmla="*/ 4 h 22"/>
                <a:gd name="T14" fmla="*/ 363 w 363"/>
                <a:gd name="T15" fmla="*/ 11 h 22"/>
                <a:gd name="T16" fmla="*/ 349 w 363"/>
                <a:gd name="T17" fmla="*/ 20 h 22"/>
                <a:gd name="T18" fmla="*/ 180 w 363"/>
                <a:gd name="T19" fmla="*/ 2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3" h="22">
                  <a:moveTo>
                    <a:pt x="180" y="20"/>
                  </a:moveTo>
                  <a:cubicBezTo>
                    <a:pt x="126" y="20"/>
                    <a:pt x="72" y="20"/>
                    <a:pt x="18" y="20"/>
                  </a:cubicBezTo>
                  <a:cubicBezTo>
                    <a:pt x="16" y="20"/>
                    <a:pt x="14" y="20"/>
                    <a:pt x="12" y="20"/>
                  </a:cubicBezTo>
                  <a:cubicBezTo>
                    <a:pt x="6" y="20"/>
                    <a:pt x="0" y="21"/>
                    <a:pt x="0" y="11"/>
                  </a:cubicBezTo>
                  <a:cubicBezTo>
                    <a:pt x="1" y="2"/>
                    <a:pt x="7" y="4"/>
                    <a:pt x="12" y="4"/>
                  </a:cubicBezTo>
                  <a:cubicBezTo>
                    <a:pt x="56" y="4"/>
                    <a:pt x="100" y="4"/>
                    <a:pt x="144" y="4"/>
                  </a:cubicBezTo>
                  <a:cubicBezTo>
                    <a:pt x="212" y="4"/>
                    <a:pt x="281" y="3"/>
                    <a:pt x="349" y="4"/>
                  </a:cubicBezTo>
                  <a:cubicBezTo>
                    <a:pt x="355" y="4"/>
                    <a:pt x="363" y="0"/>
                    <a:pt x="363" y="11"/>
                  </a:cubicBezTo>
                  <a:cubicBezTo>
                    <a:pt x="363" y="22"/>
                    <a:pt x="355" y="20"/>
                    <a:pt x="349" y="20"/>
                  </a:cubicBezTo>
                  <a:cubicBezTo>
                    <a:pt x="293" y="20"/>
                    <a:pt x="236" y="20"/>
                    <a:pt x="180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7" name="Freeform 64"/>
            <p:cNvSpPr>
              <a:spLocks noEditPoints="1"/>
            </p:cNvSpPr>
            <p:nvPr/>
          </p:nvSpPr>
          <p:spPr bwMode="auto">
            <a:xfrm>
              <a:off x="3187" y="2416"/>
              <a:ext cx="281" cy="284"/>
            </a:xfrm>
            <a:custGeom>
              <a:avLst/>
              <a:gdLst>
                <a:gd name="T0" fmla="*/ 119 w 119"/>
                <a:gd name="T1" fmla="*/ 61 h 120"/>
                <a:gd name="T2" fmla="*/ 119 w 119"/>
                <a:gd name="T3" fmla="*/ 106 h 120"/>
                <a:gd name="T4" fmla="*/ 106 w 119"/>
                <a:gd name="T5" fmla="*/ 120 h 120"/>
                <a:gd name="T6" fmla="*/ 11 w 119"/>
                <a:gd name="T7" fmla="*/ 120 h 120"/>
                <a:gd name="T8" fmla="*/ 0 w 119"/>
                <a:gd name="T9" fmla="*/ 108 h 120"/>
                <a:gd name="T10" fmla="*/ 0 w 119"/>
                <a:gd name="T11" fmla="*/ 11 h 120"/>
                <a:gd name="T12" fmla="*/ 10 w 119"/>
                <a:gd name="T13" fmla="*/ 0 h 120"/>
                <a:gd name="T14" fmla="*/ 108 w 119"/>
                <a:gd name="T15" fmla="*/ 0 h 120"/>
                <a:gd name="T16" fmla="*/ 119 w 119"/>
                <a:gd name="T17" fmla="*/ 12 h 120"/>
                <a:gd name="T18" fmla="*/ 119 w 119"/>
                <a:gd name="T19" fmla="*/ 61 h 120"/>
                <a:gd name="T20" fmla="*/ 119 w 119"/>
                <a:gd name="T21" fmla="*/ 61 h 120"/>
                <a:gd name="T22" fmla="*/ 59 w 119"/>
                <a:gd name="T23" fmla="*/ 109 h 120"/>
                <a:gd name="T24" fmla="*/ 97 w 119"/>
                <a:gd name="T25" fmla="*/ 109 h 120"/>
                <a:gd name="T26" fmla="*/ 109 w 119"/>
                <a:gd name="T27" fmla="*/ 98 h 120"/>
                <a:gd name="T28" fmla="*/ 109 w 119"/>
                <a:gd name="T29" fmla="*/ 22 h 120"/>
                <a:gd name="T30" fmla="*/ 97 w 119"/>
                <a:gd name="T31" fmla="*/ 11 h 120"/>
                <a:gd name="T32" fmla="*/ 22 w 119"/>
                <a:gd name="T33" fmla="*/ 10 h 120"/>
                <a:gd name="T34" fmla="*/ 9 w 119"/>
                <a:gd name="T35" fmla="*/ 23 h 120"/>
                <a:gd name="T36" fmla="*/ 9 w 119"/>
                <a:gd name="T37" fmla="*/ 97 h 120"/>
                <a:gd name="T38" fmla="*/ 23 w 119"/>
                <a:gd name="T39" fmla="*/ 109 h 120"/>
                <a:gd name="T40" fmla="*/ 59 w 119"/>
                <a:gd name="T41" fmla="*/ 10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0">
                  <a:moveTo>
                    <a:pt x="119" y="61"/>
                  </a:moveTo>
                  <a:cubicBezTo>
                    <a:pt x="119" y="76"/>
                    <a:pt x="118" y="91"/>
                    <a:pt x="119" y="106"/>
                  </a:cubicBezTo>
                  <a:cubicBezTo>
                    <a:pt x="119" y="116"/>
                    <a:pt x="116" y="120"/>
                    <a:pt x="106" y="120"/>
                  </a:cubicBezTo>
                  <a:cubicBezTo>
                    <a:pt x="74" y="119"/>
                    <a:pt x="43" y="119"/>
                    <a:pt x="11" y="120"/>
                  </a:cubicBezTo>
                  <a:cubicBezTo>
                    <a:pt x="3" y="120"/>
                    <a:pt x="0" y="117"/>
                    <a:pt x="0" y="108"/>
                  </a:cubicBezTo>
                  <a:cubicBezTo>
                    <a:pt x="0" y="76"/>
                    <a:pt x="0" y="43"/>
                    <a:pt x="0" y="11"/>
                  </a:cubicBezTo>
                  <a:cubicBezTo>
                    <a:pt x="0" y="4"/>
                    <a:pt x="2" y="0"/>
                    <a:pt x="10" y="0"/>
                  </a:cubicBezTo>
                  <a:cubicBezTo>
                    <a:pt x="43" y="0"/>
                    <a:pt x="75" y="1"/>
                    <a:pt x="108" y="0"/>
                  </a:cubicBezTo>
                  <a:cubicBezTo>
                    <a:pt x="117" y="0"/>
                    <a:pt x="119" y="4"/>
                    <a:pt x="119" y="12"/>
                  </a:cubicBezTo>
                  <a:cubicBezTo>
                    <a:pt x="118" y="29"/>
                    <a:pt x="119" y="45"/>
                    <a:pt x="119" y="61"/>
                  </a:cubicBezTo>
                  <a:cubicBezTo>
                    <a:pt x="119" y="61"/>
                    <a:pt x="119" y="61"/>
                    <a:pt x="119" y="61"/>
                  </a:cubicBezTo>
                  <a:close/>
                  <a:moveTo>
                    <a:pt x="59" y="109"/>
                  </a:moveTo>
                  <a:cubicBezTo>
                    <a:pt x="71" y="109"/>
                    <a:pt x="84" y="108"/>
                    <a:pt x="97" y="109"/>
                  </a:cubicBezTo>
                  <a:cubicBezTo>
                    <a:pt x="106" y="109"/>
                    <a:pt x="109" y="106"/>
                    <a:pt x="109" y="98"/>
                  </a:cubicBezTo>
                  <a:cubicBezTo>
                    <a:pt x="108" y="72"/>
                    <a:pt x="108" y="47"/>
                    <a:pt x="109" y="22"/>
                  </a:cubicBezTo>
                  <a:cubicBezTo>
                    <a:pt x="109" y="13"/>
                    <a:pt x="105" y="10"/>
                    <a:pt x="97" y="11"/>
                  </a:cubicBezTo>
                  <a:cubicBezTo>
                    <a:pt x="72" y="11"/>
                    <a:pt x="47" y="11"/>
                    <a:pt x="22" y="10"/>
                  </a:cubicBezTo>
                  <a:cubicBezTo>
                    <a:pt x="13" y="10"/>
                    <a:pt x="9" y="13"/>
                    <a:pt x="9" y="23"/>
                  </a:cubicBezTo>
                  <a:cubicBezTo>
                    <a:pt x="10" y="48"/>
                    <a:pt x="10" y="72"/>
                    <a:pt x="9" y="97"/>
                  </a:cubicBezTo>
                  <a:cubicBezTo>
                    <a:pt x="9" y="107"/>
                    <a:pt x="13" y="109"/>
                    <a:pt x="23" y="109"/>
                  </a:cubicBezTo>
                  <a:cubicBezTo>
                    <a:pt x="35" y="108"/>
                    <a:pt x="47" y="109"/>
                    <a:pt x="59" y="1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8" name="Freeform 65"/>
            <p:cNvSpPr>
              <a:spLocks noEditPoints="1"/>
            </p:cNvSpPr>
            <p:nvPr/>
          </p:nvSpPr>
          <p:spPr bwMode="auto">
            <a:xfrm>
              <a:off x="3187" y="2032"/>
              <a:ext cx="281" cy="284"/>
            </a:xfrm>
            <a:custGeom>
              <a:avLst/>
              <a:gdLst>
                <a:gd name="T0" fmla="*/ 60 w 119"/>
                <a:gd name="T1" fmla="*/ 0 h 120"/>
                <a:gd name="T2" fmla="*/ 105 w 119"/>
                <a:gd name="T3" fmla="*/ 0 h 120"/>
                <a:gd name="T4" fmla="*/ 119 w 119"/>
                <a:gd name="T5" fmla="*/ 13 h 120"/>
                <a:gd name="T6" fmla="*/ 119 w 119"/>
                <a:gd name="T7" fmla="*/ 107 h 120"/>
                <a:gd name="T8" fmla="*/ 105 w 119"/>
                <a:gd name="T9" fmla="*/ 120 h 120"/>
                <a:gd name="T10" fmla="*/ 13 w 119"/>
                <a:gd name="T11" fmla="*/ 120 h 120"/>
                <a:gd name="T12" fmla="*/ 0 w 119"/>
                <a:gd name="T13" fmla="*/ 107 h 120"/>
                <a:gd name="T14" fmla="*/ 0 w 119"/>
                <a:gd name="T15" fmla="*/ 12 h 120"/>
                <a:gd name="T16" fmla="*/ 12 w 119"/>
                <a:gd name="T17" fmla="*/ 0 h 120"/>
                <a:gd name="T18" fmla="*/ 60 w 119"/>
                <a:gd name="T19" fmla="*/ 0 h 120"/>
                <a:gd name="T20" fmla="*/ 108 w 119"/>
                <a:gd name="T21" fmla="*/ 61 h 120"/>
                <a:gd name="T22" fmla="*/ 108 w 119"/>
                <a:gd name="T23" fmla="*/ 21 h 120"/>
                <a:gd name="T24" fmla="*/ 99 w 119"/>
                <a:gd name="T25" fmla="*/ 11 h 120"/>
                <a:gd name="T26" fmla="*/ 20 w 119"/>
                <a:gd name="T27" fmla="*/ 11 h 120"/>
                <a:gd name="T28" fmla="*/ 9 w 119"/>
                <a:gd name="T29" fmla="*/ 22 h 120"/>
                <a:gd name="T30" fmla="*/ 9 w 119"/>
                <a:gd name="T31" fmla="*/ 99 h 120"/>
                <a:gd name="T32" fmla="*/ 19 w 119"/>
                <a:gd name="T33" fmla="*/ 109 h 120"/>
                <a:gd name="T34" fmla="*/ 98 w 119"/>
                <a:gd name="T35" fmla="*/ 110 h 120"/>
                <a:gd name="T36" fmla="*/ 108 w 119"/>
                <a:gd name="T37" fmla="*/ 99 h 120"/>
                <a:gd name="T38" fmla="*/ 108 w 119"/>
                <a:gd name="T39" fmla="*/ 61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9" h="120">
                  <a:moveTo>
                    <a:pt x="60" y="0"/>
                  </a:moveTo>
                  <a:cubicBezTo>
                    <a:pt x="75" y="0"/>
                    <a:pt x="90" y="1"/>
                    <a:pt x="105" y="0"/>
                  </a:cubicBezTo>
                  <a:cubicBezTo>
                    <a:pt x="114" y="0"/>
                    <a:pt x="119" y="2"/>
                    <a:pt x="119" y="13"/>
                  </a:cubicBezTo>
                  <a:cubicBezTo>
                    <a:pt x="118" y="44"/>
                    <a:pt x="118" y="75"/>
                    <a:pt x="119" y="107"/>
                  </a:cubicBezTo>
                  <a:cubicBezTo>
                    <a:pt x="119" y="116"/>
                    <a:pt x="115" y="120"/>
                    <a:pt x="105" y="120"/>
                  </a:cubicBezTo>
                  <a:cubicBezTo>
                    <a:pt x="75" y="119"/>
                    <a:pt x="44" y="119"/>
                    <a:pt x="13" y="120"/>
                  </a:cubicBezTo>
                  <a:cubicBezTo>
                    <a:pt x="3" y="120"/>
                    <a:pt x="0" y="116"/>
                    <a:pt x="0" y="107"/>
                  </a:cubicBezTo>
                  <a:cubicBezTo>
                    <a:pt x="0" y="75"/>
                    <a:pt x="0" y="44"/>
                    <a:pt x="0" y="12"/>
                  </a:cubicBezTo>
                  <a:cubicBezTo>
                    <a:pt x="0" y="4"/>
                    <a:pt x="3" y="0"/>
                    <a:pt x="12" y="0"/>
                  </a:cubicBezTo>
                  <a:cubicBezTo>
                    <a:pt x="28" y="1"/>
                    <a:pt x="44" y="0"/>
                    <a:pt x="60" y="0"/>
                  </a:cubicBezTo>
                  <a:close/>
                  <a:moveTo>
                    <a:pt x="108" y="61"/>
                  </a:moveTo>
                  <a:cubicBezTo>
                    <a:pt x="108" y="48"/>
                    <a:pt x="108" y="34"/>
                    <a:pt x="108" y="21"/>
                  </a:cubicBezTo>
                  <a:cubicBezTo>
                    <a:pt x="109" y="14"/>
                    <a:pt x="107" y="11"/>
                    <a:pt x="99" y="11"/>
                  </a:cubicBezTo>
                  <a:cubicBezTo>
                    <a:pt x="73" y="11"/>
                    <a:pt x="46" y="11"/>
                    <a:pt x="20" y="11"/>
                  </a:cubicBezTo>
                  <a:cubicBezTo>
                    <a:pt x="12" y="11"/>
                    <a:pt x="9" y="14"/>
                    <a:pt x="9" y="22"/>
                  </a:cubicBezTo>
                  <a:cubicBezTo>
                    <a:pt x="10" y="48"/>
                    <a:pt x="10" y="73"/>
                    <a:pt x="9" y="99"/>
                  </a:cubicBezTo>
                  <a:cubicBezTo>
                    <a:pt x="9" y="106"/>
                    <a:pt x="12" y="109"/>
                    <a:pt x="19" y="109"/>
                  </a:cubicBezTo>
                  <a:cubicBezTo>
                    <a:pt x="45" y="109"/>
                    <a:pt x="72" y="109"/>
                    <a:pt x="98" y="110"/>
                  </a:cubicBezTo>
                  <a:cubicBezTo>
                    <a:pt x="107" y="110"/>
                    <a:pt x="109" y="106"/>
                    <a:pt x="108" y="99"/>
                  </a:cubicBezTo>
                  <a:cubicBezTo>
                    <a:pt x="108" y="86"/>
                    <a:pt x="108" y="74"/>
                    <a:pt x="108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9" name="Freeform 66"/>
            <p:cNvSpPr>
              <a:spLocks noEditPoints="1"/>
            </p:cNvSpPr>
            <p:nvPr/>
          </p:nvSpPr>
          <p:spPr bwMode="auto">
            <a:xfrm>
              <a:off x="3187" y="2799"/>
              <a:ext cx="281" cy="284"/>
            </a:xfrm>
            <a:custGeom>
              <a:avLst/>
              <a:gdLst>
                <a:gd name="T0" fmla="*/ 0 w 119"/>
                <a:gd name="T1" fmla="*/ 58 h 120"/>
                <a:gd name="T2" fmla="*/ 0 w 119"/>
                <a:gd name="T3" fmla="*/ 12 h 120"/>
                <a:gd name="T4" fmla="*/ 11 w 119"/>
                <a:gd name="T5" fmla="*/ 0 h 120"/>
                <a:gd name="T6" fmla="*/ 108 w 119"/>
                <a:gd name="T7" fmla="*/ 0 h 120"/>
                <a:gd name="T8" fmla="*/ 119 w 119"/>
                <a:gd name="T9" fmla="*/ 11 h 120"/>
                <a:gd name="T10" fmla="*/ 119 w 119"/>
                <a:gd name="T11" fmla="*/ 108 h 120"/>
                <a:gd name="T12" fmla="*/ 107 w 119"/>
                <a:gd name="T13" fmla="*/ 119 h 120"/>
                <a:gd name="T14" fmla="*/ 11 w 119"/>
                <a:gd name="T15" fmla="*/ 119 h 120"/>
                <a:gd name="T16" fmla="*/ 0 w 119"/>
                <a:gd name="T17" fmla="*/ 108 h 120"/>
                <a:gd name="T18" fmla="*/ 0 w 119"/>
                <a:gd name="T19" fmla="*/ 58 h 120"/>
                <a:gd name="T20" fmla="*/ 0 w 119"/>
                <a:gd name="T21" fmla="*/ 58 h 120"/>
                <a:gd name="T22" fmla="*/ 60 w 119"/>
                <a:gd name="T23" fmla="*/ 109 h 120"/>
                <a:gd name="T24" fmla="*/ 97 w 119"/>
                <a:gd name="T25" fmla="*/ 109 h 120"/>
                <a:gd name="T26" fmla="*/ 109 w 119"/>
                <a:gd name="T27" fmla="*/ 98 h 120"/>
                <a:gd name="T28" fmla="*/ 109 w 119"/>
                <a:gd name="T29" fmla="*/ 21 h 120"/>
                <a:gd name="T30" fmla="*/ 96 w 119"/>
                <a:gd name="T31" fmla="*/ 10 h 120"/>
                <a:gd name="T32" fmla="*/ 22 w 119"/>
                <a:gd name="T33" fmla="*/ 10 h 120"/>
                <a:gd name="T34" fmla="*/ 9 w 119"/>
                <a:gd name="T35" fmla="*/ 22 h 120"/>
                <a:gd name="T36" fmla="*/ 9 w 119"/>
                <a:gd name="T37" fmla="*/ 97 h 120"/>
                <a:gd name="T38" fmla="*/ 21 w 119"/>
                <a:gd name="T39" fmla="*/ 109 h 120"/>
                <a:gd name="T40" fmla="*/ 60 w 119"/>
                <a:gd name="T41" fmla="*/ 10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0">
                  <a:moveTo>
                    <a:pt x="0" y="58"/>
                  </a:moveTo>
                  <a:cubicBezTo>
                    <a:pt x="0" y="43"/>
                    <a:pt x="0" y="27"/>
                    <a:pt x="0" y="12"/>
                  </a:cubicBezTo>
                  <a:cubicBezTo>
                    <a:pt x="0" y="4"/>
                    <a:pt x="1" y="0"/>
                    <a:pt x="11" y="0"/>
                  </a:cubicBezTo>
                  <a:cubicBezTo>
                    <a:pt x="43" y="0"/>
                    <a:pt x="75" y="0"/>
                    <a:pt x="108" y="0"/>
                  </a:cubicBezTo>
                  <a:cubicBezTo>
                    <a:pt x="116" y="0"/>
                    <a:pt x="119" y="3"/>
                    <a:pt x="119" y="11"/>
                  </a:cubicBezTo>
                  <a:cubicBezTo>
                    <a:pt x="118" y="43"/>
                    <a:pt x="119" y="75"/>
                    <a:pt x="119" y="108"/>
                  </a:cubicBezTo>
                  <a:cubicBezTo>
                    <a:pt x="119" y="116"/>
                    <a:pt x="115" y="120"/>
                    <a:pt x="107" y="119"/>
                  </a:cubicBezTo>
                  <a:cubicBezTo>
                    <a:pt x="75" y="119"/>
                    <a:pt x="43" y="119"/>
                    <a:pt x="11" y="119"/>
                  </a:cubicBezTo>
                  <a:cubicBezTo>
                    <a:pt x="3" y="119"/>
                    <a:pt x="0" y="116"/>
                    <a:pt x="0" y="108"/>
                  </a:cubicBezTo>
                  <a:cubicBezTo>
                    <a:pt x="0" y="91"/>
                    <a:pt x="0" y="75"/>
                    <a:pt x="0" y="58"/>
                  </a:cubicBezTo>
                  <a:cubicBezTo>
                    <a:pt x="0" y="58"/>
                    <a:pt x="0" y="58"/>
                    <a:pt x="0" y="58"/>
                  </a:cubicBezTo>
                  <a:close/>
                  <a:moveTo>
                    <a:pt x="60" y="109"/>
                  </a:moveTo>
                  <a:cubicBezTo>
                    <a:pt x="72" y="109"/>
                    <a:pt x="85" y="108"/>
                    <a:pt x="97" y="109"/>
                  </a:cubicBezTo>
                  <a:cubicBezTo>
                    <a:pt x="106" y="109"/>
                    <a:pt x="109" y="106"/>
                    <a:pt x="109" y="98"/>
                  </a:cubicBezTo>
                  <a:cubicBezTo>
                    <a:pt x="108" y="72"/>
                    <a:pt x="108" y="47"/>
                    <a:pt x="109" y="21"/>
                  </a:cubicBezTo>
                  <a:cubicBezTo>
                    <a:pt x="109" y="12"/>
                    <a:pt x="105" y="9"/>
                    <a:pt x="96" y="10"/>
                  </a:cubicBezTo>
                  <a:cubicBezTo>
                    <a:pt x="71" y="10"/>
                    <a:pt x="46" y="10"/>
                    <a:pt x="22" y="10"/>
                  </a:cubicBezTo>
                  <a:cubicBezTo>
                    <a:pt x="13" y="10"/>
                    <a:pt x="9" y="13"/>
                    <a:pt x="9" y="22"/>
                  </a:cubicBezTo>
                  <a:cubicBezTo>
                    <a:pt x="10" y="47"/>
                    <a:pt x="10" y="72"/>
                    <a:pt x="9" y="97"/>
                  </a:cubicBezTo>
                  <a:cubicBezTo>
                    <a:pt x="9" y="105"/>
                    <a:pt x="12" y="109"/>
                    <a:pt x="21" y="109"/>
                  </a:cubicBezTo>
                  <a:cubicBezTo>
                    <a:pt x="34" y="108"/>
                    <a:pt x="47" y="109"/>
                    <a:pt x="60" y="1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565" name="Group 201"/>
          <p:cNvGrpSpPr/>
          <p:nvPr/>
        </p:nvGrpSpPr>
        <p:grpSpPr>
          <a:xfrm flipH="1">
            <a:off x="5056204" y="4355924"/>
            <a:ext cx="254089" cy="254089"/>
            <a:chOff x="1282752" y="4938098"/>
            <a:chExt cx="1451258" cy="1449504"/>
          </a:xfrm>
          <a:solidFill>
            <a:schemeClr val="bg1"/>
          </a:solidFill>
          <a:effectLst/>
        </p:grpSpPr>
        <p:grpSp>
          <p:nvGrpSpPr>
            <p:cNvPr id="566" name="Group 203"/>
            <p:cNvGrpSpPr/>
            <p:nvPr/>
          </p:nvGrpSpPr>
          <p:grpSpPr>
            <a:xfrm>
              <a:off x="1783764" y="5241759"/>
              <a:ext cx="444794" cy="514698"/>
              <a:chOff x="14065458" y="16152057"/>
              <a:chExt cx="1908828" cy="2208820"/>
            </a:xfrm>
            <a:grpFill/>
          </p:grpSpPr>
          <p:sp>
            <p:nvSpPr>
              <p:cNvPr id="576" name="Rounded Rectangle 213"/>
              <p:cNvSpPr/>
              <p:nvPr/>
            </p:nvSpPr>
            <p:spPr>
              <a:xfrm rot="20661364">
                <a:off x="14200146" y="16208948"/>
                <a:ext cx="277157" cy="2151929"/>
              </a:xfrm>
              <a:prstGeom prst="roundRect">
                <a:avLst>
                  <a:gd name="adj" fmla="val 46875"/>
                </a:avLst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519970">
                  <a:defRPr/>
                </a:pPr>
                <a:endParaRPr lang="en-US" sz="1842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577" name="Rounded Rectangle 214"/>
              <p:cNvSpPr/>
              <p:nvPr/>
            </p:nvSpPr>
            <p:spPr>
              <a:xfrm rot="938636" flipH="1">
                <a:off x="15569359" y="16208948"/>
                <a:ext cx="277157" cy="2151929"/>
              </a:xfrm>
              <a:prstGeom prst="roundRect">
                <a:avLst>
                  <a:gd name="adj" fmla="val 46875"/>
                </a:avLst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519970">
                  <a:defRPr/>
                </a:pPr>
                <a:endParaRPr lang="en-US" sz="1842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578" name="Rounded Rectangle 215"/>
              <p:cNvSpPr/>
              <p:nvPr/>
            </p:nvSpPr>
            <p:spPr>
              <a:xfrm flipH="1">
                <a:off x="14871104" y="16152057"/>
                <a:ext cx="277157" cy="1138309"/>
              </a:xfrm>
              <a:prstGeom prst="roundRect">
                <a:avLst>
                  <a:gd name="adj" fmla="val 46875"/>
                </a:avLst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519970">
                  <a:defRPr/>
                </a:pPr>
                <a:endParaRPr lang="en-US" sz="1842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579" name="Freeform 216"/>
              <p:cNvSpPr/>
              <p:nvPr/>
            </p:nvSpPr>
            <p:spPr>
              <a:xfrm>
                <a:off x="14065458" y="16512027"/>
                <a:ext cx="1908828" cy="559897"/>
              </a:xfrm>
              <a:custGeom>
                <a:avLst/>
                <a:gdLst>
                  <a:gd name="connsiteX0" fmla="*/ 2650874 w 3020652"/>
                  <a:gd name="connsiteY0" fmla="*/ 501853 h 2043633"/>
                  <a:gd name="connsiteX1" fmla="*/ 2675767 w 3020652"/>
                  <a:gd name="connsiteY1" fmla="*/ 528173 h 2043633"/>
                  <a:gd name="connsiteX2" fmla="*/ 3020652 w 3020652"/>
                  <a:gd name="connsiteY2" fmla="*/ 1451393 h 2043633"/>
                  <a:gd name="connsiteX3" fmla="*/ 2901963 w 3020652"/>
                  <a:gd name="connsiteY3" fmla="*/ 2016341 h 2043633"/>
                  <a:gd name="connsiteX4" fmla="*/ 2897503 w 3020652"/>
                  <a:gd name="connsiteY4" fmla="*/ 2025239 h 2043633"/>
                  <a:gd name="connsiteX5" fmla="*/ 2802193 w 3020652"/>
                  <a:gd name="connsiteY5" fmla="*/ 1436521 h 2043633"/>
                  <a:gd name="connsiteX6" fmla="*/ 2796300 w 3020652"/>
                  <a:gd name="connsiteY6" fmla="*/ 1324385 h 2043633"/>
                  <a:gd name="connsiteX7" fmla="*/ 2744859 w 3020652"/>
                  <a:gd name="connsiteY7" fmla="*/ 1081999 h 2043633"/>
                  <a:gd name="connsiteX8" fmla="*/ 2744751 w 3020652"/>
                  <a:gd name="connsiteY8" fmla="*/ 1081715 h 2043633"/>
                  <a:gd name="connsiteX9" fmla="*/ 384115 w 3020652"/>
                  <a:gd name="connsiteY9" fmla="*/ 486693 h 2043633"/>
                  <a:gd name="connsiteX10" fmla="*/ 296760 w 3020652"/>
                  <a:gd name="connsiteY10" fmla="*/ 1026949 h 2043633"/>
                  <a:gd name="connsiteX11" fmla="*/ 275793 w 3020652"/>
                  <a:gd name="connsiteY11" fmla="*/ 1081999 h 2043633"/>
                  <a:gd name="connsiteX12" fmla="*/ 217678 w 3020652"/>
                  <a:gd name="connsiteY12" fmla="*/ 1451393 h 2043633"/>
                  <a:gd name="connsiteX13" fmla="*/ 220242 w 3020652"/>
                  <a:gd name="connsiteY13" fmla="*/ 1500181 h 2043633"/>
                  <a:gd name="connsiteX14" fmla="*/ 132369 w 3020652"/>
                  <a:gd name="connsiteY14" fmla="*/ 2043633 h 2043633"/>
                  <a:gd name="connsiteX15" fmla="*/ 118689 w 3020652"/>
                  <a:gd name="connsiteY15" fmla="*/ 2016341 h 2043633"/>
                  <a:gd name="connsiteX16" fmla="*/ 0 w 3020652"/>
                  <a:gd name="connsiteY16" fmla="*/ 1451393 h 2043633"/>
                  <a:gd name="connsiteX17" fmla="*/ 344885 w 3020652"/>
                  <a:gd name="connsiteY17" fmla="*/ 528173 h 2043633"/>
                  <a:gd name="connsiteX18" fmla="*/ 1510326 w 3020652"/>
                  <a:gd name="connsiteY18" fmla="*/ 0 h 2043633"/>
                  <a:gd name="connsiteX19" fmla="*/ 2471034 w 3020652"/>
                  <a:gd name="connsiteY19" fmla="*/ 331427 h 2043633"/>
                  <a:gd name="connsiteX20" fmla="*/ 2474929 w 3020652"/>
                  <a:gd name="connsiteY20" fmla="*/ 334829 h 2043633"/>
                  <a:gd name="connsiteX21" fmla="*/ 2409343 w 3020652"/>
                  <a:gd name="connsiteY21" fmla="*/ 559897 h 2043633"/>
                  <a:gd name="connsiteX22" fmla="*/ 2332570 w 3020652"/>
                  <a:gd name="connsiteY22" fmla="*/ 492845 h 2043633"/>
                  <a:gd name="connsiteX23" fmla="*/ 1510326 w 3020652"/>
                  <a:gd name="connsiteY23" fmla="*/ 209184 h 2043633"/>
                  <a:gd name="connsiteX24" fmla="*/ 688082 w 3020652"/>
                  <a:gd name="connsiteY24" fmla="*/ 492845 h 2043633"/>
                  <a:gd name="connsiteX25" fmla="*/ 630169 w 3020652"/>
                  <a:gd name="connsiteY25" fmla="*/ 543425 h 2043633"/>
                  <a:gd name="connsiteX26" fmla="*/ 566101 w 3020652"/>
                  <a:gd name="connsiteY26" fmla="*/ 319583 h 2043633"/>
                  <a:gd name="connsiteX27" fmla="*/ 665888 w 3020652"/>
                  <a:gd name="connsiteY27" fmla="*/ 247875 h 2043633"/>
                  <a:gd name="connsiteX28" fmla="*/ 1510326 w 3020652"/>
                  <a:gd name="connsiteY28" fmla="*/ 0 h 2043633"/>
                  <a:gd name="connsiteX0" fmla="*/ 2744751 w 3020652"/>
                  <a:gd name="connsiteY0" fmla="*/ 1081715 h 2043633"/>
                  <a:gd name="connsiteX1" fmla="*/ 2675767 w 3020652"/>
                  <a:gd name="connsiteY1" fmla="*/ 528173 h 2043633"/>
                  <a:gd name="connsiteX2" fmla="*/ 3020652 w 3020652"/>
                  <a:gd name="connsiteY2" fmla="*/ 1451393 h 2043633"/>
                  <a:gd name="connsiteX3" fmla="*/ 2901963 w 3020652"/>
                  <a:gd name="connsiteY3" fmla="*/ 2016341 h 2043633"/>
                  <a:gd name="connsiteX4" fmla="*/ 2897503 w 3020652"/>
                  <a:gd name="connsiteY4" fmla="*/ 2025239 h 2043633"/>
                  <a:gd name="connsiteX5" fmla="*/ 2802193 w 3020652"/>
                  <a:gd name="connsiteY5" fmla="*/ 1436521 h 2043633"/>
                  <a:gd name="connsiteX6" fmla="*/ 2796300 w 3020652"/>
                  <a:gd name="connsiteY6" fmla="*/ 1324385 h 2043633"/>
                  <a:gd name="connsiteX7" fmla="*/ 2744859 w 3020652"/>
                  <a:gd name="connsiteY7" fmla="*/ 1081999 h 2043633"/>
                  <a:gd name="connsiteX8" fmla="*/ 2744751 w 3020652"/>
                  <a:gd name="connsiteY8" fmla="*/ 1081715 h 2043633"/>
                  <a:gd name="connsiteX9" fmla="*/ 384115 w 3020652"/>
                  <a:gd name="connsiteY9" fmla="*/ 486693 h 2043633"/>
                  <a:gd name="connsiteX10" fmla="*/ 296760 w 3020652"/>
                  <a:gd name="connsiteY10" fmla="*/ 1026949 h 2043633"/>
                  <a:gd name="connsiteX11" fmla="*/ 275793 w 3020652"/>
                  <a:gd name="connsiteY11" fmla="*/ 1081999 h 2043633"/>
                  <a:gd name="connsiteX12" fmla="*/ 217678 w 3020652"/>
                  <a:gd name="connsiteY12" fmla="*/ 1451393 h 2043633"/>
                  <a:gd name="connsiteX13" fmla="*/ 220242 w 3020652"/>
                  <a:gd name="connsiteY13" fmla="*/ 1500181 h 2043633"/>
                  <a:gd name="connsiteX14" fmla="*/ 132369 w 3020652"/>
                  <a:gd name="connsiteY14" fmla="*/ 2043633 h 2043633"/>
                  <a:gd name="connsiteX15" fmla="*/ 118689 w 3020652"/>
                  <a:gd name="connsiteY15" fmla="*/ 2016341 h 2043633"/>
                  <a:gd name="connsiteX16" fmla="*/ 0 w 3020652"/>
                  <a:gd name="connsiteY16" fmla="*/ 1451393 h 2043633"/>
                  <a:gd name="connsiteX17" fmla="*/ 344885 w 3020652"/>
                  <a:gd name="connsiteY17" fmla="*/ 528173 h 2043633"/>
                  <a:gd name="connsiteX18" fmla="*/ 384115 w 3020652"/>
                  <a:gd name="connsiteY18" fmla="*/ 486693 h 2043633"/>
                  <a:gd name="connsiteX19" fmla="*/ 1510326 w 3020652"/>
                  <a:gd name="connsiteY19" fmla="*/ 0 h 2043633"/>
                  <a:gd name="connsiteX20" fmla="*/ 2471034 w 3020652"/>
                  <a:gd name="connsiteY20" fmla="*/ 331427 h 2043633"/>
                  <a:gd name="connsiteX21" fmla="*/ 2474929 w 3020652"/>
                  <a:gd name="connsiteY21" fmla="*/ 334829 h 2043633"/>
                  <a:gd name="connsiteX22" fmla="*/ 2409343 w 3020652"/>
                  <a:gd name="connsiteY22" fmla="*/ 559897 h 2043633"/>
                  <a:gd name="connsiteX23" fmla="*/ 2332570 w 3020652"/>
                  <a:gd name="connsiteY23" fmla="*/ 492845 h 2043633"/>
                  <a:gd name="connsiteX24" fmla="*/ 1510326 w 3020652"/>
                  <a:gd name="connsiteY24" fmla="*/ 209184 h 2043633"/>
                  <a:gd name="connsiteX25" fmla="*/ 688082 w 3020652"/>
                  <a:gd name="connsiteY25" fmla="*/ 492845 h 2043633"/>
                  <a:gd name="connsiteX26" fmla="*/ 630169 w 3020652"/>
                  <a:gd name="connsiteY26" fmla="*/ 543425 h 2043633"/>
                  <a:gd name="connsiteX27" fmla="*/ 566101 w 3020652"/>
                  <a:gd name="connsiteY27" fmla="*/ 319583 h 2043633"/>
                  <a:gd name="connsiteX28" fmla="*/ 665888 w 3020652"/>
                  <a:gd name="connsiteY28" fmla="*/ 247875 h 2043633"/>
                  <a:gd name="connsiteX29" fmla="*/ 1510326 w 3020652"/>
                  <a:gd name="connsiteY29" fmla="*/ 0 h 2043633"/>
                  <a:gd name="connsiteX0" fmla="*/ 2744751 w 3020652"/>
                  <a:gd name="connsiteY0" fmla="*/ 1081715 h 2043633"/>
                  <a:gd name="connsiteX1" fmla="*/ 3020652 w 3020652"/>
                  <a:gd name="connsiteY1" fmla="*/ 1451393 h 2043633"/>
                  <a:gd name="connsiteX2" fmla="*/ 2901963 w 3020652"/>
                  <a:gd name="connsiteY2" fmla="*/ 2016341 h 2043633"/>
                  <a:gd name="connsiteX3" fmla="*/ 2897503 w 3020652"/>
                  <a:gd name="connsiteY3" fmla="*/ 2025239 h 2043633"/>
                  <a:gd name="connsiteX4" fmla="*/ 2802193 w 3020652"/>
                  <a:gd name="connsiteY4" fmla="*/ 1436521 h 2043633"/>
                  <a:gd name="connsiteX5" fmla="*/ 2796300 w 3020652"/>
                  <a:gd name="connsiteY5" fmla="*/ 1324385 h 2043633"/>
                  <a:gd name="connsiteX6" fmla="*/ 2744859 w 3020652"/>
                  <a:gd name="connsiteY6" fmla="*/ 1081999 h 2043633"/>
                  <a:gd name="connsiteX7" fmla="*/ 2744751 w 3020652"/>
                  <a:gd name="connsiteY7" fmla="*/ 1081715 h 2043633"/>
                  <a:gd name="connsiteX8" fmla="*/ 384115 w 3020652"/>
                  <a:gd name="connsiteY8" fmla="*/ 486693 h 2043633"/>
                  <a:gd name="connsiteX9" fmla="*/ 296760 w 3020652"/>
                  <a:gd name="connsiteY9" fmla="*/ 1026949 h 2043633"/>
                  <a:gd name="connsiteX10" fmla="*/ 275793 w 3020652"/>
                  <a:gd name="connsiteY10" fmla="*/ 1081999 h 2043633"/>
                  <a:gd name="connsiteX11" fmla="*/ 217678 w 3020652"/>
                  <a:gd name="connsiteY11" fmla="*/ 1451393 h 2043633"/>
                  <a:gd name="connsiteX12" fmla="*/ 220242 w 3020652"/>
                  <a:gd name="connsiteY12" fmla="*/ 1500181 h 2043633"/>
                  <a:gd name="connsiteX13" fmla="*/ 132369 w 3020652"/>
                  <a:gd name="connsiteY13" fmla="*/ 2043633 h 2043633"/>
                  <a:gd name="connsiteX14" fmla="*/ 118689 w 3020652"/>
                  <a:gd name="connsiteY14" fmla="*/ 2016341 h 2043633"/>
                  <a:gd name="connsiteX15" fmla="*/ 0 w 3020652"/>
                  <a:gd name="connsiteY15" fmla="*/ 1451393 h 2043633"/>
                  <a:gd name="connsiteX16" fmla="*/ 344885 w 3020652"/>
                  <a:gd name="connsiteY16" fmla="*/ 528173 h 2043633"/>
                  <a:gd name="connsiteX17" fmla="*/ 384115 w 3020652"/>
                  <a:gd name="connsiteY17" fmla="*/ 486693 h 2043633"/>
                  <a:gd name="connsiteX18" fmla="*/ 1510326 w 3020652"/>
                  <a:gd name="connsiteY18" fmla="*/ 0 h 2043633"/>
                  <a:gd name="connsiteX19" fmla="*/ 2471034 w 3020652"/>
                  <a:gd name="connsiteY19" fmla="*/ 331427 h 2043633"/>
                  <a:gd name="connsiteX20" fmla="*/ 2474929 w 3020652"/>
                  <a:gd name="connsiteY20" fmla="*/ 334829 h 2043633"/>
                  <a:gd name="connsiteX21" fmla="*/ 2409343 w 3020652"/>
                  <a:gd name="connsiteY21" fmla="*/ 559897 h 2043633"/>
                  <a:gd name="connsiteX22" fmla="*/ 2332570 w 3020652"/>
                  <a:gd name="connsiteY22" fmla="*/ 492845 h 2043633"/>
                  <a:gd name="connsiteX23" fmla="*/ 1510326 w 3020652"/>
                  <a:gd name="connsiteY23" fmla="*/ 209184 h 2043633"/>
                  <a:gd name="connsiteX24" fmla="*/ 688082 w 3020652"/>
                  <a:gd name="connsiteY24" fmla="*/ 492845 h 2043633"/>
                  <a:gd name="connsiteX25" fmla="*/ 630169 w 3020652"/>
                  <a:gd name="connsiteY25" fmla="*/ 543425 h 2043633"/>
                  <a:gd name="connsiteX26" fmla="*/ 566101 w 3020652"/>
                  <a:gd name="connsiteY26" fmla="*/ 319583 h 2043633"/>
                  <a:gd name="connsiteX27" fmla="*/ 665888 w 3020652"/>
                  <a:gd name="connsiteY27" fmla="*/ 247875 h 2043633"/>
                  <a:gd name="connsiteX28" fmla="*/ 1510326 w 3020652"/>
                  <a:gd name="connsiteY28" fmla="*/ 0 h 2043633"/>
                  <a:gd name="connsiteX0" fmla="*/ 2744859 w 3020652"/>
                  <a:gd name="connsiteY0" fmla="*/ 1081999 h 2043633"/>
                  <a:gd name="connsiteX1" fmla="*/ 3020652 w 3020652"/>
                  <a:gd name="connsiteY1" fmla="*/ 1451393 h 2043633"/>
                  <a:gd name="connsiteX2" fmla="*/ 2901963 w 3020652"/>
                  <a:gd name="connsiteY2" fmla="*/ 2016341 h 2043633"/>
                  <a:gd name="connsiteX3" fmla="*/ 2897503 w 3020652"/>
                  <a:gd name="connsiteY3" fmla="*/ 2025239 h 2043633"/>
                  <a:gd name="connsiteX4" fmla="*/ 2802193 w 3020652"/>
                  <a:gd name="connsiteY4" fmla="*/ 1436521 h 2043633"/>
                  <a:gd name="connsiteX5" fmla="*/ 2796300 w 3020652"/>
                  <a:gd name="connsiteY5" fmla="*/ 1324385 h 2043633"/>
                  <a:gd name="connsiteX6" fmla="*/ 2744859 w 3020652"/>
                  <a:gd name="connsiteY6" fmla="*/ 1081999 h 2043633"/>
                  <a:gd name="connsiteX7" fmla="*/ 384115 w 3020652"/>
                  <a:gd name="connsiteY7" fmla="*/ 486693 h 2043633"/>
                  <a:gd name="connsiteX8" fmla="*/ 296760 w 3020652"/>
                  <a:gd name="connsiteY8" fmla="*/ 1026949 h 2043633"/>
                  <a:gd name="connsiteX9" fmla="*/ 275793 w 3020652"/>
                  <a:gd name="connsiteY9" fmla="*/ 1081999 h 2043633"/>
                  <a:gd name="connsiteX10" fmla="*/ 217678 w 3020652"/>
                  <a:gd name="connsiteY10" fmla="*/ 1451393 h 2043633"/>
                  <a:gd name="connsiteX11" fmla="*/ 220242 w 3020652"/>
                  <a:gd name="connsiteY11" fmla="*/ 1500181 h 2043633"/>
                  <a:gd name="connsiteX12" fmla="*/ 132369 w 3020652"/>
                  <a:gd name="connsiteY12" fmla="*/ 2043633 h 2043633"/>
                  <a:gd name="connsiteX13" fmla="*/ 118689 w 3020652"/>
                  <a:gd name="connsiteY13" fmla="*/ 2016341 h 2043633"/>
                  <a:gd name="connsiteX14" fmla="*/ 0 w 3020652"/>
                  <a:gd name="connsiteY14" fmla="*/ 1451393 h 2043633"/>
                  <a:gd name="connsiteX15" fmla="*/ 344885 w 3020652"/>
                  <a:gd name="connsiteY15" fmla="*/ 528173 h 2043633"/>
                  <a:gd name="connsiteX16" fmla="*/ 384115 w 3020652"/>
                  <a:gd name="connsiteY16" fmla="*/ 486693 h 2043633"/>
                  <a:gd name="connsiteX17" fmla="*/ 1510326 w 3020652"/>
                  <a:gd name="connsiteY17" fmla="*/ 0 h 2043633"/>
                  <a:gd name="connsiteX18" fmla="*/ 2471034 w 3020652"/>
                  <a:gd name="connsiteY18" fmla="*/ 331427 h 2043633"/>
                  <a:gd name="connsiteX19" fmla="*/ 2474929 w 3020652"/>
                  <a:gd name="connsiteY19" fmla="*/ 334829 h 2043633"/>
                  <a:gd name="connsiteX20" fmla="*/ 2409343 w 3020652"/>
                  <a:gd name="connsiteY20" fmla="*/ 559897 h 2043633"/>
                  <a:gd name="connsiteX21" fmla="*/ 2332570 w 3020652"/>
                  <a:gd name="connsiteY21" fmla="*/ 492845 h 2043633"/>
                  <a:gd name="connsiteX22" fmla="*/ 1510326 w 3020652"/>
                  <a:gd name="connsiteY22" fmla="*/ 209184 h 2043633"/>
                  <a:gd name="connsiteX23" fmla="*/ 688082 w 3020652"/>
                  <a:gd name="connsiteY23" fmla="*/ 492845 h 2043633"/>
                  <a:gd name="connsiteX24" fmla="*/ 630169 w 3020652"/>
                  <a:gd name="connsiteY24" fmla="*/ 543425 h 2043633"/>
                  <a:gd name="connsiteX25" fmla="*/ 566101 w 3020652"/>
                  <a:gd name="connsiteY25" fmla="*/ 319583 h 2043633"/>
                  <a:gd name="connsiteX26" fmla="*/ 665888 w 3020652"/>
                  <a:gd name="connsiteY26" fmla="*/ 247875 h 2043633"/>
                  <a:gd name="connsiteX27" fmla="*/ 1510326 w 3020652"/>
                  <a:gd name="connsiteY27" fmla="*/ 0 h 2043633"/>
                  <a:gd name="connsiteX0" fmla="*/ 2796300 w 3023749"/>
                  <a:gd name="connsiteY0" fmla="*/ 1324385 h 2043633"/>
                  <a:gd name="connsiteX1" fmla="*/ 3020652 w 3023749"/>
                  <a:gd name="connsiteY1" fmla="*/ 1451393 h 2043633"/>
                  <a:gd name="connsiteX2" fmla="*/ 2901963 w 3023749"/>
                  <a:gd name="connsiteY2" fmla="*/ 2016341 h 2043633"/>
                  <a:gd name="connsiteX3" fmla="*/ 2897503 w 3023749"/>
                  <a:gd name="connsiteY3" fmla="*/ 2025239 h 2043633"/>
                  <a:gd name="connsiteX4" fmla="*/ 2802193 w 3023749"/>
                  <a:gd name="connsiteY4" fmla="*/ 1436521 h 2043633"/>
                  <a:gd name="connsiteX5" fmla="*/ 2796300 w 3023749"/>
                  <a:gd name="connsiteY5" fmla="*/ 1324385 h 2043633"/>
                  <a:gd name="connsiteX6" fmla="*/ 384115 w 3023749"/>
                  <a:gd name="connsiteY6" fmla="*/ 486693 h 2043633"/>
                  <a:gd name="connsiteX7" fmla="*/ 296760 w 3023749"/>
                  <a:gd name="connsiteY7" fmla="*/ 1026949 h 2043633"/>
                  <a:gd name="connsiteX8" fmla="*/ 275793 w 3023749"/>
                  <a:gd name="connsiteY8" fmla="*/ 1081999 h 2043633"/>
                  <a:gd name="connsiteX9" fmla="*/ 217678 w 3023749"/>
                  <a:gd name="connsiteY9" fmla="*/ 1451393 h 2043633"/>
                  <a:gd name="connsiteX10" fmla="*/ 220242 w 3023749"/>
                  <a:gd name="connsiteY10" fmla="*/ 1500181 h 2043633"/>
                  <a:gd name="connsiteX11" fmla="*/ 132369 w 3023749"/>
                  <a:gd name="connsiteY11" fmla="*/ 2043633 h 2043633"/>
                  <a:gd name="connsiteX12" fmla="*/ 118689 w 3023749"/>
                  <a:gd name="connsiteY12" fmla="*/ 2016341 h 2043633"/>
                  <a:gd name="connsiteX13" fmla="*/ 0 w 3023749"/>
                  <a:gd name="connsiteY13" fmla="*/ 1451393 h 2043633"/>
                  <a:gd name="connsiteX14" fmla="*/ 344885 w 3023749"/>
                  <a:gd name="connsiteY14" fmla="*/ 528173 h 2043633"/>
                  <a:gd name="connsiteX15" fmla="*/ 384115 w 3023749"/>
                  <a:gd name="connsiteY15" fmla="*/ 486693 h 2043633"/>
                  <a:gd name="connsiteX16" fmla="*/ 1510326 w 3023749"/>
                  <a:gd name="connsiteY16" fmla="*/ 0 h 2043633"/>
                  <a:gd name="connsiteX17" fmla="*/ 2471034 w 3023749"/>
                  <a:gd name="connsiteY17" fmla="*/ 331427 h 2043633"/>
                  <a:gd name="connsiteX18" fmla="*/ 2474929 w 3023749"/>
                  <a:gd name="connsiteY18" fmla="*/ 334829 h 2043633"/>
                  <a:gd name="connsiteX19" fmla="*/ 2409343 w 3023749"/>
                  <a:gd name="connsiteY19" fmla="*/ 559897 h 2043633"/>
                  <a:gd name="connsiteX20" fmla="*/ 2332570 w 3023749"/>
                  <a:gd name="connsiteY20" fmla="*/ 492845 h 2043633"/>
                  <a:gd name="connsiteX21" fmla="*/ 1510326 w 3023749"/>
                  <a:gd name="connsiteY21" fmla="*/ 209184 h 2043633"/>
                  <a:gd name="connsiteX22" fmla="*/ 688082 w 3023749"/>
                  <a:gd name="connsiteY22" fmla="*/ 492845 h 2043633"/>
                  <a:gd name="connsiteX23" fmla="*/ 630169 w 3023749"/>
                  <a:gd name="connsiteY23" fmla="*/ 543425 h 2043633"/>
                  <a:gd name="connsiteX24" fmla="*/ 566101 w 3023749"/>
                  <a:gd name="connsiteY24" fmla="*/ 319583 h 2043633"/>
                  <a:gd name="connsiteX25" fmla="*/ 665888 w 3023749"/>
                  <a:gd name="connsiteY25" fmla="*/ 247875 h 2043633"/>
                  <a:gd name="connsiteX26" fmla="*/ 1510326 w 3023749"/>
                  <a:gd name="connsiteY26" fmla="*/ 0 h 2043633"/>
                  <a:gd name="connsiteX0" fmla="*/ 2802193 w 3023749"/>
                  <a:gd name="connsiteY0" fmla="*/ 1436521 h 2043633"/>
                  <a:gd name="connsiteX1" fmla="*/ 3020652 w 3023749"/>
                  <a:gd name="connsiteY1" fmla="*/ 1451393 h 2043633"/>
                  <a:gd name="connsiteX2" fmla="*/ 2901963 w 3023749"/>
                  <a:gd name="connsiteY2" fmla="*/ 2016341 h 2043633"/>
                  <a:gd name="connsiteX3" fmla="*/ 2897503 w 3023749"/>
                  <a:gd name="connsiteY3" fmla="*/ 2025239 h 2043633"/>
                  <a:gd name="connsiteX4" fmla="*/ 2802193 w 3023749"/>
                  <a:gd name="connsiteY4" fmla="*/ 1436521 h 2043633"/>
                  <a:gd name="connsiteX5" fmla="*/ 384115 w 3023749"/>
                  <a:gd name="connsiteY5" fmla="*/ 486693 h 2043633"/>
                  <a:gd name="connsiteX6" fmla="*/ 296760 w 3023749"/>
                  <a:gd name="connsiteY6" fmla="*/ 1026949 h 2043633"/>
                  <a:gd name="connsiteX7" fmla="*/ 275793 w 3023749"/>
                  <a:gd name="connsiteY7" fmla="*/ 1081999 h 2043633"/>
                  <a:gd name="connsiteX8" fmla="*/ 217678 w 3023749"/>
                  <a:gd name="connsiteY8" fmla="*/ 1451393 h 2043633"/>
                  <a:gd name="connsiteX9" fmla="*/ 220242 w 3023749"/>
                  <a:gd name="connsiteY9" fmla="*/ 1500181 h 2043633"/>
                  <a:gd name="connsiteX10" fmla="*/ 132369 w 3023749"/>
                  <a:gd name="connsiteY10" fmla="*/ 2043633 h 2043633"/>
                  <a:gd name="connsiteX11" fmla="*/ 118689 w 3023749"/>
                  <a:gd name="connsiteY11" fmla="*/ 2016341 h 2043633"/>
                  <a:gd name="connsiteX12" fmla="*/ 0 w 3023749"/>
                  <a:gd name="connsiteY12" fmla="*/ 1451393 h 2043633"/>
                  <a:gd name="connsiteX13" fmla="*/ 344885 w 3023749"/>
                  <a:gd name="connsiteY13" fmla="*/ 528173 h 2043633"/>
                  <a:gd name="connsiteX14" fmla="*/ 384115 w 3023749"/>
                  <a:gd name="connsiteY14" fmla="*/ 486693 h 2043633"/>
                  <a:gd name="connsiteX15" fmla="*/ 1510326 w 3023749"/>
                  <a:gd name="connsiteY15" fmla="*/ 0 h 2043633"/>
                  <a:gd name="connsiteX16" fmla="*/ 2471034 w 3023749"/>
                  <a:gd name="connsiteY16" fmla="*/ 331427 h 2043633"/>
                  <a:gd name="connsiteX17" fmla="*/ 2474929 w 3023749"/>
                  <a:gd name="connsiteY17" fmla="*/ 334829 h 2043633"/>
                  <a:gd name="connsiteX18" fmla="*/ 2409343 w 3023749"/>
                  <a:gd name="connsiteY18" fmla="*/ 559897 h 2043633"/>
                  <a:gd name="connsiteX19" fmla="*/ 2332570 w 3023749"/>
                  <a:gd name="connsiteY19" fmla="*/ 492845 h 2043633"/>
                  <a:gd name="connsiteX20" fmla="*/ 1510326 w 3023749"/>
                  <a:gd name="connsiteY20" fmla="*/ 209184 h 2043633"/>
                  <a:gd name="connsiteX21" fmla="*/ 688082 w 3023749"/>
                  <a:gd name="connsiteY21" fmla="*/ 492845 h 2043633"/>
                  <a:gd name="connsiteX22" fmla="*/ 630169 w 3023749"/>
                  <a:gd name="connsiteY22" fmla="*/ 543425 h 2043633"/>
                  <a:gd name="connsiteX23" fmla="*/ 566101 w 3023749"/>
                  <a:gd name="connsiteY23" fmla="*/ 319583 h 2043633"/>
                  <a:gd name="connsiteX24" fmla="*/ 665888 w 3023749"/>
                  <a:gd name="connsiteY24" fmla="*/ 247875 h 2043633"/>
                  <a:gd name="connsiteX25" fmla="*/ 1510326 w 3023749"/>
                  <a:gd name="connsiteY25" fmla="*/ 0 h 2043633"/>
                  <a:gd name="connsiteX0" fmla="*/ 2897503 w 3023749"/>
                  <a:gd name="connsiteY0" fmla="*/ 2025239 h 2043633"/>
                  <a:gd name="connsiteX1" fmla="*/ 3020652 w 3023749"/>
                  <a:gd name="connsiteY1" fmla="*/ 1451393 h 2043633"/>
                  <a:gd name="connsiteX2" fmla="*/ 2901963 w 3023749"/>
                  <a:gd name="connsiteY2" fmla="*/ 2016341 h 2043633"/>
                  <a:gd name="connsiteX3" fmla="*/ 2897503 w 3023749"/>
                  <a:gd name="connsiteY3" fmla="*/ 2025239 h 2043633"/>
                  <a:gd name="connsiteX4" fmla="*/ 384115 w 3023749"/>
                  <a:gd name="connsiteY4" fmla="*/ 486693 h 2043633"/>
                  <a:gd name="connsiteX5" fmla="*/ 296760 w 3023749"/>
                  <a:gd name="connsiteY5" fmla="*/ 1026949 h 2043633"/>
                  <a:gd name="connsiteX6" fmla="*/ 275793 w 3023749"/>
                  <a:gd name="connsiteY6" fmla="*/ 1081999 h 2043633"/>
                  <a:gd name="connsiteX7" fmla="*/ 217678 w 3023749"/>
                  <a:gd name="connsiteY7" fmla="*/ 1451393 h 2043633"/>
                  <a:gd name="connsiteX8" fmla="*/ 220242 w 3023749"/>
                  <a:gd name="connsiteY8" fmla="*/ 1500181 h 2043633"/>
                  <a:gd name="connsiteX9" fmla="*/ 132369 w 3023749"/>
                  <a:gd name="connsiteY9" fmla="*/ 2043633 h 2043633"/>
                  <a:gd name="connsiteX10" fmla="*/ 118689 w 3023749"/>
                  <a:gd name="connsiteY10" fmla="*/ 2016341 h 2043633"/>
                  <a:gd name="connsiteX11" fmla="*/ 0 w 3023749"/>
                  <a:gd name="connsiteY11" fmla="*/ 1451393 h 2043633"/>
                  <a:gd name="connsiteX12" fmla="*/ 344885 w 3023749"/>
                  <a:gd name="connsiteY12" fmla="*/ 528173 h 2043633"/>
                  <a:gd name="connsiteX13" fmla="*/ 384115 w 3023749"/>
                  <a:gd name="connsiteY13" fmla="*/ 486693 h 2043633"/>
                  <a:gd name="connsiteX14" fmla="*/ 1510326 w 3023749"/>
                  <a:gd name="connsiteY14" fmla="*/ 0 h 2043633"/>
                  <a:gd name="connsiteX15" fmla="*/ 2471034 w 3023749"/>
                  <a:gd name="connsiteY15" fmla="*/ 331427 h 2043633"/>
                  <a:gd name="connsiteX16" fmla="*/ 2474929 w 3023749"/>
                  <a:gd name="connsiteY16" fmla="*/ 334829 h 2043633"/>
                  <a:gd name="connsiteX17" fmla="*/ 2409343 w 3023749"/>
                  <a:gd name="connsiteY17" fmla="*/ 559897 h 2043633"/>
                  <a:gd name="connsiteX18" fmla="*/ 2332570 w 3023749"/>
                  <a:gd name="connsiteY18" fmla="*/ 492845 h 2043633"/>
                  <a:gd name="connsiteX19" fmla="*/ 1510326 w 3023749"/>
                  <a:gd name="connsiteY19" fmla="*/ 209184 h 2043633"/>
                  <a:gd name="connsiteX20" fmla="*/ 688082 w 3023749"/>
                  <a:gd name="connsiteY20" fmla="*/ 492845 h 2043633"/>
                  <a:gd name="connsiteX21" fmla="*/ 630169 w 3023749"/>
                  <a:gd name="connsiteY21" fmla="*/ 543425 h 2043633"/>
                  <a:gd name="connsiteX22" fmla="*/ 566101 w 3023749"/>
                  <a:gd name="connsiteY22" fmla="*/ 319583 h 2043633"/>
                  <a:gd name="connsiteX23" fmla="*/ 665888 w 3023749"/>
                  <a:gd name="connsiteY23" fmla="*/ 247875 h 2043633"/>
                  <a:gd name="connsiteX24" fmla="*/ 1510326 w 3023749"/>
                  <a:gd name="connsiteY24" fmla="*/ 0 h 2043633"/>
                  <a:gd name="connsiteX0" fmla="*/ 2897503 w 2901963"/>
                  <a:gd name="connsiteY0" fmla="*/ 2025239 h 2043633"/>
                  <a:gd name="connsiteX1" fmla="*/ 2901963 w 2901963"/>
                  <a:gd name="connsiteY1" fmla="*/ 2016341 h 2043633"/>
                  <a:gd name="connsiteX2" fmla="*/ 2897503 w 2901963"/>
                  <a:gd name="connsiteY2" fmla="*/ 2025239 h 2043633"/>
                  <a:gd name="connsiteX3" fmla="*/ 384115 w 2901963"/>
                  <a:gd name="connsiteY3" fmla="*/ 486693 h 2043633"/>
                  <a:gd name="connsiteX4" fmla="*/ 296760 w 2901963"/>
                  <a:gd name="connsiteY4" fmla="*/ 1026949 h 2043633"/>
                  <a:gd name="connsiteX5" fmla="*/ 275793 w 2901963"/>
                  <a:gd name="connsiteY5" fmla="*/ 1081999 h 2043633"/>
                  <a:gd name="connsiteX6" fmla="*/ 217678 w 2901963"/>
                  <a:gd name="connsiteY6" fmla="*/ 1451393 h 2043633"/>
                  <a:gd name="connsiteX7" fmla="*/ 220242 w 2901963"/>
                  <a:gd name="connsiteY7" fmla="*/ 1500181 h 2043633"/>
                  <a:gd name="connsiteX8" fmla="*/ 132369 w 2901963"/>
                  <a:gd name="connsiteY8" fmla="*/ 2043633 h 2043633"/>
                  <a:gd name="connsiteX9" fmla="*/ 118689 w 2901963"/>
                  <a:gd name="connsiteY9" fmla="*/ 2016341 h 2043633"/>
                  <a:gd name="connsiteX10" fmla="*/ 0 w 2901963"/>
                  <a:gd name="connsiteY10" fmla="*/ 1451393 h 2043633"/>
                  <a:gd name="connsiteX11" fmla="*/ 344885 w 2901963"/>
                  <a:gd name="connsiteY11" fmla="*/ 528173 h 2043633"/>
                  <a:gd name="connsiteX12" fmla="*/ 384115 w 2901963"/>
                  <a:gd name="connsiteY12" fmla="*/ 486693 h 2043633"/>
                  <a:gd name="connsiteX13" fmla="*/ 1510326 w 2901963"/>
                  <a:gd name="connsiteY13" fmla="*/ 0 h 2043633"/>
                  <a:gd name="connsiteX14" fmla="*/ 2471034 w 2901963"/>
                  <a:gd name="connsiteY14" fmla="*/ 331427 h 2043633"/>
                  <a:gd name="connsiteX15" fmla="*/ 2474929 w 2901963"/>
                  <a:gd name="connsiteY15" fmla="*/ 334829 h 2043633"/>
                  <a:gd name="connsiteX16" fmla="*/ 2409343 w 2901963"/>
                  <a:gd name="connsiteY16" fmla="*/ 559897 h 2043633"/>
                  <a:gd name="connsiteX17" fmla="*/ 2332570 w 2901963"/>
                  <a:gd name="connsiteY17" fmla="*/ 492845 h 2043633"/>
                  <a:gd name="connsiteX18" fmla="*/ 1510326 w 2901963"/>
                  <a:gd name="connsiteY18" fmla="*/ 209184 h 2043633"/>
                  <a:gd name="connsiteX19" fmla="*/ 688082 w 2901963"/>
                  <a:gd name="connsiteY19" fmla="*/ 492845 h 2043633"/>
                  <a:gd name="connsiteX20" fmla="*/ 630169 w 2901963"/>
                  <a:gd name="connsiteY20" fmla="*/ 543425 h 2043633"/>
                  <a:gd name="connsiteX21" fmla="*/ 566101 w 2901963"/>
                  <a:gd name="connsiteY21" fmla="*/ 319583 h 2043633"/>
                  <a:gd name="connsiteX22" fmla="*/ 665888 w 2901963"/>
                  <a:gd name="connsiteY22" fmla="*/ 247875 h 2043633"/>
                  <a:gd name="connsiteX23" fmla="*/ 1510326 w 2901963"/>
                  <a:gd name="connsiteY23" fmla="*/ 0 h 2043633"/>
                  <a:gd name="connsiteX0" fmla="*/ 384115 w 2474929"/>
                  <a:gd name="connsiteY0" fmla="*/ 486693 h 2043633"/>
                  <a:gd name="connsiteX1" fmla="*/ 296760 w 2474929"/>
                  <a:gd name="connsiteY1" fmla="*/ 1026949 h 2043633"/>
                  <a:gd name="connsiteX2" fmla="*/ 275793 w 2474929"/>
                  <a:gd name="connsiteY2" fmla="*/ 1081999 h 2043633"/>
                  <a:gd name="connsiteX3" fmla="*/ 217678 w 2474929"/>
                  <a:gd name="connsiteY3" fmla="*/ 1451393 h 2043633"/>
                  <a:gd name="connsiteX4" fmla="*/ 220242 w 2474929"/>
                  <a:gd name="connsiteY4" fmla="*/ 1500181 h 2043633"/>
                  <a:gd name="connsiteX5" fmla="*/ 132369 w 2474929"/>
                  <a:gd name="connsiteY5" fmla="*/ 2043633 h 2043633"/>
                  <a:gd name="connsiteX6" fmla="*/ 118689 w 2474929"/>
                  <a:gd name="connsiteY6" fmla="*/ 2016341 h 2043633"/>
                  <a:gd name="connsiteX7" fmla="*/ 0 w 2474929"/>
                  <a:gd name="connsiteY7" fmla="*/ 1451393 h 2043633"/>
                  <a:gd name="connsiteX8" fmla="*/ 344885 w 2474929"/>
                  <a:gd name="connsiteY8" fmla="*/ 528173 h 2043633"/>
                  <a:gd name="connsiteX9" fmla="*/ 384115 w 2474929"/>
                  <a:gd name="connsiteY9" fmla="*/ 486693 h 2043633"/>
                  <a:gd name="connsiteX10" fmla="*/ 1510326 w 2474929"/>
                  <a:gd name="connsiteY10" fmla="*/ 0 h 2043633"/>
                  <a:gd name="connsiteX11" fmla="*/ 2471034 w 2474929"/>
                  <a:gd name="connsiteY11" fmla="*/ 331427 h 2043633"/>
                  <a:gd name="connsiteX12" fmla="*/ 2474929 w 2474929"/>
                  <a:gd name="connsiteY12" fmla="*/ 334829 h 2043633"/>
                  <a:gd name="connsiteX13" fmla="*/ 2409343 w 2474929"/>
                  <a:gd name="connsiteY13" fmla="*/ 559897 h 2043633"/>
                  <a:gd name="connsiteX14" fmla="*/ 2332570 w 2474929"/>
                  <a:gd name="connsiteY14" fmla="*/ 492845 h 2043633"/>
                  <a:gd name="connsiteX15" fmla="*/ 1510326 w 2474929"/>
                  <a:gd name="connsiteY15" fmla="*/ 209184 h 2043633"/>
                  <a:gd name="connsiteX16" fmla="*/ 688082 w 2474929"/>
                  <a:gd name="connsiteY16" fmla="*/ 492845 h 2043633"/>
                  <a:gd name="connsiteX17" fmla="*/ 630169 w 2474929"/>
                  <a:gd name="connsiteY17" fmla="*/ 543425 h 2043633"/>
                  <a:gd name="connsiteX18" fmla="*/ 566101 w 2474929"/>
                  <a:gd name="connsiteY18" fmla="*/ 319583 h 2043633"/>
                  <a:gd name="connsiteX19" fmla="*/ 665888 w 2474929"/>
                  <a:gd name="connsiteY19" fmla="*/ 247875 h 2043633"/>
                  <a:gd name="connsiteX20" fmla="*/ 1510326 w 2474929"/>
                  <a:gd name="connsiteY20" fmla="*/ 0 h 2043633"/>
                  <a:gd name="connsiteX0" fmla="*/ 384115 w 2474929"/>
                  <a:gd name="connsiteY0" fmla="*/ 486693 h 2043633"/>
                  <a:gd name="connsiteX1" fmla="*/ 296760 w 2474929"/>
                  <a:gd name="connsiteY1" fmla="*/ 1026949 h 2043633"/>
                  <a:gd name="connsiteX2" fmla="*/ 275793 w 2474929"/>
                  <a:gd name="connsiteY2" fmla="*/ 1081999 h 2043633"/>
                  <a:gd name="connsiteX3" fmla="*/ 217678 w 2474929"/>
                  <a:gd name="connsiteY3" fmla="*/ 1451393 h 2043633"/>
                  <a:gd name="connsiteX4" fmla="*/ 220242 w 2474929"/>
                  <a:gd name="connsiteY4" fmla="*/ 1500181 h 2043633"/>
                  <a:gd name="connsiteX5" fmla="*/ 132369 w 2474929"/>
                  <a:gd name="connsiteY5" fmla="*/ 2043633 h 2043633"/>
                  <a:gd name="connsiteX6" fmla="*/ 0 w 2474929"/>
                  <a:gd name="connsiteY6" fmla="*/ 1451393 h 2043633"/>
                  <a:gd name="connsiteX7" fmla="*/ 344885 w 2474929"/>
                  <a:gd name="connsiteY7" fmla="*/ 528173 h 2043633"/>
                  <a:gd name="connsiteX8" fmla="*/ 384115 w 2474929"/>
                  <a:gd name="connsiteY8" fmla="*/ 486693 h 2043633"/>
                  <a:gd name="connsiteX9" fmla="*/ 1510326 w 2474929"/>
                  <a:gd name="connsiteY9" fmla="*/ 0 h 2043633"/>
                  <a:gd name="connsiteX10" fmla="*/ 2471034 w 2474929"/>
                  <a:gd name="connsiteY10" fmla="*/ 331427 h 2043633"/>
                  <a:gd name="connsiteX11" fmla="*/ 2474929 w 2474929"/>
                  <a:gd name="connsiteY11" fmla="*/ 334829 h 2043633"/>
                  <a:gd name="connsiteX12" fmla="*/ 2409343 w 2474929"/>
                  <a:gd name="connsiteY12" fmla="*/ 559897 h 2043633"/>
                  <a:gd name="connsiteX13" fmla="*/ 2332570 w 2474929"/>
                  <a:gd name="connsiteY13" fmla="*/ 492845 h 2043633"/>
                  <a:gd name="connsiteX14" fmla="*/ 1510326 w 2474929"/>
                  <a:gd name="connsiteY14" fmla="*/ 209184 h 2043633"/>
                  <a:gd name="connsiteX15" fmla="*/ 688082 w 2474929"/>
                  <a:gd name="connsiteY15" fmla="*/ 492845 h 2043633"/>
                  <a:gd name="connsiteX16" fmla="*/ 630169 w 2474929"/>
                  <a:gd name="connsiteY16" fmla="*/ 543425 h 2043633"/>
                  <a:gd name="connsiteX17" fmla="*/ 566101 w 2474929"/>
                  <a:gd name="connsiteY17" fmla="*/ 319583 h 2043633"/>
                  <a:gd name="connsiteX18" fmla="*/ 665888 w 2474929"/>
                  <a:gd name="connsiteY18" fmla="*/ 247875 h 2043633"/>
                  <a:gd name="connsiteX19" fmla="*/ 1510326 w 2474929"/>
                  <a:gd name="connsiteY19" fmla="*/ 0 h 2043633"/>
                  <a:gd name="connsiteX0" fmla="*/ 384115 w 2474929"/>
                  <a:gd name="connsiteY0" fmla="*/ 486693 h 1500181"/>
                  <a:gd name="connsiteX1" fmla="*/ 296760 w 2474929"/>
                  <a:gd name="connsiteY1" fmla="*/ 1026949 h 1500181"/>
                  <a:gd name="connsiteX2" fmla="*/ 275793 w 2474929"/>
                  <a:gd name="connsiteY2" fmla="*/ 1081999 h 1500181"/>
                  <a:gd name="connsiteX3" fmla="*/ 217678 w 2474929"/>
                  <a:gd name="connsiteY3" fmla="*/ 1451393 h 1500181"/>
                  <a:gd name="connsiteX4" fmla="*/ 220242 w 2474929"/>
                  <a:gd name="connsiteY4" fmla="*/ 1500181 h 1500181"/>
                  <a:gd name="connsiteX5" fmla="*/ 0 w 2474929"/>
                  <a:gd name="connsiteY5" fmla="*/ 1451393 h 1500181"/>
                  <a:gd name="connsiteX6" fmla="*/ 344885 w 2474929"/>
                  <a:gd name="connsiteY6" fmla="*/ 528173 h 1500181"/>
                  <a:gd name="connsiteX7" fmla="*/ 384115 w 2474929"/>
                  <a:gd name="connsiteY7" fmla="*/ 486693 h 1500181"/>
                  <a:gd name="connsiteX8" fmla="*/ 1510326 w 2474929"/>
                  <a:gd name="connsiteY8" fmla="*/ 0 h 1500181"/>
                  <a:gd name="connsiteX9" fmla="*/ 2471034 w 2474929"/>
                  <a:gd name="connsiteY9" fmla="*/ 331427 h 1500181"/>
                  <a:gd name="connsiteX10" fmla="*/ 2474929 w 2474929"/>
                  <a:gd name="connsiteY10" fmla="*/ 334829 h 1500181"/>
                  <a:gd name="connsiteX11" fmla="*/ 2409343 w 2474929"/>
                  <a:gd name="connsiteY11" fmla="*/ 559897 h 1500181"/>
                  <a:gd name="connsiteX12" fmla="*/ 2332570 w 2474929"/>
                  <a:gd name="connsiteY12" fmla="*/ 492845 h 1500181"/>
                  <a:gd name="connsiteX13" fmla="*/ 1510326 w 2474929"/>
                  <a:gd name="connsiteY13" fmla="*/ 209184 h 1500181"/>
                  <a:gd name="connsiteX14" fmla="*/ 688082 w 2474929"/>
                  <a:gd name="connsiteY14" fmla="*/ 492845 h 1500181"/>
                  <a:gd name="connsiteX15" fmla="*/ 630169 w 2474929"/>
                  <a:gd name="connsiteY15" fmla="*/ 543425 h 1500181"/>
                  <a:gd name="connsiteX16" fmla="*/ 566101 w 2474929"/>
                  <a:gd name="connsiteY16" fmla="*/ 319583 h 1500181"/>
                  <a:gd name="connsiteX17" fmla="*/ 665888 w 2474929"/>
                  <a:gd name="connsiteY17" fmla="*/ 247875 h 1500181"/>
                  <a:gd name="connsiteX18" fmla="*/ 1510326 w 2474929"/>
                  <a:gd name="connsiteY18" fmla="*/ 0 h 1500181"/>
                  <a:gd name="connsiteX0" fmla="*/ 384115 w 2474929"/>
                  <a:gd name="connsiteY0" fmla="*/ 486693 h 1451393"/>
                  <a:gd name="connsiteX1" fmla="*/ 296760 w 2474929"/>
                  <a:gd name="connsiteY1" fmla="*/ 1026949 h 1451393"/>
                  <a:gd name="connsiteX2" fmla="*/ 275793 w 2474929"/>
                  <a:gd name="connsiteY2" fmla="*/ 1081999 h 1451393"/>
                  <a:gd name="connsiteX3" fmla="*/ 217678 w 2474929"/>
                  <a:gd name="connsiteY3" fmla="*/ 1451393 h 1451393"/>
                  <a:gd name="connsiteX4" fmla="*/ 0 w 2474929"/>
                  <a:gd name="connsiteY4" fmla="*/ 1451393 h 1451393"/>
                  <a:gd name="connsiteX5" fmla="*/ 344885 w 2474929"/>
                  <a:gd name="connsiteY5" fmla="*/ 528173 h 1451393"/>
                  <a:gd name="connsiteX6" fmla="*/ 384115 w 2474929"/>
                  <a:gd name="connsiteY6" fmla="*/ 486693 h 1451393"/>
                  <a:gd name="connsiteX7" fmla="*/ 1510326 w 2474929"/>
                  <a:gd name="connsiteY7" fmla="*/ 0 h 1451393"/>
                  <a:gd name="connsiteX8" fmla="*/ 2471034 w 2474929"/>
                  <a:gd name="connsiteY8" fmla="*/ 331427 h 1451393"/>
                  <a:gd name="connsiteX9" fmla="*/ 2474929 w 2474929"/>
                  <a:gd name="connsiteY9" fmla="*/ 334829 h 1451393"/>
                  <a:gd name="connsiteX10" fmla="*/ 2409343 w 2474929"/>
                  <a:gd name="connsiteY10" fmla="*/ 559897 h 1451393"/>
                  <a:gd name="connsiteX11" fmla="*/ 2332570 w 2474929"/>
                  <a:gd name="connsiteY11" fmla="*/ 492845 h 1451393"/>
                  <a:gd name="connsiteX12" fmla="*/ 1510326 w 2474929"/>
                  <a:gd name="connsiteY12" fmla="*/ 209184 h 1451393"/>
                  <a:gd name="connsiteX13" fmla="*/ 688082 w 2474929"/>
                  <a:gd name="connsiteY13" fmla="*/ 492845 h 1451393"/>
                  <a:gd name="connsiteX14" fmla="*/ 630169 w 2474929"/>
                  <a:gd name="connsiteY14" fmla="*/ 543425 h 1451393"/>
                  <a:gd name="connsiteX15" fmla="*/ 566101 w 2474929"/>
                  <a:gd name="connsiteY15" fmla="*/ 319583 h 1451393"/>
                  <a:gd name="connsiteX16" fmla="*/ 665888 w 2474929"/>
                  <a:gd name="connsiteY16" fmla="*/ 247875 h 1451393"/>
                  <a:gd name="connsiteX17" fmla="*/ 1510326 w 2474929"/>
                  <a:gd name="connsiteY17" fmla="*/ 0 h 1451393"/>
                  <a:gd name="connsiteX0" fmla="*/ 384519 w 2475333"/>
                  <a:gd name="connsiteY0" fmla="*/ 486693 h 1465415"/>
                  <a:gd name="connsiteX1" fmla="*/ 297164 w 2475333"/>
                  <a:gd name="connsiteY1" fmla="*/ 1026949 h 1465415"/>
                  <a:gd name="connsiteX2" fmla="*/ 276197 w 2475333"/>
                  <a:gd name="connsiteY2" fmla="*/ 1081999 h 1465415"/>
                  <a:gd name="connsiteX3" fmla="*/ 404 w 2475333"/>
                  <a:gd name="connsiteY3" fmla="*/ 1451393 h 1465415"/>
                  <a:gd name="connsiteX4" fmla="*/ 345289 w 2475333"/>
                  <a:gd name="connsiteY4" fmla="*/ 528173 h 1465415"/>
                  <a:gd name="connsiteX5" fmla="*/ 384519 w 2475333"/>
                  <a:gd name="connsiteY5" fmla="*/ 486693 h 1465415"/>
                  <a:gd name="connsiteX6" fmla="*/ 1510730 w 2475333"/>
                  <a:gd name="connsiteY6" fmla="*/ 0 h 1465415"/>
                  <a:gd name="connsiteX7" fmla="*/ 2471438 w 2475333"/>
                  <a:gd name="connsiteY7" fmla="*/ 331427 h 1465415"/>
                  <a:gd name="connsiteX8" fmla="*/ 2475333 w 2475333"/>
                  <a:gd name="connsiteY8" fmla="*/ 334829 h 1465415"/>
                  <a:gd name="connsiteX9" fmla="*/ 2409747 w 2475333"/>
                  <a:gd name="connsiteY9" fmla="*/ 559897 h 1465415"/>
                  <a:gd name="connsiteX10" fmla="*/ 2332974 w 2475333"/>
                  <a:gd name="connsiteY10" fmla="*/ 492845 h 1465415"/>
                  <a:gd name="connsiteX11" fmla="*/ 1510730 w 2475333"/>
                  <a:gd name="connsiteY11" fmla="*/ 209184 h 1465415"/>
                  <a:gd name="connsiteX12" fmla="*/ 688486 w 2475333"/>
                  <a:gd name="connsiteY12" fmla="*/ 492845 h 1465415"/>
                  <a:gd name="connsiteX13" fmla="*/ 630573 w 2475333"/>
                  <a:gd name="connsiteY13" fmla="*/ 543425 h 1465415"/>
                  <a:gd name="connsiteX14" fmla="*/ 566505 w 2475333"/>
                  <a:gd name="connsiteY14" fmla="*/ 319583 h 1465415"/>
                  <a:gd name="connsiteX15" fmla="*/ 666292 w 2475333"/>
                  <a:gd name="connsiteY15" fmla="*/ 247875 h 1465415"/>
                  <a:gd name="connsiteX16" fmla="*/ 1510730 w 2475333"/>
                  <a:gd name="connsiteY16" fmla="*/ 0 h 1465415"/>
                  <a:gd name="connsiteX0" fmla="*/ 108322 w 2199136"/>
                  <a:gd name="connsiteY0" fmla="*/ 486693 h 1081999"/>
                  <a:gd name="connsiteX1" fmla="*/ 20967 w 2199136"/>
                  <a:gd name="connsiteY1" fmla="*/ 1026949 h 1081999"/>
                  <a:gd name="connsiteX2" fmla="*/ 0 w 2199136"/>
                  <a:gd name="connsiteY2" fmla="*/ 1081999 h 1081999"/>
                  <a:gd name="connsiteX3" fmla="*/ 69092 w 2199136"/>
                  <a:gd name="connsiteY3" fmla="*/ 528173 h 1081999"/>
                  <a:gd name="connsiteX4" fmla="*/ 108322 w 2199136"/>
                  <a:gd name="connsiteY4" fmla="*/ 486693 h 1081999"/>
                  <a:gd name="connsiteX5" fmla="*/ 1234533 w 2199136"/>
                  <a:gd name="connsiteY5" fmla="*/ 0 h 1081999"/>
                  <a:gd name="connsiteX6" fmla="*/ 2195241 w 2199136"/>
                  <a:gd name="connsiteY6" fmla="*/ 331427 h 1081999"/>
                  <a:gd name="connsiteX7" fmla="*/ 2199136 w 2199136"/>
                  <a:gd name="connsiteY7" fmla="*/ 334829 h 1081999"/>
                  <a:gd name="connsiteX8" fmla="*/ 2133550 w 2199136"/>
                  <a:gd name="connsiteY8" fmla="*/ 559897 h 1081999"/>
                  <a:gd name="connsiteX9" fmla="*/ 2056777 w 2199136"/>
                  <a:gd name="connsiteY9" fmla="*/ 492845 h 1081999"/>
                  <a:gd name="connsiteX10" fmla="*/ 1234533 w 2199136"/>
                  <a:gd name="connsiteY10" fmla="*/ 209184 h 1081999"/>
                  <a:gd name="connsiteX11" fmla="*/ 412289 w 2199136"/>
                  <a:gd name="connsiteY11" fmla="*/ 492845 h 1081999"/>
                  <a:gd name="connsiteX12" fmla="*/ 354376 w 2199136"/>
                  <a:gd name="connsiteY12" fmla="*/ 543425 h 1081999"/>
                  <a:gd name="connsiteX13" fmla="*/ 290308 w 2199136"/>
                  <a:gd name="connsiteY13" fmla="*/ 319583 h 1081999"/>
                  <a:gd name="connsiteX14" fmla="*/ 390095 w 2199136"/>
                  <a:gd name="connsiteY14" fmla="*/ 247875 h 1081999"/>
                  <a:gd name="connsiteX15" fmla="*/ 1234533 w 2199136"/>
                  <a:gd name="connsiteY15" fmla="*/ 0 h 1081999"/>
                  <a:gd name="connsiteX0" fmla="*/ 108322 w 2199136"/>
                  <a:gd name="connsiteY0" fmla="*/ 486693 h 1081999"/>
                  <a:gd name="connsiteX1" fmla="*/ 0 w 2199136"/>
                  <a:gd name="connsiteY1" fmla="*/ 1081999 h 1081999"/>
                  <a:gd name="connsiteX2" fmla="*/ 69092 w 2199136"/>
                  <a:gd name="connsiteY2" fmla="*/ 528173 h 1081999"/>
                  <a:gd name="connsiteX3" fmla="*/ 108322 w 2199136"/>
                  <a:gd name="connsiteY3" fmla="*/ 486693 h 1081999"/>
                  <a:gd name="connsiteX4" fmla="*/ 1234533 w 2199136"/>
                  <a:gd name="connsiteY4" fmla="*/ 0 h 1081999"/>
                  <a:gd name="connsiteX5" fmla="*/ 2195241 w 2199136"/>
                  <a:gd name="connsiteY5" fmla="*/ 331427 h 1081999"/>
                  <a:gd name="connsiteX6" fmla="*/ 2199136 w 2199136"/>
                  <a:gd name="connsiteY6" fmla="*/ 334829 h 1081999"/>
                  <a:gd name="connsiteX7" fmla="*/ 2133550 w 2199136"/>
                  <a:gd name="connsiteY7" fmla="*/ 559897 h 1081999"/>
                  <a:gd name="connsiteX8" fmla="*/ 2056777 w 2199136"/>
                  <a:gd name="connsiteY8" fmla="*/ 492845 h 1081999"/>
                  <a:gd name="connsiteX9" fmla="*/ 1234533 w 2199136"/>
                  <a:gd name="connsiteY9" fmla="*/ 209184 h 1081999"/>
                  <a:gd name="connsiteX10" fmla="*/ 412289 w 2199136"/>
                  <a:gd name="connsiteY10" fmla="*/ 492845 h 1081999"/>
                  <a:gd name="connsiteX11" fmla="*/ 354376 w 2199136"/>
                  <a:gd name="connsiteY11" fmla="*/ 543425 h 1081999"/>
                  <a:gd name="connsiteX12" fmla="*/ 290308 w 2199136"/>
                  <a:gd name="connsiteY12" fmla="*/ 319583 h 1081999"/>
                  <a:gd name="connsiteX13" fmla="*/ 390095 w 2199136"/>
                  <a:gd name="connsiteY13" fmla="*/ 247875 h 1081999"/>
                  <a:gd name="connsiteX14" fmla="*/ 1234533 w 2199136"/>
                  <a:gd name="connsiteY14" fmla="*/ 0 h 1081999"/>
                  <a:gd name="connsiteX0" fmla="*/ 39230 w 2130044"/>
                  <a:gd name="connsiteY0" fmla="*/ 486693 h 559897"/>
                  <a:gd name="connsiteX1" fmla="*/ 0 w 2130044"/>
                  <a:gd name="connsiteY1" fmla="*/ 528173 h 559897"/>
                  <a:gd name="connsiteX2" fmla="*/ 39230 w 2130044"/>
                  <a:gd name="connsiteY2" fmla="*/ 486693 h 559897"/>
                  <a:gd name="connsiteX3" fmla="*/ 1165441 w 2130044"/>
                  <a:gd name="connsiteY3" fmla="*/ 0 h 559897"/>
                  <a:gd name="connsiteX4" fmla="*/ 2126149 w 2130044"/>
                  <a:gd name="connsiteY4" fmla="*/ 331427 h 559897"/>
                  <a:gd name="connsiteX5" fmla="*/ 2130044 w 2130044"/>
                  <a:gd name="connsiteY5" fmla="*/ 334829 h 559897"/>
                  <a:gd name="connsiteX6" fmla="*/ 2064458 w 2130044"/>
                  <a:gd name="connsiteY6" fmla="*/ 559897 h 559897"/>
                  <a:gd name="connsiteX7" fmla="*/ 1987685 w 2130044"/>
                  <a:gd name="connsiteY7" fmla="*/ 492845 h 559897"/>
                  <a:gd name="connsiteX8" fmla="*/ 1165441 w 2130044"/>
                  <a:gd name="connsiteY8" fmla="*/ 209184 h 559897"/>
                  <a:gd name="connsiteX9" fmla="*/ 343197 w 2130044"/>
                  <a:gd name="connsiteY9" fmla="*/ 492845 h 559897"/>
                  <a:gd name="connsiteX10" fmla="*/ 285284 w 2130044"/>
                  <a:gd name="connsiteY10" fmla="*/ 543425 h 559897"/>
                  <a:gd name="connsiteX11" fmla="*/ 221216 w 2130044"/>
                  <a:gd name="connsiteY11" fmla="*/ 319583 h 559897"/>
                  <a:gd name="connsiteX12" fmla="*/ 321003 w 2130044"/>
                  <a:gd name="connsiteY12" fmla="*/ 247875 h 559897"/>
                  <a:gd name="connsiteX13" fmla="*/ 1165441 w 2130044"/>
                  <a:gd name="connsiteY13" fmla="*/ 0 h 559897"/>
                  <a:gd name="connsiteX0" fmla="*/ 944225 w 1908828"/>
                  <a:gd name="connsiteY0" fmla="*/ 0 h 559897"/>
                  <a:gd name="connsiteX1" fmla="*/ 1904933 w 1908828"/>
                  <a:gd name="connsiteY1" fmla="*/ 331427 h 559897"/>
                  <a:gd name="connsiteX2" fmla="*/ 1908828 w 1908828"/>
                  <a:gd name="connsiteY2" fmla="*/ 334829 h 559897"/>
                  <a:gd name="connsiteX3" fmla="*/ 1843242 w 1908828"/>
                  <a:gd name="connsiteY3" fmla="*/ 559897 h 559897"/>
                  <a:gd name="connsiteX4" fmla="*/ 1766469 w 1908828"/>
                  <a:gd name="connsiteY4" fmla="*/ 492845 h 559897"/>
                  <a:gd name="connsiteX5" fmla="*/ 944225 w 1908828"/>
                  <a:gd name="connsiteY5" fmla="*/ 209184 h 559897"/>
                  <a:gd name="connsiteX6" fmla="*/ 121981 w 1908828"/>
                  <a:gd name="connsiteY6" fmla="*/ 492845 h 559897"/>
                  <a:gd name="connsiteX7" fmla="*/ 64068 w 1908828"/>
                  <a:gd name="connsiteY7" fmla="*/ 543425 h 559897"/>
                  <a:gd name="connsiteX8" fmla="*/ 0 w 1908828"/>
                  <a:gd name="connsiteY8" fmla="*/ 319583 h 559897"/>
                  <a:gd name="connsiteX9" fmla="*/ 99787 w 1908828"/>
                  <a:gd name="connsiteY9" fmla="*/ 247875 h 559897"/>
                  <a:gd name="connsiteX10" fmla="*/ 944225 w 1908828"/>
                  <a:gd name="connsiteY10" fmla="*/ 0 h 559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908828" h="559897">
                    <a:moveTo>
                      <a:pt x="944225" y="0"/>
                    </a:moveTo>
                    <a:cubicBezTo>
                      <a:pt x="1309157" y="0"/>
                      <a:pt x="1643859" y="124378"/>
                      <a:pt x="1904933" y="331427"/>
                    </a:cubicBezTo>
                    <a:lnTo>
                      <a:pt x="1908828" y="334829"/>
                    </a:lnTo>
                    <a:lnTo>
                      <a:pt x="1843242" y="559897"/>
                    </a:lnTo>
                    <a:lnTo>
                      <a:pt x="1766469" y="492845"/>
                    </a:lnTo>
                    <a:cubicBezTo>
                      <a:pt x="1543023" y="315635"/>
                      <a:pt x="1256561" y="209184"/>
                      <a:pt x="944225" y="209184"/>
                    </a:cubicBezTo>
                    <a:cubicBezTo>
                      <a:pt x="631889" y="209184"/>
                      <a:pt x="345427" y="315635"/>
                      <a:pt x="121981" y="492845"/>
                    </a:cubicBezTo>
                    <a:lnTo>
                      <a:pt x="64068" y="543425"/>
                    </a:lnTo>
                    <a:lnTo>
                      <a:pt x="0" y="319583"/>
                    </a:lnTo>
                    <a:lnTo>
                      <a:pt x="99787" y="247875"/>
                    </a:lnTo>
                    <a:cubicBezTo>
                      <a:pt x="340837" y="91380"/>
                      <a:pt x="631426" y="0"/>
                      <a:pt x="944225" y="0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519970">
                  <a:defRPr/>
                </a:pPr>
                <a:endParaRPr lang="en-US" sz="1842" kern="0">
                  <a:solidFill>
                    <a:prstClr val="white"/>
                  </a:solidFill>
                  <a:latin typeface="Calibri"/>
                </a:endParaRPr>
              </a:p>
            </p:txBody>
          </p:sp>
        </p:grpSp>
        <p:grpSp>
          <p:nvGrpSpPr>
            <p:cNvPr id="567" name="Group 204"/>
            <p:cNvGrpSpPr/>
            <p:nvPr/>
          </p:nvGrpSpPr>
          <p:grpSpPr>
            <a:xfrm>
              <a:off x="1282752" y="4938098"/>
              <a:ext cx="1451258" cy="1449504"/>
              <a:chOff x="11961036" y="14854279"/>
              <a:chExt cx="6135815" cy="6128401"/>
            </a:xfrm>
            <a:grpFill/>
          </p:grpSpPr>
          <p:sp>
            <p:nvSpPr>
              <p:cNvPr id="568" name="Freeform 205"/>
              <p:cNvSpPr/>
              <p:nvPr/>
            </p:nvSpPr>
            <p:spPr>
              <a:xfrm>
                <a:off x="12770891" y="14854279"/>
                <a:ext cx="4477588" cy="6128401"/>
              </a:xfrm>
              <a:custGeom>
                <a:avLst/>
                <a:gdLst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3253261 w 4477595"/>
                  <a:gd name="connsiteY17" fmla="*/ 3754007 h 6128401"/>
                  <a:gd name="connsiteX18" fmla="*/ 3242716 w 4477595"/>
                  <a:gd name="connsiteY18" fmla="*/ 3753945 h 6128401"/>
                  <a:gd name="connsiteX19" fmla="*/ 3255265 w 4477595"/>
                  <a:gd name="connsiteY19" fmla="*/ 3746321 h 6128401"/>
                  <a:gd name="connsiteX20" fmla="*/ 4056807 w 4477595"/>
                  <a:gd name="connsiteY20" fmla="*/ 2238797 h 6128401"/>
                  <a:gd name="connsiteX21" fmla="*/ 2238798 w 4477595"/>
                  <a:gd name="connsiteY21" fmla="*/ 420786 h 6128401"/>
                  <a:gd name="connsiteX22" fmla="*/ 2238797 w 4477595"/>
                  <a:gd name="connsiteY22" fmla="*/ 0 h 6128401"/>
                  <a:gd name="connsiteX23" fmla="*/ 4477595 w 4477595"/>
                  <a:gd name="connsiteY23" fmla="*/ 2238797 h 6128401"/>
                  <a:gd name="connsiteX24" fmla="*/ 3305941 w 4477595"/>
                  <a:gd name="connsiteY24" fmla="*/ 4207383 h 6128401"/>
                  <a:gd name="connsiteX25" fmla="*/ 3243251 w 4477595"/>
                  <a:gd name="connsiteY25" fmla="*/ 4439941 h 6128401"/>
                  <a:gd name="connsiteX26" fmla="*/ 3243251 w 4477595"/>
                  <a:gd name="connsiteY26" fmla="*/ 5318909 h 6128401"/>
                  <a:gd name="connsiteX27" fmla="*/ 2705531 w 4477595"/>
                  <a:gd name="connsiteY27" fmla="*/ 5880081 h 6128401"/>
                  <a:gd name="connsiteX28" fmla="*/ 2650833 w 4477595"/>
                  <a:gd name="connsiteY28" fmla="*/ 5880971 h 6128401"/>
                  <a:gd name="connsiteX29" fmla="*/ 2641784 w 4477595"/>
                  <a:gd name="connsiteY29" fmla="*/ 5910123 h 6128401"/>
                  <a:gd name="connsiteX30" fmla="*/ 2312476 w 4477595"/>
                  <a:gd name="connsiteY30" fmla="*/ 6128401 h 6128401"/>
                  <a:gd name="connsiteX31" fmla="*/ 2165118 w 4477595"/>
                  <a:gd name="connsiteY31" fmla="*/ 6128401 h 6128401"/>
                  <a:gd name="connsiteX32" fmla="*/ 1835810 w 4477595"/>
                  <a:gd name="connsiteY32" fmla="*/ 5910123 h 6128401"/>
                  <a:gd name="connsiteX33" fmla="*/ 1826975 w 4477595"/>
                  <a:gd name="connsiteY33" fmla="*/ 5881661 h 6128401"/>
                  <a:gd name="connsiteX34" fmla="*/ 1699568 w 4477595"/>
                  <a:gd name="connsiteY34" fmla="*/ 5881345 h 6128401"/>
                  <a:gd name="connsiteX35" fmla="*/ 1252464 w 4477595"/>
                  <a:gd name="connsiteY35" fmla="*/ 5306553 h 6128401"/>
                  <a:gd name="connsiteX36" fmla="*/ 1260702 w 4477595"/>
                  <a:gd name="connsiteY36" fmla="*/ 4439941 h 6128401"/>
                  <a:gd name="connsiteX37" fmla="*/ 1247395 w 4477595"/>
                  <a:gd name="connsiteY37" fmla="*/ 4251681 h 6128401"/>
                  <a:gd name="connsiteX38" fmla="*/ 1171654 w 4477595"/>
                  <a:gd name="connsiteY38" fmla="*/ 4207383 h 6128401"/>
                  <a:gd name="connsiteX39" fmla="*/ 0 w 4477595"/>
                  <a:gd name="connsiteY39" fmla="*/ 2238797 h 6128401"/>
                  <a:gd name="connsiteX40" fmla="*/ 2238797 w 4477595"/>
                  <a:gd name="connsiteY40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3253261 w 4477595"/>
                  <a:gd name="connsiteY17" fmla="*/ 3754007 h 6128401"/>
                  <a:gd name="connsiteX18" fmla="*/ 3242716 w 4477595"/>
                  <a:gd name="connsiteY18" fmla="*/ 3753945 h 6128401"/>
                  <a:gd name="connsiteX19" fmla="*/ 4056807 w 4477595"/>
                  <a:gd name="connsiteY19" fmla="*/ 2238797 h 6128401"/>
                  <a:gd name="connsiteX20" fmla="*/ 2238798 w 4477595"/>
                  <a:gd name="connsiteY20" fmla="*/ 420786 h 6128401"/>
                  <a:gd name="connsiteX21" fmla="*/ 2238797 w 4477595"/>
                  <a:gd name="connsiteY21" fmla="*/ 0 h 6128401"/>
                  <a:gd name="connsiteX22" fmla="*/ 4477595 w 4477595"/>
                  <a:gd name="connsiteY22" fmla="*/ 2238797 h 6128401"/>
                  <a:gd name="connsiteX23" fmla="*/ 3305941 w 4477595"/>
                  <a:gd name="connsiteY23" fmla="*/ 4207383 h 6128401"/>
                  <a:gd name="connsiteX24" fmla="*/ 3243251 w 4477595"/>
                  <a:gd name="connsiteY24" fmla="*/ 4439941 h 6128401"/>
                  <a:gd name="connsiteX25" fmla="*/ 3243251 w 4477595"/>
                  <a:gd name="connsiteY25" fmla="*/ 5318909 h 6128401"/>
                  <a:gd name="connsiteX26" fmla="*/ 2705531 w 4477595"/>
                  <a:gd name="connsiteY26" fmla="*/ 5880081 h 6128401"/>
                  <a:gd name="connsiteX27" fmla="*/ 2650833 w 4477595"/>
                  <a:gd name="connsiteY27" fmla="*/ 5880971 h 6128401"/>
                  <a:gd name="connsiteX28" fmla="*/ 2641784 w 4477595"/>
                  <a:gd name="connsiteY28" fmla="*/ 5910123 h 6128401"/>
                  <a:gd name="connsiteX29" fmla="*/ 2312476 w 4477595"/>
                  <a:gd name="connsiteY29" fmla="*/ 6128401 h 6128401"/>
                  <a:gd name="connsiteX30" fmla="*/ 2165118 w 4477595"/>
                  <a:gd name="connsiteY30" fmla="*/ 6128401 h 6128401"/>
                  <a:gd name="connsiteX31" fmla="*/ 1835810 w 4477595"/>
                  <a:gd name="connsiteY31" fmla="*/ 5910123 h 6128401"/>
                  <a:gd name="connsiteX32" fmla="*/ 1826975 w 4477595"/>
                  <a:gd name="connsiteY32" fmla="*/ 5881661 h 6128401"/>
                  <a:gd name="connsiteX33" fmla="*/ 1699568 w 4477595"/>
                  <a:gd name="connsiteY33" fmla="*/ 5881345 h 6128401"/>
                  <a:gd name="connsiteX34" fmla="*/ 1252464 w 4477595"/>
                  <a:gd name="connsiteY34" fmla="*/ 5306553 h 6128401"/>
                  <a:gd name="connsiteX35" fmla="*/ 1260702 w 4477595"/>
                  <a:gd name="connsiteY35" fmla="*/ 4439941 h 6128401"/>
                  <a:gd name="connsiteX36" fmla="*/ 1247395 w 4477595"/>
                  <a:gd name="connsiteY36" fmla="*/ 4251681 h 6128401"/>
                  <a:gd name="connsiteX37" fmla="*/ 1171654 w 4477595"/>
                  <a:gd name="connsiteY37" fmla="*/ 4207383 h 6128401"/>
                  <a:gd name="connsiteX38" fmla="*/ 0 w 4477595"/>
                  <a:gd name="connsiteY38" fmla="*/ 2238797 h 6128401"/>
                  <a:gd name="connsiteX39" fmla="*/ 2238797 w 4477595"/>
                  <a:gd name="connsiteY39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3253261 w 4477595"/>
                  <a:gd name="connsiteY17" fmla="*/ 3754007 h 6128401"/>
                  <a:gd name="connsiteX18" fmla="*/ 4056807 w 4477595"/>
                  <a:gd name="connsiteY18" fmla="*/ 2238797 h 6128401"/>
                  <a:gd name="connsiteX19" fmla="*/ 2238798 w 4477595"/>
                  <a:gd name="connsiteY19" fmla="*/ 420786 h 6128401"/>
                  <a:gd name="connsiteX20" fmla="*/ 2238797 w 4477595"/>
                  <a:gd name="connsiteY20" fmla="*/ 0 h 6128401"/>
                  <a:gd name="connsiteX21" fmla="*/ 4477595 w 4477595"/>
                  <a:gd name="connsiteY21" fmla="*/ 2238797 h 6128401"/>
                  <a:gd name="connsiteX22" fmla="*/ 3305941 w 4477595"/>
                  <a:gd name="connsiteY22" fmla="*/ 4207383 h 6128401"/>
                  <a:gd name="connsiteX23" fmla="*/ 3243251 w 4477595"/>
                  <a:gd name="connsiteY23" fmla="*/ 4439941 h 6128401"/>
                  <a:gd name="connsiteX24" fmla="*/ 3243251 w 4477595"/>
                  <a:gd name="connsiteY24" fmla="*/ 5318909 h 6128401"/>
                  <a:gd name="connsiteX25" fmla="*/ 2705531 w 4477595"/>
                  <a:gd name="connsiteY25" fmla="*/ 5880081 h 6128401"/>
                  <a:gd name="connsiteX26" fmla="*/ 2650833 w 4477595"/>
                  <a:gd name="connsiteY26" fmla="*/ 5880971 h 6128401"/>
                  <a:gd name="connsiteX27" fmla="*/ 2641784 w 4477595"/>
                  <a:gd name="connsiteY27" fmla="*/ 5910123 h 6128401"/>
                  <a:gd name="connsiteX28" fmla="*/ 2312476 w 4477595"/>
                  <a:gd name="connsiteY28" fmla="*/ 6128401 h 6128401"/>
                  <a:gd name="connsiteX29" fmla="*/ 2165118 w 4477595"/>
                  <a:gd name="connsiteY29" fmla="*/ 6128401 h 6128401"/>
                  <a:gd name="connsiteX30" fmla="*/ 1835810 w 4477595"/>
                  <a:gd name="connsiteY30" fmla="*/ 5910123 h 6128401"/>
                  <a:gd name="connsiteX31" fmla="*/ 1826975 w 4477595"/>
                  <a:gd name="connsiteY31" fmla="*/ 5881661 h 6128401"/>
                  <a:gd name="connsiteX32" fmla="*/ 1699568 w 4477595"/>
                  <a:gd name="connsiteY32" fmla="*/ 5881345 h 6128401"/>
                  <a:gd name="connsiteX33" fmla="*/ 1252464 w 4477595"/>
                  <a:gd name="connsiteY33" fmla="*/ 5306553 h 6128401"/>
                  <a:gd name="connsiteX34" fmla="*/ 1260702 w 4477595"/>
                  <a:gd name="connsiteY34" fmla="*/ 4439941 h 6128401"/>
                  <a:gd name="connsiteX35" fmla="*/ 1247395 w 4477595"/>
                  <a:gd name="connsiteY35" fmla="*/ 4251681 h 6128401"/>
                  <a:gd name="connsiteX36" fmla="*/ 1171654 w 4477595"/>
                  <a:gd name="connsiteY36" fmla="*/ 4207383 h 6128401"/>
                  <a:gd name="connsiteX37" fmla="*/ 0 w 4477595"/>
                  <a:gd name="connsiteY37" fmla="*/ 2238797 h 6128401"/>
                  <a:gd name="connsiteX38" fmla="*/ 2238797 w 4477595"/>
                  <a:gd name="connsiteY38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4056807 w 4477595"/>
                  <a:gd name="connsiteY17" fmla="*/ 2238797 h 6128401"/>
                  <a:gd name="connsiteX18" fmla="*/ 2238798 w 4477595"/>
                  <a:gd name="connsiteY18" fmla="*/ 420786 h 6128401"/>
                  <a:gd name="connsiteX19" fmla="*/ 2238797 w 4477595"/>
                  <a:gd name="connsiteY19" fmla="*/ 0 h 6128401"/>
                  <a:gd name="connsiteX20" fmla="*/ 4477595 w 4477595"/>
                  <a:gd name="connsiteY20" fmla="*/ 2238797 h 6128401"/>
                  <a:gd name="connsiteX21" fmla="*/ 3305941 w 4477595"/>
                  <a:gd name="connsiteY21" fmla="*/ 4207383 h 6128401"/>
                  <a:gd name="connsiteX22" fmla="*/ 3243251 w 4477595"/>
                  <a:gd name="connsiteY22" fmla="*/ 4439941 h 6128401"/>
                  <a:gd name="connsiteX23" fmla="*/ 3243251 w 4477595"/>
                  <a:gd name="connsiteY23" fmla="*/ 5318909 h 6128401"/>
                  <a:gd name="connsiteX24" fmla="*/ 2705531 w 4477595"/>
                  <a:gd name="connsiteY24" fmla="*/ 5880081 h 6128401"/>
                  <a:gd name="connsiteX25" fmla="*/ 2650833 w 4477595"/>
                  <a:gd name="connsiteY25" fmla="*/ 5880971 h 6128401"/>
                  <a:gd name="connsiteX26" fmla="*/ 2641784 w 4477595"/>
                  <a:gd name="connsiteY26" fmla="*/ 5910123 h 6128401"/>
                  <a:gd name="connsiteX27" fmla="*/ 2312476 w 4477595"/>
                  <a:gd name="connsiteY27" fmla="*/ 6128401 h 6128401"/>
                  <a:gd name="connsiteX28" fmla="*/ 2165118 w 4477595"/>
                  <a:gd name="connsiteY28" fmla="*/ 6128401 h 6128401"/>
                  <a:gd name="connsiteX29" fmla="*/ 1835810 w 4477595"/>
                  <a:gd name="connsiteY29" fmla="*/ 5910123 h 6128401"/>
                  <a:gd name="connsiteX30" fmla="*/ 1826975 w 4477595"/>
                  <a:gd name="connsiteY30" fmla="*/ 5881661 h 6128401"/>
                  <a:gd name="connsiteX31" fmla="*/ 1699568 w 4477595"/>
                  <a:gd name="connsiteY31" fmla="*/ 5881345 h 6128401"/>
                  <a:gd name="connsiteX32" fmla="*/ 1252464 w 4477595"/>
                  <a:gd name="connsiteY32" fmla="*/ 5306553 h 6128401"/>
                  <a:gd name="connsiteX33" fmla="*/ 1260702 w 4477595"/>
                  <a:gd name="connsiteY33" fmla="*/ 4439941 h 6128401"/>
                  <a:gd name="connsiteX34" fmla="*/ 1247395 w 4477595"/>
                  <a:gd name="connsiteY34" fmla="*/ 4251681 h 6128401"/>
                  <a:gd name="connsiteX35" fmla="*/ 1171654 w 4477595"/>
                  <a:gd name="connsiteY35" fmla="*/ 4207383 h 6128401"/>
                  <a:gd name="connsiteX36" fmla="*/ 0 w 4477595"/>
                  <a:gd name="connsiteY36" fmla="*/ 2238797 h 6128401"/>
                  <a:gd name="connsiteX37" fmla="*/ 2238797 w 4477595"/>
                  <a:gd name="connsiteY37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4056807 w 4477595"/>
                  <a:gd name="connsiteY17" fmla="*/ 2238797 h 6128401"/>
                  <a:gd name="connsiteX18" fmla="*/ 2238798 w 4477595"/>
                  <a:gd name="connsiteY18" fmla="*/ 420786 h 6128401"/>
                  <a:gd name="connsiteX19" fmla="*/ 2238797 w 4477595"/>
                  <a:gd name="connsiteY19" fmla="*/ 0 h 6128401"/>
                  <a:gd name="connsiteX20" fmla="*/ 4477595 w 4477595"/>
                  <a:gd name="connsiteY20" fmla="*/ 2238797 h 6128401"/>
                  <a:gd name="connsiteX21" fmla="*/ 3305941 w 4477595"/>
                  <a:gd name="connsiteY21" fmla="*/ 4207383 h 6128401"/>
                  <a:gd name="connsiteX22" fmla="*/ 3243251 w 4477595"/>
                  <a:gd name="connsiteY22" fmla="*/ 4439941 h 6128401"/>
                  <a:gd name="connsiteX23" fmla="*/ 3243251 w 4477595"/>
                  <a:gd name="connsiteY23" fmla="*/ 5318909 h 6128401"/>
                  <a:gd name="connsiteX24" fmla="*/ 2705531 w 4477595"/>
                  <a:gd name="connsiteY24" fmla="*/ 5880081 h 6128401"/>
                  <a:gd name="connsiteX25" fmla="*/ 2650833 w 4477595"/>
                  <a:gd name="connsiteY25" fmla="*/ 5880971 h 6128401"/>
                  <a:gd name="connsiteX26" fmla="*/ 2641784 w 4477595"/>
                  <a:gd name="connsiteY26" fmla="*/ 5910123 h 6128401"/>
                  <a:gd name="connsiteX27" fmla="*/ 2312476 w 4477595"/>
                  <a:gd name="connsiteY27" fmla="*/ 6128401 h 6128401"/>
                  <a:gd name="connsiteX28" fmla="*/ 2165118 w 4477595"/>
                  <a:gd name="connsiteY28" fmla="*/ 6128401 h 6128401"/>
                  <a:gd name="connsiteX29" fmla="*/ 1835810 w 4477595"/>
                  <a:gd name="connsiteY29" fmla="*/ 5910123 h 6128401"/>
                  <a:gd name="connsiteX30" fmla="*/ 1826975 w 4477595"/>
                  <a:gd name="connsiteY30" fmla="*/ 5881661 h 6128401"/>
                  <a:gd name="connsiteX31" fmla="*/ 1699568 w 4477595"/>
                  <a:gd name="connsiteY31" fmla="*/ 5881345 h 6128401"/>
                  <a:gd name="connsiteX32" fmla="*/ 1252464 w 4477595"/>
                  <a:gd name="connsiteY32" fmla="*/ 5306553 h 6128401"/>
                  <a:gd name="connsiteX33" fmla="*/ 1260702 w 4477595"/>
                  <a:gd name="connsiteY33" fmla="*/ 4439941 h 6128401"/>
                  <a:gd name="connsiteX34" fmla="*/ 1247395 w 4477595"/>
                  <a:gd name="connsiteY34" fmla="*/ 4251681 h 6128401"/>
                  <a:gd name="connsiteX35" fmla="*/ 1171654 w 4477595"/>
                  <a:gd name="connsiteY35" fmla="*/ 4207383 h 6128401"/>
                  <a:gd name="connsiteX36" fmla="*/ 0 w 4477595"/>
                  <a:gd name="connsiteY36" fmla="*/ 2238797 h 6128401"/>
                  <a:gd name="connsiteX37" fmla="*/ 2238797 w 4477595"/>
                  <a:gd name="connsiteY37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4056807 w 4477595"/>
                  <a:gd name="connsiteY17" fmla="*/ 2238797 h 6128401"/>
                  <a:gd name="connsiteX18" fmla="*/ 2238798 w 4477595"/>
                  <a:gd name="connsiteY18" fmla="*/ 420786 h 6128401"/>
                  <a:gd name="connsiteX19" fmla="*/ 2238797 w 4477595"/>
                  <a:gd name="connsiteY19" fmla="*/ 0 h 6128401"/>
                  <a:gd name="connsiteX20" fmla="*/ 4477595 w 4477595"/>
                  <a:gd name="connsiteY20" fmla="*/ 2238797 h 6128401"/>
                  <a:gd name="connsiteX21" fmla="*/ 3305941 w 4477595"/>
                  <a:gd name="connsiteY21" fmla="*/ 4207383 h 6128401"/>
                  <a:gd name="connsiteX22" fmla="*/ 3243251 w 4477595"/>
                  <a:gd name="connsiteY22" fmla="*/ 4439941 h 6128401"/>
                  <a:gd name="connsiteX23" fmla="*/ 3243251 w 4477595"/>
                  <a:gd name="connsiteY23" fmla="*/ 5318909 h 6128401"/>
                  <a:gd name="connsiteX24" fmla="*/ 2705531 w 4477595"/>
                  <a:gd name="connsiteY24" fmla="*/ 5880081 h 6128401"/>
                  <a:gd name="connsiteX25" fmla="*/ 2650833 w 4477595"/>
                  <a:gd name="connsiteY25" fmla="*/ 5880971 h 6128401"/>
                  <a:gd name="connsiteX26" fmla="*/ 2641784 w 4477595"/>
                  <a:gd name="connsiteY26" fmla="*/ 5910123 h 6128401"/>
                  <a:gd name="connsiteX27" fmla="*/ 2312476 w 4477595"/>
                  <a:gd name="connsiteY27" fmla="*/ 6128401 h 6128401"/>
                  <a:gd name="connsiteX28" fmla="*/ 2165118 w 4477595"/>
                  <a:gd name="connsiteY28" fmla="*/ 6128401 h 6128401"/>
                  <a:gd name="connsiteX29" fmla="*/ 1835810 w 4477595"/>
                  <a:gd name="connsiteY29" fmla="*/ 5910123 h 6128401"/>
                  <a:gd name="connsiteX30" fmla="*/ 1826975 w 4477595"/>
                  <a:gd name="connsiteY30" fmla="*/ 5881661 h 6128401"/>
                  <a:gd name="connsiteX31" fmla="*/ 1699568 w 4477595"/>
                  <a:gd name="connsiteY31" fmla="*/ 5881345 h 6128401"/>
                  <a:gd name="connsiteX32" fmla="*/ 1252464 w 4477595"/>
                  <a:gd name="connsiteY32" fmla="*/ 5306553 h 6128401"/>
                  <a:gd name="connsiteX33" fmla="*/ 1260702 w 4477595"/>
                  <a:gd name="connsiteY33" fmla="*/ 4439941 h 6128401"/>
                  <a:gd name="connsiteX34" fmla="*/ 1247395 w 4477595"/>
                  <a:gd name="connsiteY34" fmla="*/ 4251681 h 6128401"/>
                  <a:gd name="connsiteX35" fmla="*/ 1171654 w 4477595"/>
                  <a:gd name="connsiteY35" fmla="*/ 4207383 h 6128401"/>
                  <a:gd name="connsiteX36" fmla="*/ 0 w 4477595"/>
                  <a:gd name="connsiteY36" fmla="*/ 2238797 h 6128401"/>
                  <a:gd name="connsiteX37" fmla="*/ 2238797 w 4477595"/>
                  <a:gd name="connsiteY37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4056807 w 4477595"/>
                  <a:gd name="connsiteY17" fmla="*/ 2238797 h 6128401"/>
                  <a:gd name="connsiteX18" fmla="*/ 2238798 w 4477595"/>
                  <a:gd name="connsiteY18" fmla="*/ 420786 h 6128401"/>
                  <a:gd name="connsiteX19" fmla="*/ 2238797 w 4477595"/>
                  <a:gd name="connsiteY19" fmla="*/ 0 h 6128401"/>
                  <a:gd name="connsiteX20" fmla="*/ 4477595 w 4477595"/>
                  <a:gd name="connsiteY20" fmla="*/ 2238797 h 6128401"/>
                  <a:gd name="connsiteX21" fmla="*/ 3305941 w 4477595"/>
                  <a:gd name="connsiteY21" fmla="*/ 4207383 h 6128401"/>
                  <a:gd name="connsiteX22" fmla="*/ 3243251 w 4477595"/>
                  <a:gd name="connsiteY22" fmla="*/ 4439941 h 6128401"/>
                  <a:gd name="connsiteX23" fmla="*/ 3243251 w 4477595"/>
                  <a:gd name="connsiteY23" fmla="*/ 5318909 h 6128401"/>
                  <a:gd name="connsiteX24" fmla="*/ 2705531 w 4477595"/>
                  <a:gd name="connsiteY24" fmla="*/ 5880081 h 6128401"/>
                  <a:gd name="connsiteX25" fmla="*/ 2650833 w 4477595"/>
                  <a:gd name="connsiteY25" fmla="*/ 5880971 h 6128401"/>
                  <a:gd name="connsiteX26" fmla="*/ 2641784 w 4477595"/>
                  <a:gd name="connsiteY26" fmla="*/ 5910123 h 6128401"/>
                  <a:gd name="connsiteX27" fmla="*/ 2312476 w 4477595"/>
                  <a:gd name="connsiteY27" fmla="*/ 6128401 h 6128401"/>
                  <a:gd name="connsiteX28" fmla="*/ 2165118 w 4477595"/>
                  <a:gd name="connsiteY28" fmla="*/ 6128401 h 6128401"/>
                  <a:gd name="connsiteX29" fmla="*/ 1835810 w 4477595"/>
                  <a:gd name="connsiteY29" fmla="*/ 5910123 h 6128401"/>
                  <a:gd name="connsiteX30" fmla="*/ 1826975 w 4477595"/>
                  <a:gd name="connsiteY30" fmla="*/ 5881661 h 6128401"/>
                  <a:gd name="connsiteX31" fmla="*/ 1699568 w 4477595"/>
                  <a:gd name="connsiteY31" fmla="*/ 5881345 h 6128401"/>
                  <a:gd name="connsiteX32" fmla="*/ 1252464 w 4477595"/>
                  <a:gd name="connsiteY32" fmla="*/ 5306553 h 6128401"/>
                  <a:gd name="connsiteX33" fmla="*/ 1260702 w 4477595"/>
                  <a:gd name="connsiteY33" fmla="*/ 4439941 h 6128401"/>
                  <a:gd name="connsiteX34" fmla="*/ 1247395 w 4477595"/>
                  <a:gd name="connsiteY34" fmla="*/ 4251681 h 6128401"/>
                  <a:gd name="connsiteX35" fmla="*/ 1171654 w 4477595"/>
                  <a:gd name="connsiteY35" fmla="*/ 4207383 h 6128401"/>
                  <a:gd name="connsiteX36" fmla="*/ 0 w 4477595"/>
                  <a:gd name="connsiteY36" fmla="*/ 2238797 h 6128401"/>
                  <a:gd name="connsiteX37" fmla="*/ 2238797 w 4477595"/>
                  <a:gd name="connsiteY37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539568 w 4477595"/>
                  <a:gd name="connsiteY11" fmla="*/ 4531711 h 6128401"/>
                  <a:gd name="connsiteX12" fmla="*/ 2860637 w 4477595"/>
                  <a:gd name="connsiteY12" fmla="*/ 4311091 h 6128401"/>
                  <a:gd name="connsiteX13" fmla="*/ 3109338 w 4477595"/>
                  <a:gd name="connsiteY13" fmla="*/ 3834987 h 6128401"/>
                  <a:gd name="connsiteX14" fmla="*/ 3110879 w 4477595"/>
                  <a:gd name="connsiteY14" fmla="*/ 3834037 h 6128401"/>
                  <a:gd name="connsiteX15" fmla="*/ 3181541 w 4477595"/>
                  <a:gd name="connsiteY15" fmla="*/ 3791109 h 6128401"/>
                  <a:gd name="connsiteX16" fmla="*/ 4056807 w 4477595"/>
                  <a:gd name="connsiteY16" fmla="*/ 2238797 h 6128401"/>
                  <a:gd name="connsiteX17" fmla="*/ 2238798 w 4477595"/>
                  <a:gd name="connsiteY17" fmla="*/ 420786 h 6128401"/>
                  <a:gd name="connsiteX18" fmla="*/ 2238797 w 4477595"/>
                  <a:gd name="connsiteY18" fmla="*/ 0 h 6128401"/>
                  <a:gd name="connsiteX19" fmla="*/ 4477595 w 4477595"/>
                  <a:gd name="connsiteY19" fmla="*/ 2238797 h 6128401"/>
                  <a:gd name="connsiteX20" fmla="*/ 3305941 w 4477595"/>
                  <a:gd name="connsiteY20" fmla="*/ 4207383 h 6128401"/>
                  <a:gd name="connsiteX21" fmla="*/ 3243251 w 4477595"/>
                  <a:gd name="connsiteY21" fmla="*/ 4439941 h 6128401"/>
                  <a:gd name="connsiteX22" fmla="*/ 3243251 w 4477595"/>
                  <a:gd name="connsiteY22" fmla="*/ 5318909 h 6128401"/>
                  <a:gd name="connsiteX23" fmla="*/ 2705531 w 4477595"/>
                  <a:gd name="connsiteY23" fmla="*/ 5880081 h 6128401"/>
                  <a:gd name="connsiteX24" fmla="*/ 2650833 w 4477595"/>
                  <a:gd name="connsiteY24" fmla="*/ 5880971 h 6128401"/>
                  <a:gd name="connsiteX25" fmla="*/ 2641784 w 4477595"/>
                  <a:gd name="connsiteY25" fmla="*/ 5910123 h 6128401"/>
                  <a:gd name="connsiteX26" fmla="*/ 2312476 w 4477595"/>
                  <a:gd name="connsiteY26" fmla="*/ 6128401 h 6128401"/>
                  <a:gd name="connsiteX27" fmla="*/ 2165118 w 4477595"/>
                  <a:gd name="connsiteY27" fmla="*/ 6128401 h 6128401"/>
                  <a:gd name="connsiteX28" fmla="*/ 1835810 w 4477595"/>
                  <a:gd name="connsiteY28" fmla="*/ 5910123 h 6128401"/>
                  <a:gd name="connsiteX29" fmla="*/ 1826975 w 4477595"/>
                  <a:gd name="connsiteY29" fmla="*/ 5881661 h 6128401"/>
                  <a:gd name="connsiteX30" fmla="*/ 1699568 w 4477595"/>
                  <a:gd name="connsiteY30" fmla="*/ 5881345 h 6128401"/>
                  <a:gd name="connsiteX31" fmla="*/ 1252464 w 4477595"/>
                  <a:gd name="connsiteY31" fmla="*/ 5306553 h 6128401"/>
                  <a:gd name="connsiteX32" fmla="*/ 1260702 w 4477595"/>
                  <a:gd name="connsiteY32" fmla="*/ 4439941 h 6128401"/>
                  <a:gd name="connsiteX33" fmla="*/ 1247395 w 4477595"/>
                  <a:gd name="connsiteY33" fmla="*/ 4251681 h 6128401"/>
                  <a:gd name="connsiteX34" fmla="*/ 1171654 w 4477595"/>
                  <a:gd name="connsiteY34" fmla="*/ 4207383 h 6128401"/>
                  <a:gd name="connsiteX35" fmla="*/ 0 w 4477595"/>
                  <a:gd name="connsiteY35" fmla="*/ 2238797 h 6128401"/>
                  <a:gd name="connsiteX36" fmla="*/ 2238797 w 4477595"/>
                  <a:gd name="connsiteY36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539568 w 4477595"/>
                  <a:gd name="connsiteY10" fmla="*/ 4531711 h 6128401"/>
                  <a:gd name="connsiteX11" fmla="*/ 2860637 w 4477595"/>
                  <a:gd name="connsiteY11" fmla="*/ 4311091 h 6128401"/>
                  <a:gd name="connsiteX12" fmla="*/ 3109338 w 4477595"/>
                  <a:gd name="connsiteY12" fmla="*/ 3834987 h 6128401"/>
                  <a:gd name="connsiteX13" fmla="*/ 3110879 w 4477595"/>
                  <a:gd name="connsiteY13" fmla="*/ 3834037 h 6128401"/>
                  <a:gd name="connsiteX14" fmla="*/ 3181541 w 4477595"/>
                  <a:gd name="connsiteY14" fmla="*/ 3791109 h 6128401"/>
                  <a:gd name="connsiteX15" fmla="*/ 4056807 w 4477595"/>
                  <a:gd name="connsiteY15" fmla="*/ 2238797 h 6128401"/>
                  <a:gd name="connsiteX16" fmla="*/ 2238798 w 4477595"/>
                  <a:gd name="connsiteY16" fmla="*/ 420786 h 6128401"/>
                  <a:gd name="connsiteX17" fmla="*/ 2238797 w 4477595"/>
                  <a:gd name="connsiteY17" fmla="*/ 0 h 6128401"/>
                  <a:gd name="connsiteX18" fmla="*/ 4477595 w 4477595"/>
                  <a:gd name="connsiteY18" fmla="*/ 2238797 h 6128401"/>
                  <a:gd name="connsiteX19" fmla="*/ 3305941 w 4477595"/>
                  <a:gd name="connsiteY19" fmla="*/ 4207383 h 6128401"/>
                  <a:gd name="connsiteX20" fmla="*/ 3243251 w 4477595"/>
                  <a:gd name="connsiteY20" fmla="*/ 4439941 h 6128401"/>
                  <a:gd name="connsiteX21" fmla="*/ 3243251 w 4477595"/>
                  <a:gd name="connsiteY21" fmla="*/ 5318909 h 6128401"/>
                  <a:gd name="connsiteX22" fmla="*/ 2705531 w 4477595"/>
                  <a:gd name="connsiteY22" fmla="*/ 5880081 h 6128401"/>
                  <a:gd name="connsiteX23" fmla="*/ 2650833 w 4477595"/>
                  <a:gd name="connsiteY23" fmla="*/ 5880971 h 6128401"/>
                  <a:gd name="connsiteX24" fmla="*/ 2641784 w 4477595"/>
                  <a:gd name="connsiteY24" fmla="*/ 5910123 h 6128401"/>
                  <a:gd name="connsiteX25" fmla="*/ 2312476 w 4477595"/>
                  <a:gd name="connsiteY25" fmla="*/ 6128401 h 6128401"/>
                  <a:gd name="connsiteX26" fmla="*/ 2165118 w 4477595"/>
                  <a:gd name="connsiteY26" fmla="*/ 6128401 h 6128401"/>
                  <a:gd name="connsiteX27" fmla="*/ 1835810 w 4477595"/>
                  <a:gd name="connsiteY27" fmla="*/ 5910123 h 6128401"/>
                  <a:gd name="connsiteX28" fmla="*/ 1826975 w 4477595"/>
                  <a:gd name="connsiteY28" fmla="*/ 5881661 h 6128401"/>
                  <a:gd name="connsiteX29" fmla="*/ 1699568 w 4477595"/>
                  <a:gd name="connsiteY29" fmla="*/ 5881345 h 6128401"/>
                  <a:gd name="connsiteX30" fmla="*/ 1252464 w 4477595"/>
                  <a:gd name="connsiteY30" fmla="*/ 5306553 h 6128401"/>
                  <a:gd name="connsiteX31" fmla="*/ 1260702 w 4477595"/>
                  <a:gd name="connsiteY31" fmla="*/ 4439941 h 6128401"/>
                  <a:gd name="connsiteX32" fmla="*/ 1247395 w 4477595"/>
                  <a:gd name="connsiteY32" fmla="*/ 4251681 h 6128401"/>
                  <a:gd name="connsiteX33" fmla="*/ 1171654 w 4477595"/>
                  <a:gd name="connsiteY33" fmla="*/ 4207383 h 6128401"/>
                  <a:gd name="connsiteX34" fmla="*/ 0 w 4477595"/>
                  <a:gd name="connsiteY34" fmla="*/ 2238797 h 6128401"/>
                  <a:gd name="connsiteX35" fmla="*/ 2238797 w 4477595"/>
                  <a:gd name="connsiteY35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539568 w 4477595"/>
                  <a:gd name="connsiteY9" fmla="*/ 4531711 h 6128401"/>
                  <a:gd name="connsiteX10" fmla="*/ 2860637 w 4477595"/>
                  <a:gd name="connsiteY10" fmla="*/ 4311091 h 6128401"/>
                  <a:gd name="connsiteX11" fmla="*/ 3109338 w 4477595"/>
                  <a:gd name="connsiteY11" fmla="*/ 3834987 h 6128401"/>
                  <a:gd name="connsiteX12" fmla="*/ 3110879 w 4477595"/>
                  <a:gd name="connsiteY12" fmla="*/ 3834037 h 6128401"/>
                  <a:gd name="connsiteX13" fmla="*/ 3181541 w 4477595"/>
                  <a:gd name="connsiteY13" fmla="*/ 3791109 h 6128401"/>
                  <a:gd name="connsiteX14" fmla="*/ 4056807 w 4477595"/>
                  <a:gd name="connsiteY14" fmla="*/ 2238797 h 6128401"/>
                  <a:gd name="connsiteX15" fmla="*/ 2238798 w 4477595"/>
                  <a:gd name="connsiteY15" fmla="*/ 420786 h 6128401"/>
                  <a:gd name="connsiteX16" fmla="*/ 2238797 w 4477595"/>
                  <a:gd name="connsiteY16" fmla="*/ 0 h 6128401"/>
                  <a:gd name="connsiteX17" fmla="*/ 4477595 w 4477595"/>
                  <a:gd name="connsiteY17" fmla="*/ 2238797 h 6128401"/>
                  <a:gd name="connsiteX18" fmla="*/ 3305941 w 4477595"/>
                  <a:gd name="connsiteY18" fmla="*/ 4207383 h 6128401"/>
                  <a:gd name="connsiteX19" fmla="*/ 3243251 w 4477595"/>
                  <a:gd name="connsiteY19" fmla="*/ 4439941 h 6128401"/>
                  <a:gd name="connsiteX20" fmla="*/ 3243251 w 4477595"/>
                  <a:gd name="connsiteY20" fmla="*/ 5318909 h 6128401"/>
                  <a:gd name="connsiteX21" fmla="*/ 2705531 w 4477595"/>
                  <a:gd name="connsiteY21" fmla="*/ 5880081 h 6128401"/>
                  <a:gd name="connsiteX22" fmla="*/ 2650833 w 4477595"/>
                  <a:gd name="connsiteY22" fmla="*/ 5880971 h 6128401"/>
                  <a:gd name="connsiteX23" fmla="*/ 2641784 w 4477595"/>
                  <a:gd name="connsiteY23" fmla="*/ 5910123 h 6128401"/>
                  <a:gd name="connsiteX24" fmla="*/ 2312476 w 4477595"/>
                  <a:gd name="connsiteY24" fmla="*/ 6128401 h 6128401"/>
                  <a:gd name="connsiteX25" fmla="*/ 2165118 w 4477595"/>
                  <a:gd name="connsiteY25" fmla="*/ 6128401 h 6128401"/>
                  <a:gd name="connsiteX26" fmla="*/ 1835810 w 4477595"/>
                  <a:gd name="connsiteY26" fmla="*/ 5910123 h 6128401"/>
                  <a:gd name="connsiteX27" fmla="*/ 1826975 w 4477595"/>
                  <a:gd name="connsiteY27" fmla="*/ 5881661 h 6128401"/>
                  <a:gd name="connsiteX28" fmla="*/ 1699568 w 4477595"/>
                  <a:gd name="connsiteY28" fmla="*/ 5881345 h 6128401"/>
                  <a:gd name="connsiteX29" fmla="*/ 1252464 w 4477595"/>
                  <a:gd name="connsiteY29" fmla="*/ 5306553 h 6128401"/>
                  <a:gd name="connsiteX30" fmla="*/ 1260702 w 4477595"/>
                  <a:gd name="connsiteY30" fmla="*/ 4439941 h 6128401"/>
                  <a:gd name="connsiteX31" fmla="*/ 1247395 w 4477595"/>
                  <a:gd name="connsiteY31" fmla="*/ 4251681 h 6128401"/>
                  <a:gd name="connsiteX32" fmla="*/ 1171654 w 4477595"/>
                  <a:gd name="connsiteY32" fmla="*/ 4207383 h 6128401"/>
                  <a:gd name="connsiteX33" fmla="*/ 0 w 4477595"/>
                  <a:gd name="connsiteY33" fmla="*/ 2238797 h 6128401"/>
                  <a:gd name="connsiteX34" fmla="*/ 2238797 w 4477595"/>
                  <a:gd name="connsiteY34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539568 w 4477595"/>
                  <a:gd name="connsiteY8" fmla="*/ 4531711 h 6128401"/>
                  <a:gd name="connsiteX9" fmla="*/ 2860637 w 4477595"/>
                  <a:gd name="connsiteY9" fmla="*/ 4311091 h 6128401"/>
                  <a:gd name="connsiteX10" fmla="*/ 3109338 w 4477595"/>
                  <a:gd name="connsiteY10" fmla="*/ 3834987 h 6128401"/>
                  <a:gd name="connsiteX11" fmla="*/ 3110879 w 4477595"/>
                  <a:gd name="connsiteY11" fmla="*/ 3834037 h 6128401"/>
                  <a:gd name="connsiteX12" fmla="*/ 3181541 w 4477595"/>
                  <a:gd name="connsiteY12" fmla="*/ 3791109 h 6128401"/>
                  <a:gd name="connsiteX13" fmla="*/ 4056807 w 4477595"/>
                  <a:gd name="connsiteY13" fmla="*/ 2238797 h 6128401"/>
                  <a:gd name="connsiteX14" fmla="*/ 2238798 w 4477595"/>
                  <a:gd name="connsiteY14" fmla="*/ 420786 h 6128401"/>
                  <a:gd name="connsiteX15" fmla="*/ 2238797 w 4477595"/>
                  <a:gd name="connsiteY15" fmla="*/ 0 h 6128401"/>
                  <a:gd name="connsiteX16" fmla="*/ 4477595 w 4477595"/>
                  <a:gd name="connsiteY16" fmla="*/ 2238797 h 6128401"/>
                  <a:gd name="connsiteX17" fmla="*/ 3305941 w 4477595"/>
                  <a:gd name="connsiteY17" fmla="*/ 4207383 h 6128401"/>
                  <a:gd name="connsiteX18" fmla="*/ 3243251 w 4477595"/>
                  <a:gd name="connsiteY18" fmla="*/ 4439941 h 6128401"/>
                  <a:gd name="connsiteX19" fmla="*/ 3243251 w 4477595"/>
                  <a:gd name="connsiteY19" fmla="*/ 5318909 h 6128401"/>
                  <a:gd name="connsiteX20" fmla="*/ 2705531 w 4477595"/>
                  <a:gd name="connsiteY20" fmla="*/ 5880081 h 6128401"/>
                  <a:gd name="connsiteX21" fmla="*/ 2650833 w 4477595"/>
                  <a:gd name="connsiteY21" fmla="*/ 5880971 h 6128401"/>
                  <a:gd name="connsiteX22" fmla="*/ 2641784 w 4477595"/>
                  <a:gd name="connsiteY22" fmla="*/ 5910123 h 6128401"/>
                  <a:gd name="connsiteX23" fmla="*/ 2312476 w 4477595"/>
                  <a:gd name="connsiteY23" fmla="*/ 6128401 h 6128401"/>
                  <a:gd name="connsiteX24" fmla="*/ 2165118 w 4477595"/>
                  <a:gd name="connsiteY24" fmla="*/ 6128401 h 6128401"/>
                  <a:gd name="connsiteX25" fmla="*/ 1835810 w 4477595"/>
                  <a:gd name="connsiteY25" fmla="*/ 5910123 h 6128401"/>
                  <a:gd name="connsiteX26" fmla="*/ 1826975 w 4477595"/>
                  <a:gd name="connsiteY26" fmla="*/ 5881661 h 6128401"/>
                  <a:gd name="connsiteX27" fmla="*/ 1699568 w 4477595"/>
                  <a:gd name="connsiteY27" fmla="*/ 5881345 h 6128401"/>
                  <a:gd name="connsiteX28" fmla="*/ 1252464 w 4477595"/>
                  <a:gd name="connsiteY28" fmla="*/ 5306553 h 6128401"/>
                  <a:gd name="connsiteX29" fmla="*/ 1260702 w 4477595"/>
                  <a:gd name="connsiteY29" fmla="*/ 4439941 h 6128401"/>
                  <a:gd name="connsiteX30" fmla="*/ 1247395 w 4477595"/>
                  <a:gd name="connsiteY30" fmla="*/ 4251681 h 6128401"/>
                  <a:gd name="connsiteX31" fmla="*/ 1171654 w 4477595"/>
                  <a:gd name="connsiteY31" fmla="*/ 4207383 h 6128401"/>
                  <a:gd name="connsiteX32" fmla="*/ 0 w 4477595"/>
                  <a:gd name="connsiteY32" fmla="*/ 2238797 h 6128401"/>
                  <a:gd name="connsiteX33" fmla="*/ 2238797 w 4477595"/>
                  <a:gd name="connsiteY33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539568 w 4477595"/>
                  <a:gd name="connsiteY7" fmla="*/ 4531711 h 6128401"/>
                  <a:gd name="connsiteX8" fmla="*/ 2860637 w 4477595"/>
                  <a:gd name="connsiteY8" fmla="*/ 4311091 h 6128401"/>
                  <a:gd name="connsiteX9" fmla="*/ 3109338 w 4477595"/>
                  <a:gd name="connsiteY9" fmla="*/ 3834987 h 6128401"/>
                  <a:gd name="connsiteX10" fmla="*/ 3110879 w 4477595"/>
                  <a:gd name="connsiteY10" fmla="*/ 3834037 h 6128401"/>
                  <a:gd name="connsiteX11" fmla="*/ 3181541 w 4477595"/>
                  <a:gd name="connsiteY11" fmla="*/ 3791109 h 6128401"/>
                  <a:gd name="connsiteX12" fmla="*/ 4056807 w 4477595"/>
                  <a:gd name="connsiteY12" fmla="*/ 2238797 h 6128401"/>
                  <a:gd name="connsiteX13" fmla="*/ 2238798 w 4477595"/>
                  <a:gd name="connsiteY13" fmla="*/ 420786 h 6128401"/>
                  <a:gd name="connsiteX14" fmla="*/ 2238797 w 4477595"/>
                  <a:gd name="connsiteY14" fmla="*/ 0 h 6128401"/>
                  <a:gd name="connsiteX15" fmla="*/ 4477595 w 4477595"/>
                  <a:gd name="connsiteY15" fmla="*/ 2238797 h 6128401"/>
                  <a:gd name="connsiteX16" fmla="*/ 3305941 w 4477595"/>
                  <a:gd name="connsiteY16" fmla="*/ 4207383 h 6128401"/>
                  <a:gd name="connsiteX17" fmla="*/ 3243251 w 4477595"/>
                  <a:gd name="connsiteY17" fmla="*/ 4439941 h 6128401"/>
                  <a:gd name="connsiteX18" fmla="*/ 3243251 w 4477595"/>
                  <a:gd name="connsiteY18" fmla="*/ 5318909 h 6128401"/>
                  <a:gd name="connsiteX19" fmla="*/ 2705531 w 4477595"/>
                  <a:gd name="connsiteY19" fmla="*/ 5880081 h 6128401"/>
                  <a:gd name="connsiteX20" fmla="*/ 2650833 w 4477595"/>
                  <a:gd name="connsiteY20" fmla="*/ 5880971 h 6128401"/>
                  <a:gd name="connsiteX21" fmla="*/ 2641784 w 4477595"/>
                  <a:gd name="connsiteY21" fmla="*/ 5910123 h 6128401"/>
                  <a:gd name="connsiteX22" fmla="*/ 2312476 w 4477595"/>
                  <a:gd name="connsiteY22" fmla="*/ 6128401 h 6128401"/>
                  <a:gd name="connsiteX23" fmla="*/ 2165118 w 4477595"/>
                  <a:gd name="connsiteY23" fmla="*/ 6128401 h 6128401"/>
                  <a:gd name="connsiteX24" fmla="*/ 1835810 w 4477595"/>
                  <a:gd name="connsiteY24" fmla="*/ 5910123 h 6128401"/>
                  <a:gd name="connsiteX25" fmla="*/ 1826975 w 4477595"/>
                  <a:gd name="connsiteY25" fmla="*/ 5881661 h 6128401"/>
                  <a:gd name="connsiteX26" fmla="*/ 1699568 w 4477595"/>
                  <a:gd name="connsiteY26" fmla="*/ 5881345 h 6128401"/>
                  <a:gd name="connsiteX27" fmla="*/ 1252464 w 4477595"/>
                  <a:gd name="connsiteY27" fmla="*/ 5306553 h 6128401"/>
                  <a:gd name="connsiteX28" fmla="*/ 1260702 w 4477595"/>
                  <a:gd name="connsiteY28" fmla="*/ 4439941 h 6128401"/>
                  <a:gd name="connsiteX29" fmla="*/ 1247395 w 4477595"/>
                  <a:gd name="connsiteY29" fmla="*/ 4251681 h 6128401"/>
                  <a:gd name="connsiteX30" fmla="*/ 1171654 w 4477595"/>
                  <a:gd name="connsiteY30" fmla="*/ 4207383 h 6128401"/>
                  <a:gd name="connsiteX31" fmla="*/ 0 w 4477595"/>
                  <a:gd name="connsiteY31" fmla="*/ 2238797 h 6128401"/>
                  <a:gd name="connsiteX32" fmla="*/ 2238797 w 4477595"/>
                  <a:gd name="connsiteY32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539568 w 4477595"/>
                  <a:gd name="connsiteY6" fmla="*/ 4531711 h 6128401"/>
                  <a:gd name="connsiteX7" fmla="*/ 2860637 w 4477595"/>
                  <a:gd name="connsiteY7" fmla="*/ 4311091 h 6128401"/>
                  <a:gd name="connsiteX8" fmla="*/ 3109338 w 4477595"/>
                  <a:gd name="connsiteY8" fmla="*/ 3834987 h 6128401"/>
                  <a:gd name="connsiteX9" fmla="*/ 3110879 w 4477595"/>
                  <a:gd name="connsiteY9" fmla="*/ 3834037 h 6128401"/>
                  <a:gd name="connsiteX10" fmla="*/ 3181541 w 4477595"/>
                  <a:gd name="connsiteY10" fmla="*/ 3791109 h 6128401"/>
                  <a:gd name="connsiteX11" fmla="*/ 4056807 w 4477595"/>
                  <a:gd name="connsiteY11" fmla="*/ 2238797 h 6128401"/>
                  <a:gd name="connsiteX12" fmla="*/ 2238798 w 4477595"/>
                  <a:gd name="connsiteY12" fmla="*/ 420786 h 6128401"/>
                  <a:gd name="connsiteX13" fmla="*/ 2238797 w 4477595"/>
                  <a:gd name="connsiteY13" fmla="*/ 0 h 6128401"/>
                  <a:gd name="connsiteX14" fmla="*/ 4477595 w 4477595"/>
                  <a:gd name="connsiteY14" fmla="*/ 2238797 h 6128401"/>
                  <a:gd name="connsiteX15" fmla="*/ 3305941 w 4477595"/>
                  <a:gd name="connsiteY15" fmla="*/ 4207383 h 6128401"/>
                  <a:gd name="connsiteX16" fmla="*/ 3243251 w 4477595"/>
                  <a:gd name="connsiteY16" fmla="*/ 4439941 h 6128401"/>
                  <a:gd name="connsiteX17" fmla="*/ 3243251 w 4477595"/>
                  <a:gd name="connsiteY17" fmla="*/ 5318909 h 6128401"/>
                  <a:gd name="connsiteX18" fmla="*/ 2705531 w 4477595"/>
                  <a:gd name="connsiteY18" fmla="*/ 5880081 h 6128401"/>
                  <a:gd name="connsiteX19" fmla="*/ 2650833 w 4477595"/>
                  <a:gd name="connsiteY19" fmla="*/ 5880971 h 6128401"/>
                  <a:gd name="connsiteX20" fmla="*/ 2641784 w 4477595"/>
                  <a:gd name="connsiteY20" fmla="*/ 5910123 h 6128401"/>
                  <a:gd name="connsiteX21" fmla="*/ 2312476 w 4477595"/>
                  <a:gd name="connsiteY21" fmla="*/ 6128401 h 6128401"/>
                  <a:gd name="connsiteX22" fmla="*/ 2165118 w 4477595"/>
                  <a:gd name="connsiteY22" fmla="*/ 6128401 h 6128401"/>
                  <a:gd name="connsiteX23" fmla="*/ 1835810 w 4477595"/>
                  <a:gd name="connsiteY23" fmla="*/ 5910123 h 6128401"/>
                  <a:gd name="connsiteX24" fmla="*/ 1826975 w 4477595"/>
                  <a:gd name="connsiteY24" fmla="*/ 5881661 h 6128401"/>
                  <a:gd name="connsiteX25" fmla="*/ 1699568 w 4477595"/>
                  <a:gd name="connsiteY25" fmla="*/ 5881345 h 6128401"/>
                  <a:gd name="connsiteX26" fmla="*/ 1252464 w 4477595"/>
                  <a:gd name="connsiteY26" fmla="*/ 5306553 h 6128401"/>
                  <a:gd name="connsiteX27" fmla="*/ 1260702 w 4477595"/>
                  <a:gd name="connsiteY27" fmla="*/ 4439941 h 6128401"/>
                  <a:gd name="connsiteX28" fmla="*/ 1247395 w 4477595"/>
                  <a:gd name="connsiteY28" fmla="*/ 4251681 h 6128401"/>
                  <a:gd name="connsiteX29" fmla="*/ 1171654 w 4477595"/>
                  <a:gd name="connsiteY29" fmla="*/ 4207383 h 6128401"/>
                  <a:gd name="connsiteX30" fmla="*/ 0 w 4477595"/>
                  <a:gd name="connsiteY30" fmla="*/ 2238797 h 6128401"/>
                  <a:gd name="connsiteX31" fmla="*/ 2238797 w 4477595"/>
                  <a:gd name="connsiteY31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539568 w 4477595"/>
                  <a:gd name="connsiteY5" fmla="*/ 4531711 h 6128401"/>
                  <a:gd name="connsiteX6" fmla="*/ 2860637 w 4477595"/>
                  <a:gd name="connsiteY6" fmla="*/ 4311091 h 6128401"/>
                  <a:gd name="connsiteX7" fmla="*/ 3109338 w 4477595"/>
                  <a:gd name="connsiteY7" fmla="*/ 3834987 h 6128401"/>
                  <a:gd name="connsiteX8" fmla="*/ 3110879 w 4477595"/>
                  <a:gd name="connsiteY8" fmla="*/ 3834037 h 6128401"/>
                  <a:gd name="connsiteX9" fmla="*/ 3181541 w 4477595"/>
                  <a:gd name="connsiteY9" fmla="*/ 3791109 h 6128401"/>
                  <a:gd name="connsiteX10" fmla="*/ 4056807 w 4477595"/>
                  <a:gd name="connsiteY10" fmla="*/ 2238797 h 6128401"/>
                  <a:gd name="connsiteX11" fmla="*/ 2238798 w 4477595"/>
                  <a:gd name="connsiteY11" fmla="*/ 420786 h 6128401"/>
                  <a:gd name="connsiteX12" fmla="*/ 2238797 w 4477595"/>
                  <a:gd name="connsiteY12" fmla="*/ 0 h 6128401"/>
                  <a:gd name="connsiteX13" fmla="*/ 4477595 w 4477595"/>
                  <a:gd name="connsiteY13" fmla="*/ 2238797 h 6128401"/>
                  <a:gd name="connsiteX14" fmla="*/ 3305941 w 4477595"/>
                  <a:gd name="connsiteY14" fmla="*/ 4207383 h 6128401"/>
                  <a:gd name="connsiteX15" fmla="*/ 3243251 w 4477595"/>
                  <a:gd name="connsiteY15" fmla="*/ 4439941 h 6128401"/>
                  <a:gd name="connsiteX16" fmla="*/ 3243251 w 4477595"/>
                  <a:gd name="connsiteY16" fmla="*/ 5318909 h 6128401"/>
                  <a:gd name="connsiteX17" fmla="*/ 2705531 w 4477595"/>
                  <a:gd name="connsiteY17" fmla="*/ 5880081 h 6128401"/>
                  <a:gd name="connsiteX18" fmla="*/ 2650833 w 4477595"/>
                  <a:gd name="connsiteY18" fmla="*/ 5880971 h 6128401"/>
                  <a:gd name="connsiteX19" fmla="*/ 2641784 w 4477595"/>
                  <a:gd name="connsiteY19" fmla="*/ 5910123 h 6128401"/>
                  <a:gd name="connsiteX20" fmla="*/ 2312476 w 4477595"/>
                  <a:gd name="connsiteY20" fmla="*/ 6128401 h 6128401"/>
                  <a:gd name="connsiteX21" fmla="*/ 2165118 w 4477595"/>
                  <a:gd name="connsiteY21" fmla="*/ 6128401 h 6128401"/>
                  <a:gd name="connsiteX22" fmla="*/ 1835810 w 4477595"/>
                  <a:gd name="connsiteY22" fmla="*/ 5910123 h 6128401"/>
                  <a:gd name="connsiteX23" fmla="*/ 1826975 w 4477595"/>
                  <a:gd name="connsiteY23" fmla="*/ 5881661 h 6128401"/>
                  <a:gd name="connsiteX24" fmla="*/ 1699568 w 4477595"/>
                  <a:gd name="connsiteY24" fmla="*/ 5881345 h 6128401"/>
                  <a:gd name="connsiteX25" fmla="*/ 1252464 w 4477595"/>
                  <a:gd name="connsiteY25" fmla="*/ 5306553 h 6128401"/>
                  <a:gd name="connsiteX26" fmla="*/ 1260702 w 4477595"/>
                  <a:gd name="connsiteY26" fmla="*/ 4439941 h 6128401"/>
                  <a:gd name="connsiteX27" fmla="*/ 1247395 w 4477595"/>
                  <a:gd name="connsiteY27" fmla="*/ 4251681 h 6128401"/>
                  <a:gd name="connsiteX28" fmla="*/ 1171654 w 4477595"/>
                  <a:gd name="connsiteY28" fmla="*/ 4207383 h 6128401"/>
                  <a:gd name="connsiteX29" fmla="*/ 0 w 4477595"/>
                  <a:gd name="connsiteY29" fmla="*/ 2238797 h 6128401"/>
                  <a:gd name="connsiteX30" fmla="*/ 2238797 w 4477595"/>
                  <a:gd name="connsiteY30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539568 w 4477595"/>
                  <a:gd name="connsiteY5" fmla="*/ 4531711 h 6128401"/>
                  <a:gd name="connsiteX6" fmla="*/ 2860637 w 4477595"/>
                  <a:gd name="connsiteY6" fmla="*/ 4311091 h 6128401"/>
                  <a:gd name="connsiteX7" fmla="*/ 3109338 w 4477595"/>
                  <a:gd name="connsiteY7" fmla="*/ 3834987 h 6128401"/>
                  <a:gd name="connsiteX8" fmla="*/ 3110879 w 4477595"/>
                  <a:gd name="connsiteY8" fmla="*/ 3834037 h 6128401"/>
                  <a:gd name="connsiteX9" fmla="*/ 3181541 w 4477595"/>
                  <a:gd name="connsiteY9" fmla="*/ 3791109 h 6128401"/>
                  <a:gd name="connsiteX10" fmla="*/ 4056807 w 4477595"/>
                  <a:gd name="connsiteY10" fmla="*/ 2238797 h 6128401"/>
                  <a:gd name="connsiteX11" fmla="*/ 2238798 w 4477595"/>
                  <a:gd name="connsiteY11" fmla="*/ 420786 h 6128401"/>
                  <a:gd name="connsiteX12" fmla="*/ 2238797 w 4477595"/>
                  <a:gd name="connsiteY12" fmla="*/ 0 h 6128401"/>
                  <a:gd name="connsiteX13" fmla="*/ 4477595 w 4477595"/>
                  <a:gd name="connsiteY13" fmla="*/ 2238797 h 6128401"/>
                  <a:gd name="connsiteX14" fmla="*/ 3305941 w 4477595"/>
                  <a:gd name="connsiteY14" fmla="*/ 4207383 h 6128401"/>
                  <a:gd name="connsiteX15" fmla="*/ 3243251 w 4477595"/>
                  <a:gd name="connsiteY15" fmla="*/ 4439941 h 6128401"/>
                  <a:gd name="connsiteX16" fmla="*/ 3243251 w 4477595"/>
                  <a:gd name="connsiteY16" fmla="*/ 5318909 h 6128401"/>
                  <a:gd name="connsiteX17" fmla="*/ 2705531 w 4477595"/>
                  <a:gd name="connsiteY17" fmla="*/ 5880081 h 6128401"/>
                  <a:gd name="connsiteX18" fmla="*/ 2650833 w 4477595"/>
                  <a:gd name="connsiteY18" fmla="*/ 5880971 h 6128401"/>
                  <a:gd name="connsiteX19" fmla="*/ 2641784 w 4477595"/>
                  <a:gd name="connsiteY19" fmla="*/ 5910123 h 6128401"/>
                  <a:gd name="connsiteX20" fmla="*/ 2312476 w 4477595"/>
                  <a:gd name="connsiteY20" fmla="*/ 6128401 h 6128401"/>
                  <a:gd name="connsiteX21" fmla="*/ 2165118 w 4477595"/>
                  <a:gd name="connsiteY21" fmla="*/ 6128401 h 6128401"/>
                  <a:gd name="connsiteX22" fmla="*/ 1835810 w 4477595"/>
                  <a:gd name="connsiteY22" fmla="*/ 5910123 h 6128401"/>
                  <a:gd name="connsiteX23" fmla="*/ 1826975 w 4477595"/>
                  <a:gd name="connsiteY23" fmla="*/ 5881661 h 6128401"/>
                  <a:gd name="connsiteX24" fmla="*/ 1699568 w 4477595"/>
                  <a:gd name="connsiteY24" fmla="*/ 5881345 h 6128401"/>
                  <a:gd name="connsiteX25" fmla="*/ 1252464 w 4477595"/>
                  <a:gd name="connsiteY25" fmla="*/ 5306553 h 6128401"/>
                  <a:gd name="connsiteX26" fmla="*/ 1260702 w 4477595"/>
                  <a:gd name="connsiteY26" fmla="*/ 4439941 h 6128401"/>
                  <a:gd name="connsiteX27" fmla="*/ 1247395 w 4477595"/>
                  <a:gd name="connsiteY27" fmla="*/ 4251681 h 6128401"/>
                  <a:gd name="connsiteX28" fmla="*/ 1171654 w 4477595"/>
                  <a:gd name="connsiteY28" fmla="*/ 4207383 h 6128401"/>
                  <a:gd name="connsiteX29" fmla="*/ 0 w 4477595"/>
                  <a:gd name="connsiteY29" fmla="*/ 2238797 h 6128401"/>
                  <a:gd name="connsiteX30" fmla="*/ 2238797 w 4477595"/>
                  <a:gd name="connsiteY30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27594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539568 w 4477595"/>
                  <a:gd name="connsiteY5" fmla="*/ 4531711 h 6128401"/>
                  <a:gd name="connsiteX6" fmla="*/ 2860637 w 4477595"/>
                  <a:gd name="connsiteY6" fmla="*/ 4311091 h 6128401"/>
                  <a:gd name="connsiteX7" fmla="*/ 3109338 w 4477595"/>
                  <a:gd name="connsiteY7" fmla="*/ 3834987 h 6128401"/>
                  <a:gd name="connsiteX8" fmla="*/ 3110879 w 4477595"/>
                  <a:gd name="connsiteY8" fmla="*/ 3834037 h 6128401"/>
                  <a:gd name="connsiteX9" fmla="*/ 3181541 w 4477595"/>
                  <a:gd name="connsiteY9" fmla="*/ 3791109 h 6128401"/>
                  <a:gd name="connsiteX10" fmla="*/ 4056807 w 4477595"/>
                  <a:gd name="connsiteY10" fmla="*/ 2238797 h 6128401"/>
                  <a:gd name="connsiteX11" fmla="*/ 2238798 w 4477595"/>
                  <a:gd name="connsiteY11" fmla="*/ 420786 h 6128401"/>
                  <a:gd name="connsiteX12" fmla="*/ 2238797 w 4477595"/>
                  <a:gd name="connsiteY12" fmla="*/ 0 h 6128401"/>
                  <a:gd name="connsiteX13" fmla="*/ 4477595 w 4477595"/>
                  <a:gd name="connsiteY13" fmla="*/ 2238797 h 6128401"/>
                  <a:gd name="connsiteX14" fmla="*/ 3305941 w 4477595"/>
                  <a:gd name="connsiteY14" fmla="*/ 4207383 h 6128401"/>
                  <a:gd name="connsiteX15" fmla="*/ 3243251 w 4477595"/>
                  <a:gd name="connsiteY15" fmla="*/ 4439941 h 6128401"/>
                  <a:gd name="connsiteX16" fmla="*/ 3243251 w 4477595"/>
                  <a:gd name="connsiteY16" fmla="*/ 5318909 h 6128401"/>
                  <a:gd name="connsiteX17" fmla="*/ 2705531 w 4477595"/>
                  <a:gd name="connsiteY17" fmla="*/ 5880081 h 6128401"/>
                  <a:gd name="connsiteX18" fmla="*/ 2650833 w 4477595"/>
                  <a:gd name="connsiteY18" fmla="*/ 5880971 h 6128401"/>
                  <a:gd name="connsiteX19" fmla="*/ 2641784 w 4477595"/>
                  <a:gd name="connsiteY19" fmla="*/ 5910123 h 6128401"/>
                  <a:gd name="connsiteX20" fmla="*/ 2312476 w 4477595"/>
                  <a:gd name="connsiteY20" fmla="*/ 6128401 h 6128401"/>
                  <a:gd name="connsiteX21" fmla="*/ 2165118 w 4477595"/>
                  <a:gd name="connsiteY21" fmla="*/ 6128401 h 6128401"/>
                  <a:gd name="connsiteX22" fmla="*/ 1835810 w 4477595"/>
                  <a:gd name="connsiteY22" fmla="*/ 5910123 h 6128401"/>
                  <a:gd name="connsiteX23" fmla="*/ 1826975 w 4477595"/>
                  <a:gd name="connsiteY23" fmla="*/ 5881661 h 6128401"/>
                  <a:gd name="connsiteX24" fmla="*/ 1699568 w 4477595"/>
                  <a:gd name="connsiteY24" fmla="*/ 5881345 h 6128401"/>
                  <a:gd name="connsiteX25" fmla="*/ 1252464 w 4477595"/>
                  <a:gd name="connsiteY25" fmla="*/ 5306553 h 6128401"/>
                  <a:gd name="connsiteX26" fmla="*/ 1260702 w 4477595"/>
                  <a:gd name="connsiteY26" fmla="*/ 4439941 h 6128401"/>
                  <a:gd name="connsiteX27" fmla="*/ 1247395 w 4477595"/>
                  <a:gd name="connsiteY27" fmla="*/ 4251681 h 6128401"/>
                  <a:gd name="connsiteX28" fmla="*/ 1171654 w 4477595"/>
                  <a:gd name="connsiteY28" fmla="*/ 4207383 h 6128401"/>
                  <a:gd name="connsiteX29" fmla="*/ 0 w 4477595"/>
                  <a:gd name="connsiteY29" fmla="*/ 2238797 h 6128401"/>
                  <a:gd name="connsiteX30" fmla="*/ 2238797 w 4477595"/>
                  <a:gd name="connsiteY30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27594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539568 w 4477595"/>
                  <a:gd name="connsiteY5" fmla="*/ 4531711 h 6128401"/>
                  <a:gd name="connsiteX6" fmla="*/ 2860637 w 4477595"/>
                  <a:gd name="connsiteY6" fmla="*/ 4311091 h 6128401"/>
                  <a:gd name="connsiteX7" fmla="*/ 3109338 w 4477595"/>
                  <a:gd name="connsiteY7" fmla="*/ 3834987 h 6128401"/>
                  <a:gd name="connsiteX8" fmla="*/ 3110879 w 4477595"/>
                  <a:gd name="connsiteY8" fmla="*/ 3834037 h 6128401"/>
                  <a:gd name="connsiteX9" fmla="*/ 3181541 w 4477595"/>
                  <a:gd name="connsiteY9" fmla="*/ 3791109 h 6128401"/>
                  <a:gd name="connsiteX10" fmla="*/ 4056807 w 4477595"/>
                  <a:gd name="connsiteY10" fmla="*/ 2238797 h 6128401"/>
                  <a:gd name="connsiteX11" fmla="*/ 2238798 w 4477595"/>
                  <a:gd name="connsiteY11" fmla="*/ 420786 h 6128401"/>
                  <a:gd name="connsiteX12" fmla="*/ 2238797 w 4477595"/>
                  <a:gd name="connsiteY12" fmla="*/ 0 h 6128401"/>
                  <a:gd name="connsiteX13" fmla="*/ 4477595 w 4477595"/>
                  <a:gd name="connsiteY13" fmla="*/ 2238797 h 6128401"/>
                  <a:gd name="connsiteX14" fmla="*/ 3305941 w 4477595"/>
                  <a:gd name="connsiteY14" fmla="*/ 4207383 h 6128401"/>
                  <a:gd name="connsiteX15" fmla="*/ 3243251 w 4477595"/>
                  <a:gd name="connsiteY15" fmla="*/ 4439941 h 6128401"/>
                  <a:gd name="connsiteX16" fmla="*/ 3243251 w 4477595"/>
                  <a:gd name="connsiteY16" fmla="*/ 5318909 h 6128401"/>
                  <a:gd name="connsiteX17" fmla="*/ 2705531 w 4477595"/>
                  <a:gd name="connsiteY17" fmla="*/ 5880081 h 6128401"/>
                  <a:gd name="connsiteX18" fmla="*/ 2650833 w 4477595"/>
                  <a:gd name="connsiteY18" fmla="*/ 5880971 h 6128401"/>
                  <a:gd name="connsiteX19" fmla="*/ 2641784 w 4477595"/>
                  <a:gd name="connsiteY19" fmla="*/ 5910123 h 6128401"/>
                  <a:gd name="connsiteX20" fmla="*/ 2312476 w 4477595"/>
                  <a:gd name="connsiteY20" fmla="*/ 6128401 h 6128401"/>
                  <a:gd name="connsiteX21" fmla="*/ 2165118 w 4477595"/>
                  <a:gd name="connsiteY21" fmla="*/ 6128401 h 6128401"/>
                  <a:gd name="connsiteX22" fmla="*/ 1835810 w 4477595"/>
                  <a:gd name="connsiteY22" fmla="*/ 5910123 h 6128401"/>
                  <a:gd name="connsiteX23" fmla="*/ 1826975 w 4477595"/>
                  <a:gd name="connsiteY23" fmla="*/ 5881661 h 6128401"/>
                  <a:gd name="connsiteX24" fmla="*/ 1699568 w 4477595"/>
                  <a:gd name="connsiteY24" fmla="*/ 5881345 h 6128401"/>
                  <a:gd name="connsiteX25" fmla="*/ 1252464 w 4477595"/>
                  <a:gd name="connsiteY25" fmla="*/ 5306553 h 6128401"/>
                  <a:gd name="connsiteX26" fmla="*/ 1260702 w 4477595"/>
                  <a:gd name="connsiteY26" fmla="*/ 4439941 h 6128401"/>
                  <a:gd name="connsiteX27" fmla="*/ 1247395 w 4477595"/>
                  <a:gd name="connsiteY27" fmla="*/ 4251681 h 6128401"/>
                  <a:gd name="connsiteX28" fmla="*/ 1171654 w 4477595"/>
                  <a:gd name="connsiteY28" fmla="*/ 4207383 h 6128401"/>
                  <a:gd name="connsiteX29" fmla="*/ 0 w 4477595"/>
                  <a:gd name="connsiteY29" fmla="*/ 2238797 h 6128401"/>
                  <a:gd name="connsiteX30" fmla="*/ 2238797 w 4477595"/>
                  <a:gd name="connsiteY30" fmla="*/ 0 h 6128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4477595" h="6128401">
                    <a:moveTo>
                      <a:pt x="2238798" y="420786"/>
                    </a:moveTo>
                    <a:cubicBezTo>
                      <a:pt x="1234738" y="420786"/>
                      <a:pt x="420787" y="1234737"/>
                      <a:pt x="420787" y="2238797"/>
                    </a:cubicBezTo>
                    <a:cubicBezTo>
                      <a:pt x="423730" y="2352803"/>
                      <a:pt x="351911" y="3087911"/>
                      <a:pt x="1223247" y="3754007"/>
                    </a:cubicBezTo>
                    <a:cubicBezTo>
                      <a:pt x="1717667" y="4011636"/>
                      <a:pt x="1619902" y="4226675"/>
                      <a:pt x="1627594" y="4311091"/>
                    </a:cubicBezTo>
                    <a:cubicBezTo>
                      <a:pt x="1617757" y="4418123"/>
                      <a:pt x="1705319" y="4534189"/>
                      <a:pt x="1936940" y="4531711"/>
                    </a:cubicBezTo>
                    <a:lnTo>
                      <a:pt x="2539568" y="4531711"/>
                    </a:lnTo>
                    <a:cubicBezTo>
                      <a:pt x="2771189" y="4534189"/>
                      <a:pt x="2870474" y="4418123"/>
                      <a:pt x="2860637" y="4311091"/>
                    </a:cubicBezTo>
                    <a:cubicBezTo>
                      <a:pt x="2867368" y="4237227"/>
                      <a:pt x="2823275" y="4027453"/>
                      <a:pt x="3109338" y="3834987"/>
                    </a:cubicBezTo>
                    <a:lnTo>
                      <a:pt x="3110879" y="3834037"/>
                    </a:lnTo>
                    <a:lnTo>
                      <a:pt x="3181541" y="3791109"/>
                    </a:lnTo>
                    <a:cubicBezTo>
                      <a:pt x="3939122" y="3371438"/>
                      <a:pt x="4058350" y="2583705"/>
                      <a:pt x="4056807" y="2238797"/>
                    </a:cubicBezTo>
                    <a:cubicBezTo>
                      <a:pt x="4056807" y="1234737"/>
                      <a:pt x="3242858" y="420786"/>
                      <a:pt x="2238798" y="420786"/>
                    </a:cubicBezTo>
                    <a:close/>
                    <a:moveTo>
                      <a:pt x="2238797" y="0"/>
                    </a:moveTo>
                    <a:cubicBezTo>
                      <a:pt x="3475250" y="0"/>
                      <a:pt x="4477595" y="1002344"/>
                      <a:pt x="4477595" y="2238797"/>
                    </a:cubicBezTo>
                    <a:cubicBezTo>
                      <a:pt x="4477595" y="3088857"/>
                      <a:pt x="4003830" y="3828265"/>
                      <a:pt x="3305941" y="4207383"/>
                    </a:cubicBezTo>
                    <a:cubicBezTo>
                      <a:pt x="3307381" y="4222369"/>
                      <a:pt x="3228811" y="4212497"/>
                      <a:pt x="3243251" y="4439941"/>
                    </a:cubicBezTo>
                    <a:lnTo>
                      <a:pt x="3243251" y="5318909"/>
                    </a:lnTo>
                    <a:cubicBezTo>
                      <a:pt x="3259726" y="5591157"/>
                      <a:pt x="3093445" y="5886389"/>
                      <a:pt x="2705531" y="5880081"/>
                    </a:cubicBezTo>
                    <a:lnTo>
                      <a:pt x="2650833" y="5880971"/>
                    </a:lnTo>
                    <a:lnTo>
                      <a:pt x="2641784" y="5910123"/>
                    </a:lnTo>
                    <a:cubicBezTo>
                      <a:pt x="2587529" y="6038395"/>
                      <a:pt x="2460513" y="6128401"/>
                      <a:pt x="2312476" y="6128401"/>
                    </a:cubicBezTo>
                    <a:lnTo>
                      <a:pt x="2165118" y="6128401"/>
                    </a:lnTo>
                    <a:cubicBezTo>
                      <a:pt x="2017081" y="6128401"/>
                      <a:pt x="1890065" y="6038395"/>
                      <a:pt x="1835810" y="5910123"/>
                    </a:cubicBezTo>
                    <a:lnTo>
                      <a:pt x="1826975" y="5881661"/>
                    </a:lnTo>
                    <a:lnTo>
                      <a:pt x="1699568" y="5881345"/>
                    </a:lnTo>
                    <a:cubicBezTo>
                      <a:pt x="1373774" y="5889581"/>
                      <a:pt x="1241446" y="5564849"/>
                      <a:pt x="1252464" y="5306553"/>
                    </a:cubicBezTo>
                    <a:lnTo>
                      <a:pt x="1260702" y="4439941"/>
                    </a:lnTo>
                    <a:cubicBezTo>
                      <a:pt x="1260702" y="4367661"/>
                      <a:pt x="1281375" y="4321187"/>
                      <a:pt x="1247395" y="4251681"/>
                    </a:cubicBezTo>
                    <a:lnTo>
                      <a:pt x="1171654" y="4207383"/>
                    </a:lnTo>
                    <a:cubicBezTo>
                      <a:pt x="473764" y="3828265"/>
                      <a:pt x="0" y="3088857"/>
                      <a:pt x="0" y="2238797"/>
                    </a:cubicBezTo>
                    <a:cubicBezTo>
                      <a:pt x="0" y="1002344"/>
                      <a:pt x="1002344" y="0"/>
                      <a:pt x="2238797" y="0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519970">
                  <a:defRPr/>
                </a:pPr>
                <a:r>
                  <a:rPr lang="en-US" sz="1842" kern="0">
                    <a:solidFill>
                      <a:prstClr val="white"/>
                    </a:solidFill>
                    <a:latin typeface="Calibri"/>
                  </a:rPr>
                  <a:t>  </a:t>
                </a:r>
              </a:p>
            </p:txBody>
          </p:sp>
          <p:grpSp>
            <p:nvGrpSpPr>
              <p:cNvPr id="569" name="Group 206"/>
              <p:cNvGrpSpPr/>
              <p:nvPr/>
            </p:nvGrpSpPr>
            <p:grpSpPr>
              <a:xfrm>
                <a:off x="11961036" y="15547980"/>
                <a:ext cx="6135815" cy="3060371"/>
                <a:chOff x="11961036" y="15547980"/>
                <a:chExt cx="6135815" cy="3060371"/>
              </a:xfrm>
              <a:grpFill/>
            </p:grpSpPr>
            <p:sp>
              <p:nvSpPr>
                <p:cNvPr id="570" name="Rounded Rectangle 207"/>
                <p:cNvSpPr/>
                <p:nvPr/>
              </p:nvSpPr>
              <p:spPr>
                <a:xfrm rot="16200000" flipH="1">
                  <a:off x="12119095" y="16790050"/>
                  <a:ext cx="271696" cy="587813"/>
                </a:xfrm>
                <a:prstGeom prst="roundRect">
                  <a:avLst>
                    <a:gd name="adj" fmla="val 46875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519970">
                    <a:defRPr/>
                  </a:pPr>
                  <a:endParaRPr lang="en-US" sz="1842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571" name="Rounded Rectangle 208"/>
                <p:cNvSpPr/>
                <p:nvPr/>
              </p:nvSpPr>
              <p:spPr>
                <a:xfrm rot="17791932" flipH="1">
                  <a:off x="12487809" y="15407565"/>
                  <a:ext cx="271696" cy="587813"/>
                </a:xfrm>
                <a:prstGeom prst="roundRect">
                  <a:avLst>
                    <a:gd name="adj" fmla="val 46875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519970">
                    <a:defRPr/>
                  </a:pPr>
                  <a:endParaRPr lang="en-US" sz="1842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572" name="Rounded Rectangle 209"/>
                <p:cNvSpPr/>
                <p:nvPr/>
              </p:nvSpPr>
              <p:spPr>
                <a:xfrm rot="3328556" flipH="1">
                  <a:off x="17277054" y="15389921"/>
                  <a:ext cx="271696" cy="587813"/>
                </a:xfrm>
                <a:prstGeom prst="roundRect">
                  <a:avLst>
                    <a:gd name="adj" fmla="val 46875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519970">
                    <a:defRPr/>
                  </a:pPr>
                  <a:endParaRPr lang="en-US" sz="1842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573" name="Rounded Rectangle 210"/>
                <p:cNvSpPr/>
                <p:nvPr/>
              </p:nvSpPr>
              <p:spPr>
                <a:xfrm rot="5578962" flipH="1">
                  <a:off x="17667097" y="16790050"/>
                  <a:ext cx="271696" cy="587813"/>
                </a:xfrm>
                <a:prstGeom prst="roundRect">
                  <a:avLst>
                    <a:gd name="adj" fmla="val 46875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519970">
                    <a:defRPr/>
                  </a:pPr>
                  <a:endParaRPr lang="en-US" sz="1842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574" name="Rounded Rectangle 211"/>
                <p:cNvSpPr/>
                <p:nvPr/>
              </p:nvSpPr>
              <p:spPr>
                <a:xfrm rot="7381646" flipH="1">
                  <a:off x="17287055" y="18178596"/>
                  <a:ext cx="271696" cy="587813"/>
                </a:xfrm>
                <a:prstGeom prst="roundRect">
                  <a:avLst>
                    <a:gd name="adj" fmla="val 46875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519970">
                    <a:defRPr/>
                  </a:pPr>
                  <a:endParaRPr lang="en-US" sz="1842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575" name="Rounded Rectangle 212"/>
                <p:cNvSpPr/>
                <p:nvPr/>
              </p:nvSpPr>
              <p:spPr>
                <a:xfrm rot="14497153" flipH="1">
                  <a:off x="12487809" y="18178594"/>
                  <a:ext cx="271696" cy="587813"/>
                </a:xfrm>
                <a:prstGeom prst="roundRect">
                  <a:avLst>
                    <a:gd name="adj" fmla="val 46875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519970">
                    <a:defRPr/>
                  </a:pPr>
                  <a:endParaRPr lang="en-US" sz="1842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</p:grpSp>
        </p:grpSp>
      </p:grp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7CCF248-FA51-4868-B03B-20A875196B2F}"/>
              </a:ext>
            </a:extLst>
          </p:cNvPr>
          <p:cNvCxnSpPr>
            <a:cxnSpLocks/>
          </p:cNvCxnSpPr>
          <p:nvPr/>
        </p:nvCxnSpPr>
        <p:spPr>
          <a:xfrm>
            <a:off x="8663908" y="4501192"/>
            <a:ext cx="0" cy="1732391"/>
          </a:xfrm>
          <a:prstGeom prst="line">
            <a:avLst/>
          </a:prstGeom>
          <a:ln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4" name="Rectangle 373">
            <a:extLst>
              <a:ext uri="{FF2B5EF4-FFF2-40B4-BE49-F238E27FC236}">
                <a16:creationId xmlns:a16="http://schemas.microsoft.com/office/drawing/2014/main" id="{B6BB4AB2-435E-4F51-B8E8-501296A583F0}"/>
              </a:ext>
            </a:extLst>
          </p:cNvPr>
          <p:cNvSpPr/>
          <p:nvPr/>
        </p:nvSpPr>
        <p:spPr>
          <a:xfrm>
            <a:off x="8437882" y="6368192"/>
            <a:ext cx="463588" cy="2120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27"/>
            <a:r>
              <a:rPr lang="en-US" sz="778" i="1">
                <a:solidFill>
                  <a:prstClr val="white">
                    <a:lumMod val="50000"/>
                  </a:prstClr>
                </a:solidFill>
                <a:latin typeface="Arial"/>
                <a:cs typeface="Arial" panose="020B0604020202020204" pitchFamily="34" charset="0"/>
              </a:rPr>
              <a:t>Today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9A5CE73-02A9-434F-A10E-E693C9DCEE33}"/>
              </a:ext>
            </a:extLst>
          </p:cNvPr>
          <p:cNvGrpSpPr/>
          <p:nvPr/>
        </p:nvGrpSpPr>
        <p:grpSpPr>
          <a:xfrm>
            <a:off x="203515" y="1144822"/>
            <a:ext cx="3182519" cy="709656"/>
            <a:chOff x="139137" y="1030340"/>
            <a:chExt cx="2864267" cy="638690"/>
          </a:xfrm>
        </p:grpSpPr>
        <p:sp>
          <p:nvSpPr>
            <p:cNvPr id="23" name="Round Same Side Corner Rectangle 22"/>
            <p:cNvSpPr/>
            <p:nvPr/>
          </p:nvSpPr>
          <p:spPr>
            <a:xfrm>
              <a:off x="139137" y="1030340"/>
              <a:ext cx="2864267" cy="298244"/>
            </a:xfrm>
            <a:prstGeom prst="round2SameRect">
              <a:avLst/>
            </a:prstGeom>
            <a:gradFill flip="none" rotWithShape="1">
              <a:gsLst>
                <a:gs pos="0">
                  <a:schemeClr val="tx2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8900000" scaled="1"/>
              <a:tileRect/>
            </a:gradFill>
          </p:spPr>
          <p:txBody>
            <a:bodyPr wrap="square" lIns="121920" tIns="0" bIns="60960" anchor="ctr">
              <a:noAutofit/>
            </a:bodyPr>
            <a:lstStyle/>
            <a:p>
              <a:pPr algn="ctr" defTabSz="1058286"/>
              <a:r>
                <a:rPr lang="en-US" sz="1400" b="1">
                  <a:solidFill>
                    <a:prstClr val="white"/>
                  </a:solidFill>
                  <a:latin typeface="Arial"/>
                  <a:cs typeface="DIN Next LT Arabic"/>
                </a:rPr>
                <a:t>Project Manager</a:t>
              </a:r>
            </a:p>
          </p:txBody>
        </p:sp>
        <p:sp>
          <p:nvSpPr>
            <p:cNvPr id="381" name="Rectangle 380">
              <a:extLst>
                <a:ext uri="{FF2B5EF4-FFF2-40B4-BE49-F238E27FC236}">
                  <a16:creationId xmlns:a16="http://schemas.microsoft.com/office/drawing/2014/main" id="{7D779BF8-3B5C-4B82-98FC-7644DB10E2C1}"/>
                </a:ext>
              </a:extLst>
            </p:cNvPr>
            <p:cNvSpPr/>
            <p:nvPr/>
          </p:nvSpPr>
          <p:spPr>
            <a:xfrm>
              <a:off x="139137" y="1306150"/>
              <a:ext cx="2864267" cy="3628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algn="ctr"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92" name="Rectangle 391">
              <a:extLst>
                <a:ext uri="{FF2B5EF4-FFF2-40B4-BE49-F238E27FC236}">
                  <a16:creationId xmlns:a16="http://schemas.microsoft.com/office/drawing/2014/main" id="{80FC6DC5-4FE4-4476-ABEF-A97BB110834C}"/>
                </a:ext>
              </a:extLst>
            </p:cNvPr>
            <p:cNvSpPr/>
            <p:nvPr/>
          </p:nvSpPr>
          <p:spPr>
            <a:xfrm>
              <a:off x="169029" y="1367714"/>
              <a:ext cx="2712040" cy="25235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pt-BR" sz="1222" b="1" dirty="0"/>
                <a:t>Thomas Young</a:t>
              </a:r>
              <a:endParaRPr lang="en-US" sz="1222" b="1" dirty="0"/>
            </a:p>
          </p:txBody>
        </p:sp>
      </p:grpSp>
      <p:grpSp>
        <p:nvGrpSpPr>
          <p:cNvPr id="393" name="Group 392">
            <a:extLst>
              <a:ext uri="{FF2B5EF4-FFF2-40B4-BE49-F238E27FC236}">
                <a16:creationId xmlns:a16="http://schemas.microsoft.com/office/drawing/2014/main" id="{B8D3427F-F685-4F6F-AAFC-5B0EAD38E18B}"/>
              </a:ext>
            </a:extLst>
          </p:cNvPr>
          <p:cNvGrpSpPr/>
          <p:nvPr/>
        </p:nvGrpSpPr>
        <p:grpSpPr>
          <a:xfrm>
            <a:off x="3945521" y="1144822"/>
            <a:ext cx="3182519" cy="709656"/>
            <a:chOff x="139137" y="1030340"/>
            <a:chExt cx="2864267" cy="638690"/>
          </a:xfrm>
        </p:grpSpPr>
        <p:sp>
          <p:nvSpPr>
            <p:cNvPr id="394" name="Round Same Side Corner Rectangle 22">
              <a:extLst>
                <a:ext uri="{FF2B5EF4-FFF2-40B4-BE49-F238E27FC236}">
                  <a16:creationId xmlns:a16="http://schemas.microsoft.com/office/drawing/2014/main" id="{54AA7BCD-3F0B-48E2-A6C2-28238D50BAF6}"/>
                </a:ext>
              </a:extLst>
            </p:cNvPr>
            <p:cNvSpPr/>
            <p:nvPr/>
          </p:nvSpPr>
          <p:spPr>
            <a:xfrm>
              <a:off x="139137" y="1030340"/>
              <a:ext cx="2864267" cy="298244"/>
            </a:xfrm>
            <a:prstGeom prst="round2SameRect">
              <a:avLst/>
            </a:prstGeom>
            <a:gradFill flip="none" rotWithShape="1">
              <a:gsLst>
                <a:gs pos="0">
                  <a:schemeClr val="tx2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8900000" scaled="1"/>
              <a:tileRect/>
            </a:gradFill>
          </p:spPr>
          <p:txBody>
            <a:bodyPr wrap="square" lIns="121920" tIns="0" bIns="60960" anchor="ctr">
              <a:noAutofit/>
            </a:bodyPr>
            <a:lstStyle/>
            <a:p>
              <a:pPr algn="ctr" defTabSz="1058286"/>
              <a:r>
                <a:rPr lang="en-US" sz="1400" b="1">
                  <a:solidFill>
                    <a:prstClr val="white"/>
                  </a:solidFill>
                  <a:latin typeface="Arial"/>
                  <a:cs typeface="DIN Next LT Arabic"/>
                </a:rPr>
                <a:t>Sponsor</a:t>
              </a:r>
            </a:p>
          </p:txBody>
        </p:sp>
        <p:sp>
          <p:nvSpPr>
            <p:cNvPr id="395" name="Rectangle 394">
              <a:extLst>
                <a:ext uri="{FF2B5EF4-FFF2-40B4-BE49-F238E27FC236}">
                  <a16:creationId xmlns:a16="http://schemas.microsoft.com/office/drawing/2014/main" id="{4060BCD0-1A60-4A53-8D45-148EB7FFF52D}"/>
                </a:ext>
              </a:extLst>
            </p:cNvPr>
            <p:cNvSpPr/>
            <p:nvPr/>
          </p:nvSpPr>
          <p:spPr>
            <a:xfrm>
              <a:off x="139137" y="1306150"/>
              <a:ext cx="2864267" cy="3628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algn="ctr"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96" name="Rectangle 395">
              <a:extLst>
                <a:ext uri="{FF2B5EF4-FFF2-40B4-BE49-F238E27FC236}">
                  <a16:creationId xmlns:a16="http://schemas.microsoft.com/office/drawing/2014/main" id="{E83DC2C4-A45D-47D3-B1E0-3C1FF243D9B8}"/>
                </a:ext>
              </a:extLst>
            </p:cNvPr>
            <p:cNvSpPr/>
            <p:nvPr/>
          </p:nvSpPr>
          <p:spPr>
            <a:xfrm>
              <a:off x="169029" y="1367714"/>
              <a:ext cx="2712040" cy="252358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en-US" sz="1200" b="1"/>
                <a:t>Maz Hussain</a:t>
              </a:r>
              <a:endParaRPr lang="en-US"/>
            </a:p>
          </p:txBody>
        </p:sp>
      </p:grpSp>
      <p:grpSp>
        <p:nvGrpSpPr>
          <p:cNvPr id="397" name="Group 396">
            <a:extLst>
              <a:ext uri="{FF2B5EF4-FFF2-40B4-BE49-F238E27FC236}">
                <a16:creationId xmlns:a16="http://schemas.microsoft.com/office/drawing/2014/main" id="{C733F652-2C64-42E0-9D60-E5666F31750A}"/>
              </a:ext>
            </a:extLst>
          </p:cNvPr>
          <p:cNvGrpSpPr/>
          <p:nvPr/>
        </p:nvGrpSpPr>
        <p:grpSpPr>
          <a:xfrm>
            <a:off x="9968164" y="2012376"/>
            <a:ext cx="1858458" cy="215793"/>
            <a:chOff x="2611840" y="2749253"/>
            <a:chExt cx="5845536" cy="225865"/>
          </a:xfrm>
        </p:grpSpPr>
        <p:sp>
          <p:nvSpPr>
            <p:cNvPr id="398" name="Rounded Rectangle 385">
              <a:extLst>
                <a:ext uri="{FF2B5EF4-FFF2-40B4-BE49-F238E27FC236}">
                  <a16:creationId xmlns:a16="http://schemas.microsoft.com/office/drawing/2014/main" id="{C441C946-799C-4E56-AC65-8B9DBF1F1832}"/>
                </a:ext>
              </a:extLst>
            </p:cNvPr>
            <p:cNvSpPr/>
            <p:nvPr/>
          </p:nvSpPr>
          <p:spPr>
            <a:xfrm>
              <a:off x="2611843" y="2749253"/>
              <a:ext cx="5845533" cy="225865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 w="10172">
              <a:noFill/>
            </a:ln>
          </p:spPr>
          <p:txBody>
            <a:bodyPr wrap="square" lIns="121920" tIns="121920" rIns="121920" bIns="121920" rtlCol="0" anchor="ctr"/>
            <a:lstStyle/>
            <a:p>
              <a:pPr defTabSz="1219176">
                <a:lnSpc>
                  <a:spcPts val="1467"/>
                </a:lnSpc>
              </a:pPr>
              <a:endParaRPr lang="en-US" sz="1333">
                <a:solidFill>
                  <a:srgbClr val="000000"/>
                </a:solidFill>
                <a:latin typeface="Arial"/>
                <a:ea typeface="Univers for KPMG Light" charset="0"/>
                <a:cs typeface="Univers for KPMG Light" charset="0"/>
              </a:endParaRPr>
            </a:p>
          </p:txBody>
        </p:sp>
        <p:sp>
          <p:nvSpPr>
            <p:cNvPr id="399" name="Rounded Rectangle 386">
              <a:extLst>
                <a:ext uri="{FF2B5EF4-FFF2-40B4-BE49-F238E27FC236}">
                  <a16:creationId xmlns:a16="http://schemas.microsoft.com/office/drawing/2014/main" id="{BCEC1C92-FB1E-4F9B-A257-B7DC4A28EC13}"/>
                </a:ext>
              </a:extLst>
            </p:cNvPr>
            <p:cNvSpPr/>
            <p:nvPr/>
          </p:nvSpPr>
          <p:spPr>
            <a:xfrm>
              <a:off x="2611840" y="2768725"/>
              <a:ext cx="5067120" cy="206393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tx2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8900000" scaled="1"/>
              <a:tileRect/>
            </a:gradFill>
          </p:spPr>
          <p:txBody>
            <a:bodyPr wrap="square" lIns="121920" tIns="0" bIns="60960" anchor="ctr">
              <a:noAutofit/>
            </a:bodyPr>
            <a:lstStyle/>
            <a:p>
              <a:pPr algn="ctr" defTabSz="1058286"/>
              <a:endParaRPr lang="en-US" sz="1400" b="1">
                <a:solidFill>
                  <a:prstClr val="white"/>
                </a:solidFill>
                <a:latin typeface="Arial"/>
                <a:cs typeface="DIN Next LT Arabic"/>
              </a:endParaRPr>
            </a:p>
          </p:txBody>
        </p:sp>
      </p:grp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7D55C1C-3F64-4129-B4C8-A12260C96ED9}"/>
              </a:ext>
            </a:extLst>
          </p:cNvPr>
          <p:cNvCxnSpPr/>
          <p:nvPr/>
        </p:nvCxnSpPr>
        <p:spPr>
          <a:xfrm>
            <a:off x="11779701" y="1956377"/>
            <a:ext cx="0" cy="316907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0" name="Rectangle 399">
            <a:extLst>
              <a:ext uri="{FF2B5EF4-FFF2-40B4-BE49-F238E27FC236}">
                <a16:creationId xmlns:a16="http://schemas.microsoft.com/office/drawing/2014/main" id="{223DE6C2-F6A2-4F77-9F17-16658C151A76}"/>
              </a:ext>
            </a:extLst>
          </p:cNvPr>
          <p:cNvSpPr/>
          <p:nvPr/>
        </p:nvSpPr>
        <p:spPr>
          <a:xfrm>
            <a:off x="11410460" y="1721242"/>
            <a:ext cx="753731" cy="2120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27"/>
            <a:r>
              <a:rPr lang="en-US" sz="778" i="1">
                <a:solidFill>
                  <a:prstClr val="white">
                    <a:lumMod val="50000"/>
                  </a:prstClr>
                </a:solidFill>
                <a:latin typeface="Arial"/>
                <a:cs typeface="Arial" panose="020B0604020202020204" pitchFamily="34" charset="0"/>
              </a:rPr>
              <a:t>Planned: 0%</a:t>
            </a:r>
          </a:p>
        </p:txBody>
      </p:sp>
      <p:sp>
        <p:nvSpPr>
          <p:cNvPr id="404" name="Rectangle 403">
            <a:extLst>
              <a:ext uri="{FF2B5EF4-FFF2-40B4-BE49-F238E27FC236}">
                <a16:creationId xmlns:a16="http://schemas.microsoft.com/office/drawing/2014/main" id="{2ADF1972-6919-42F3-88A4-E64A07BFF412}"/>
              </a:ext>
            </a:extLst>
          </p:cNvPr>
          <p:cNvSpPr/>
          <p:nvPr/>
        </p:nvSpPr>
        <p:spPr>
          <a:xfrm>
            <a:off x="10697053" y="2001938"/>
            <a:ext cx="322524" cy="207749"/>
          </a:xfrm>
          <a:prstGeom prst="rect">
            <a:avLst/>
          </a:prstGeom>
        </p:spPr>
        <p:txBody>
          <a:bodyPr wrap="none" lIns="91440" tIns="45720" rIns="91440" bIns="45720" anchor="t">
            <a:spAutoFit/>
          </a:bodyPr>
          <a:lstStyle/>
          <a:p>
            <a:pPr algn="ctr" defTabSz="1219127"/>
            <a:r>
              <a:rPr lang="en-US" sz="750" b="1" i="1">
                <a:solidFill>
                  <a:schemeClr val="bg1"/>
                </a:solidFill>
                <a:latin typeface="Arial"/>
                <a:cs typeface="Arial"/>
              </a:rPr>
              <a:t>0%</a:t>
            </a:r>
            <a:endParaRPr lang="en-US" sz="778" b="1" i="1">
              <a:solidFill>
                <a:schemeClr val="bg1"/>
              </a:solidFill>
              <a:latin typeface="Arial"/>
              <a:cs typeface="Arial" panose="020B0604020202020204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75E5899-6A04-49E8-9A1E-069A4424B858}"/>
              </a:ext>
            </a:extLst>
          </p:cNvPr>
          <p:cNvGrpSpPr/>
          <p:nvPr/>
        </p:nvGrpSpPr>
        <p:grpSpPr>
          <a:xfrm>
            <a:off x="107603" y="2034817"/>
            <a:ext cx="7014957" cy="2070160"/>
            <a:chOff x="638591" y="1470488"/>
            <a:chExt cx="6313461" cy="1863144"/>
          </a:xfrm>
        </p:grpSpPr>
        <p:graphicFrame>
          <p:nvGraphicFramePr>
            <p:cNvPr id="407" name="Chart 406">
              <a:extLst>
                <a:ext uri="{FF2B5EF4-FFF2-40B4-BE49-F238E27FC236}">
                  <a16:creationId xmlns:a16="http://schemas.microsoft.com/office/drawing/2014/main" id="{2DC1ED9C-6857-4C83-B158-AA08BB5CCA5F}"/>
                </a:ext>
              </a:extLst>
            </p:cNvPr>
            <p:cNvGraphicFramePr/>
            <p:nvPr/>
          </p:nvGraphicFramePr>
          <p:xfrm>
            <a:off x="4160327" y="1470488"/>
            <a:ext cx="2791725" cy="178171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cxnSp>
          <p:nvCxnSpPr>
            <p:cNvPr id="411" name="Straight Connector 410">
              <a:extLst>
                <a:ext uri="{FF2B5EF4-FFF2-40B4-BE49-F238E27FC236}">
                  <a16:creationId xmlns:a16="http://schemas.microsoft.com/office/drawing/2014/main" id="{89A117CA-CFF6-412E-AE1E-90E1352BAE6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527496" y="1478297"/>
              <a:ext cx="2" cy="1828381"/>
            </a:xfrm>
            <a:prstGeom prst="line">
              <a:avLst/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aphicFrame>
          <p:nvGraphicFramePr>
            <p:cNvPr id="414" name="Chart 413">
              <a:extLst>
                <a:ext uri="{FF2B5EF4-FFF2-40B4-BE49-F238E27FC236}">
                  <a16:creationId xmlns:a16="http://schemas.microsoft.com/office/drawing/2014/main" id="{F77E409F-B826-410B-9FD0-844EEE807211}"/>
                </a:ext>
              </a:extLst>
            </p:cNvPr>
            <p:cNvGraphicFramePr/>
            <p:nvPr/>
          </p:nvGraphicFramePr>
          <p:xfrm>
            <a:off x="638591" y="1477877"/>
            <a:ext cx="3789628" cy="185575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247379485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5D2DA8DA-B9DE-4CA4-95BF-242A0448BA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3346040"/>
              </p:ext>
            </p:extLst>
          </p:nvPr>
        </p:nvGraphicFramePr>
        <p:xfrm>
          <a:off x="202686" y="1076306"/>
          <a:ext cx="10027974" cy="51597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034337">
                  <a:extLst>
                    <a:ext uri="{9D8B030D-6E8A-4147-A177-3AD203B41FA5}">
                      <a16:colId xmlns:a16="http://schemas.microsoft.com/office/drawing/2014/main" val="4195705547"/>
                    </a:ext>
                  </a:extLst>
                </a:gridCol>
                <a:gridCol w="1611077">
                  <a:extLst>
                    <a:ext uri="{9D8B030D-6E8A-4147-A177-3AD203B41FA5}">
                      <a16:colId xmlns:a16="http://schemas.microsoft.com/office/drawing/2014/main" val="4263310330"/>
                    </a:ext>
                  </a:extLst>
                </a:gridCol>
                <a:gridCol w="638256">
                  <a:extLst>
                    <a:ext uri="{9D8B030D-6E8A-4147-A177-3AD203B41FA5}">
                      <a16:colId xmlns:a16="http://schemas.microsoft.com/office/drawing/2014/main" val="4006969790"/>
                    </a:ext>
                  </a:extLst>
                </a:gridCol>
                <a:gridCol w="638256">
                  <a:extLst>
                    <a:ext uri="{9D8B030D-6E8A-4147-A177-3AD203B41FA5}">
                      <a16:colId xmlns:a16="http://schemas.microsoft.com/office/drawing/2014/main" val="3503599438"/>
                    </a:ext>
                  </a:extLst>
                </a:gridCol>
                <a:gridCol w="638256">
                  <a:extLst>
                    <a:ext uri="{9D8B030D-6E8A-4147-A177-3AD203B41FA5}">
                      <a16:colId xmlns:a16="http://schemas.microsoft.com/office/drawing/2014/main" val="377723402"/>
                    </a:ext>
                  </a:extLst>
                </a:gridCol>
                <a:gridCol w="638256">
                  <a:extLst>
                    <a:ext uri="{9D8B030D-6E8A-4147-A177-3AD203B41FA5}">
                      <a16:colId xmlns:a16="http://schemas.microsoft.com/office/drawing/2014/main" val="3138408535"/>
                    </a:ext>
                  </a:extLst>
                </a:gridCol>
                <a:gridCol w="638256">
                  <a:extLst>
                    <a:ext uri="{9D8B030D-6E8A-4147-A177-3AD203B41FA5}">
                      <a16:colId xmlns:a16="http://schemas.microsoft.com/office/drawing/2014/main" val="1175418276"/>
                    </a:ext>
                  </a:extLst>
                </a:gridCol>
                <a:gridCol w="638256">
                  <a:extLst>
                    <a:ext uri="{9D8B030D-6E8A-4147-A177-3AD203B41FA5}">
                      <a16:colId xmlns:a16="http://schemas.microsoft.com/office/drawing/2014/main" val="22103269"/>
                    </a:ext>
                  </a:extLst>
                </a:gridCol>
                <a:gridCol w="638256">
                  <a:extLst>
                    <a:ext uri="{9D8B030D-6E8A-4147-A177-3AD203B41FA5}">
                      <a16:colId xmlns:a16="http://schemas.microsoft.com/office/drawing/2014/main" val="2739478481"/>
                    </a:ext>
                  </a:extLst>
                </a:gridCol>
                <a:gridCol w="638256">
                  <a:extLst>
                    <a:ext uri="{9D8B030D-6E8A-4147-A177-3AD203B41FA5}">
                      <a16:colId xmlns:a16="http://schemas.microsoft.com/office/drawing/2014/main" val="3624827321"/>
                    </a:ext>
                  </a:extLst>
                </a:gridCol>
                <a:gridCol w="638256">
                  <a:extLst>
                    <a:ext uri="{9D8B030D-6E8A-4147-A177-3AD203B41FA5}">
                      <a16:colId xmlns:a16="http://schemas.microsoft.com/office/drawing/2014/main" val="2751442385"/>
                    </a:ext>
                  </a:extLst>
                </a:gridCol>
                <a:gridCol w="638256">
                  <a:extLst>
                    <a:ext uri="{9D8B030D-6E8A-4147-A177-3AD203B41FA5}">
                      <a16:colId xmlns:a16="http://schemas.microsoft.com/office/drawing/2014/main" val="3014226792"/>
                    </a:ext>
                  </a:extLst>
                </a:gridCol>
              </a:tblGrid>
              <a:tr h="341572">
                <a:tc>
                  <a:txBody>
                    <a:bodyPr/>
                    <a:lstStyle/>
                    <a:p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Resource </a:t>
                      </a:r>
                    </a:p>
                  </a:txBody>
                  <a:tcPr anchor="ctr"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%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tx1"/>
                          </a:solidFill>
                        </a:rPr>
                        <a:t>Sunda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tx1"/>
                          </a:solidFill>
                        </a:rPr>
                        <a:t>Monda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tx1"/>
                          </a:solidFill>
                        </a:rPr>
                        <a:t>Tuesda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tx1"/>
                          </a:solidFill>
                        </a:rPr>
                        <a:t>Wednesda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tx1"/>
                          </a:solidFill>
                        </a:rPr>
                        <a:t>Thursda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3328942"/>
                  </a:ext>
                </a:extLst>
              </a:tr>
              <a:tr h="481816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Haque, Shahbaz</a:t>
                      </a:r>
                    </a:p>
                  </a:txBody>
                  <a:tcPr marR="6350" marT="6350" marB="0" anchor="ctr"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800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5014773"/>
                  </a:ext>
                </a:extLst>
              </a:tr>
              <a:tr h="481816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Young, Thomas</a:t>
                      </a:r>
                      <a:endParaRPr lang="en-US" sz="9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6350" marT="6350" marB="0" anchor="ctr"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1244686"/>
                  </a:ext>
                </a:extLst>
              </a:tr>
              <a:tr h="481816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Hnaity, Omar</a:t>
                      </a:r>
                      <a:endParaRPr lang="en-US" sz="9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6350" marT="6350" marB="0" anchor="ctr"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</a:p>
                    <a:p>
                      <a:pPr marL="0" algn="ctr" defTabSz="914400" rtl="0" eaLnBrk="1" latinLnBrk="0" hangingPunct="1"/>
                      <a:endParaRPr lang="en-US" sz="8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4916618"/>
                  </a:ext>
                </a:extLst>
              </a:tr>
              <a:tr h="481816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900" b="1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ves, Miguel </a:t>
                      </a:r>
                    </a:p>
                  </a:txBody>
                  <a:tcPr marR="6350" marT="6350" marB="0" anchor="ctr"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</a:p>
                    <a:p>
                      <a:pPr marL="0" algn="ctr" defTabSz="914400" rtl="0" eaLnBrk="1" latinLnBrk="0" hangingPunct="1"/>
                      <a:endParaRPr lang="en-US" sz="8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3733541"/>
                  </a:ext>
                </a:extLst>
              </a:tr>
              <a:tr h="481816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900" b="1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uennab, Saad </a:t>
                      </a:r>
                    </a:p>
                  </a:txBody>
                  <a:tcPr marR="6350" marT="6350" marB="0" anchor="ctr"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</a:p>
                    <a:p>
                      <a:pPr marL="0" algn="ctr" defTabSz="914400" rtl="0" eaLnBrk="1" latinLnBrk="0" hangingPunct="1"/>
                      <a:endParaRPr lang="en-US" sz="8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6205562"/>
                  </a:ext>
                </a:extLst>
              </a:tr>
              <a:tr h="481816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900" b="1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omelha, Faris </a:t>
                      </a:r>
                    </a:p>
                  </a:txBody>
                  <a:tcPr marR="6350" marT="6350" marB="0" anchor="ctr"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</a:p>
                    <a:p>
                      <a:pPr marL="0" algn="ctr" defTabSz="914400" rtl="0" eaLnBrk="1" latinLnBrk="0" hangingPunct="1"/>
                      <a:endParaRPr lang="en-US" sz="8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5253799"/>
                  </a:ext>
                </a:extLst>
              </a:tr>
              <a:tr h="481816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900" b="1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amasi, Wafa </a:t>
                      </a:r>
                    </a:p>
                  </a:txBody>
                  <a:tcPr marR="6350" marT="6350" marB="0" anchor="ctr"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800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3823325"/>
                  </a:ext>
                </a:extLst>
              </a:tr>
              <a:tr h="481816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900" b="1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mota, Asimina </a:t>
                      </a:r>
                    </a:p>
                  </a:txBody>
                  <a:tcPr marR="6350" marT="6350" marB="0" anchor="ctr"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800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0417292"/>
                  </a:ext>
                </a:extLst>
              </a:tr>
              <a:tr h="481816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900" b="1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hehab, Mohammad </a:t>
                      </a:r>
                    </a:p>
                  </a:txBody>
                  <a:tcPr marR="6350" marT="6350" marB="0" anchor="ctr"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800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381060"/>
                  </a:ext>
                </a:extLst>
              </a:tr>
              <a:tr h="481816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900" b="1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…</a:t>
                      </a:r>
                    </a:p>
                  </a:txBody>
                  <a:tcPr marR="6350" marT="6350" marB="0" anchor="ctr"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8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0623188"/>
                  </a:ext>
                </a:extLst>
              </a:tr>
            </a:tbl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E2A5CB8D-9C30-499F-9612-0B3072D7EA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686" y="242421"/>
            <a:ext cx="10185600" cy="518400"/>
          </a:xfrm>
        </p:spPr>
        <p:txBody>
          <a:bodyPr/>
          <a:lstStyle/>
          <a:p>
            <a:r>
              <a:rPr lang="en-AU"/>
              <a:t>Next Week Resource Planning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4F4841F4-23A3-459C-B1C9-75BCDEDB2405}"/>
              </a:ext>
            </a:extLst>
          </p:cNvPr>
          <p:cNvSpPr/>
          <p:nvPr/>
        </p:nvSpPr>
        <p:spPr>
          <a:xfrm>
            <a:off x="8456879" y="128810"/>
            <a:ext cx="2034455" cy="5364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52FD3DC-4262-4C1C-AF59-EB7A066732E7}"/>
              </a:ext>
            </a:extLst>
          </p:cNvPr>
          <p:cNvSpPr/>
          <p:nvPr/>
        </p:nvSpPr>
        <p:spPr>
          <a:xfrm>
            <a:off x="10427647" y="1964353"/>
            <a:ext cx="603710" cy="21544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5A3E318-16FD-4296-B462-C139FC3C3F36}"/>
              </a:ext>
            </a:extLst>
          </p:cNvPr>
          <p:cNvSpPr/>
          <p:nvPr/>
        </p:nvSpPr>
        <p:spPr>
          <a:xfrm>
            <a:off x="10427647" y="2232227"/>
            <a:ext cx="603710" cy="215445"/>
          </a:xfrm>
          <a:prstGeom prst="rect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3EEC65C-BDA1-4769-8362-12EFA1A8C00B}"/>
              </a:ext>
            </a:extLst>
          </p:cNvPr>
          <p:cNvSpPr/>
          <p:nvPr/>
        </p:nvSpPr>
        <p:spPr>
          <a:xfrm>
            <a:off x="10427647" y="2540863"/>
            <a:ext cx="603710" cy="215445"/>
          </a:xfrm>
          <a:prstGeom prst="rect">
            <a:avLst/>
          </a:prstGeom>
          <a:solidFill>
            <a:srgbClr val="0091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50A7776-5550-442A-A2ED-C818FEDBCBA6}"/>
              </a:ext>
            </a:extLst>
          </p:cNvPr>
          <p:cNvSpPr txBox="1"/>
          <p:nvPr/>
        </p:nvSpPr>
        <p:spPr>
          <a:xfrm>
            <a:off x="161197" y="785132"/>
            <a:ext cx="2436459" cy="253827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000" b="1">
                <a:solidFill>
                  <a:schemeClr val="tx2"/>
                </a:solidFill>
              </a:rPr>
              <a:t>Overall Planned Utilization: 100%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E9CE0D9-A239-4E46-87EF-1D2F180D0DCA}"/>
              </a:ext>
            </a:extLst>
          </p:cNvPr>
          <p:cNvSpPr txBox="1"/>
          <p:nvPr/>
        </p:nvSpPr>
        <p:spPr>
          <a:xfrm>
            <a:off x="11104401" y="2223392"/>
            <a:ext cx="1137598" cy="253827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800">
                <a:solidFill>
                  <a:schemeClr val="tx2"/>
                </a:solidFill>
              </a:rPr>
              <a:t>Project Bet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DA8CF3D-2588-4FB0-B6E6-200DA9183C28}"/>
              </a:ext>
            </a:extLst>
          </p:cNvPr>
          <p:cNvSpPr txBox="1"/>
          <p:nvPr/>
        </p:nvSpPr>
        <p:spPr>
          <a:xfrm>
            <a:off x="11104401" y="3717936"/>
            <a:ext cx="1442414" cy="253827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800">
                <a:solidFill>
                  <a:schemeClr val="tx2"/>
                </a:solidFill>
              </a:rPr>
              <a:t>Business Developmen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FE68930-1581-4B8B-A088-DFB4E98158CE}"/>
              </a:ext>
            </a:extLst>
          </p:cNvPr>
          <p:cNvSpPr/>
          <p:nvPr/>
        </p:nvSpPr>
        <p:spPr>
          <a:xfrm>
            <a:off x="10427647" y="2867565"/>
            <a:ext cx="603710" cy="215445"/>
          </a:xfrm>
          <a:prstGeom prst="rect">
            <a:avLst/>
          </a:prstGeom>
          <a:solidFill>
            <a:srgbClr val="43B0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AF34477-9507-4D81-B051-1AB6B560B15C}"/>
              </a:ext>
            </a:extLst>
          </p:cNvPr>
          <p:cNvSpPr/>
          <p:nvPr/>
        </p:nvSpPr>
        <p:spPr>
          <a:xfrm>
            <a:off x="10427647" y="3158877"/>
            <a:ext cx="603710" cy="215445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BAEA8F7-1B31-4274-BF3C-2D0540A7FB6F}"/>
              </a:ext>
            </a:extLst>
          </p:cNvPr>
          <p:cNvSpPr/>
          <p:nvPr/>
        </p:nvSpPr>
        <p:spPr>
          <a:xfrm>
            <a:off x="10427647" y="3445966"/>
            <a:ext cx="603710" cy="21544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EA91788-A0A0-4827-8837-B0ABD980A03B}"/>
              </a:ext>
            </a:extLst>
          </p:cNvPr>
          <p:cNvSpPr txBox="1"/>
          <p:nvPr/>
        </p:nvSpPr>
        <p:spPr>
          <a:xfrm>
            <a:off x="11104401" y="2808118"/>
            <a:ext cx="1137598" cy="253827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800">
                <a:solidFill>
                  <a:schemeClr val="tx2"/>
                </a:solidFill>
              </a:rPr>
              <a:t>Project X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8DF5A82-F56A-47A5-A976-D18023745D03}"/>
              </a:ext>
            </a:extLst>
          </p:cNvPr>
          <p:cNvSpPr txBox="1"/>
          <p:nvPr/>
        </p:nvSpPr>
        <p:spPr>
          <a:xfrm>
            <a:off x="11104401" y="3110037"/>
            <a:ext cx="1137598" cy="253827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800">
                <a:solidFill>
                  <a:schemeClr val="tx2"/>
                </a:solidFill>
              </a:rPr>
              <a:t>Project 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4C664B9-64FA-47FB-AF9B-DA416260DDFB}"/>
              </a:ext>
            </a:extLst>
          </p:cNvPr>
          <p:cNvSpPr txBox="1"/>
          <p:nvPr/>
        </p:nvSpPr>
        <p:spPr>
          <a:xfrm>
            <a:off x="11104401" y="2515755"/>
            <a:ext cx="1137598" cy="253827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800">
                <a:solidFill>
                  <a:schemeClr val="tx2"/>
                </a:solidFill>
              </a:rPr>
              <a:t>Project Alph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2C0E64B-A44B-4731-82A0-E16D962F634A}"/>
              </a:ext>
            </a:extLst>
          </p:cNvPr>
          <p:cNvSpPr txBox="1"/>
          <p:nvPr/>
        </p:nvSpPr>
        <p:spPr>
          <a:xfrm>
            <a:off x="11104401" y="3397513"/>
            <a:ext cx="1137598" cy="253827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800">
                <a:solidFill>
                  <a:schemeClr val="tx2"/>
                </a:solidFill>
              </a:rPr>
              <a:t>Project Z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3740BD9-3A2B-498C-8E46-69787E519289}"/>
              </a:ext>
            </a:extLst>
          </p:cNvPr>
          <p:cNvSpPr/>
          <p:nvPr/>
        </p:nvSpPr>
        <p:spPr>
          <a:xfrm>
            <a:off x="10427647" y="3750400"/>
            <a:ext cx="603710" cy="215445"/>
          </a:xfrm>
          <a:prstGeom prst="rect">
            <a:avLst/>
          </a:prstGeom>
          <a:solidFill>
            <a:srgbClr val="F68D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B9FE569-2218-4804-8EFE-4D8E8A559967}"/>
              </a:ext>
            </a:extLst>
          </p:cNvPr>
          <p:cNvSpPr/>
          <p:nvPr/>
        </p:nvSpPr>
        <p:spPr>
          <a:xfrm>
            <a:off x="10427647" y="4064293"/>
            <a:ext cx="603710" cy="215445"/>
          </a:xfrm>
          <a:prstGeom prst="rect">
            <a:avLst/>
          </a:prstGeom>
          <a:solidFill>
            <a:srgbClr val="6D2077"/>
          </a:soli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FE3CE87-B26E-41DA-9B49-6E8AA533D8CE}"/>
              </a:ext>
            </a:extLst>
          </p:cNvPr>
          <p:cNvSpPr txBox="1"/>
          <p:nvPr/>
        </p:nvSpPr>
        <p:spPr>
          <a:xfrm>
            <a:off x="11104401" y="4031465"/>
            <a:ext cx="1442414" cy="253827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800">
                <a:solidFill>
                  <a:schemeClr val="tx2"/>
                </a:solidFill>
              </a:rPr>
              <a:t>Administration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148C161-A074-4AD4-BA79-393C8A460286}"/>
              </a:ext>
            </a:extLst>
          </p:cNvPr>
          <p:cNvSpPr/>
          <p:nvPr/>
        </p:nvSpPr>
        <p:spPr>
          <a:xfrm>
            <a:off x="10427647" y="4398324"/>
            <a:ext cx="603710" cy="215445"/>
          </a:xfrm>
          <a:prstGeom prst="rect">
            <a:avLst/>
          </a:prstGeom>
          <a:pattFill prst="pct60">
            <a:fgClr>
              <a:schemeClr val="tx1"/>
            </a:fgClr>
            <a:bgClr>
              <a:schemeClr val="bg1"/>
            </a:bgClr>
          </a:patt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223674E-9EE9-482A-AC2A-751B6897A99C}"/>
              </a:ext>
            </a:extLst>
          </p:cNvPr>
          <p:cNvSpPr txBox="1"/>
          <p:nvPr/>
        </p:nvSpPr>
        <p:spPr>
          <a:xfrm>
            <a:off x="11104401" y="4373927"/>
            <a:ext cx="1442414" cy="253827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800">
                <a:solidFill>
                  <a:schemeClr val="tx2"/>
                </a:solidFill>
              </a:rPr>
              <a:t>Off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B3EAEB8-5B4A-4749-8670-C085472A9BC4}"/>
              </a:ext>
            </a:extLst>
          </p:cNvPr>
          <p:cNvSpPr txBox="1"/>
          <p:nvPr/>
        </p:nvSpPr>
        <p:spPr>
          <a:xfrm>
            <a:off x="11104401" y="1919630"/>
            <a:ext cx="1137598" cy="253827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800">
                <a:solidFill>
                  <a:schemeClr val="tx2"/>
                </a:solidFill>
              </a:rPr>
              <a:t>Project Alpha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F218BF0-A7D0-4209-A3DA-22F47D02F1FA}"/>
              </a:ext>
            </a:extLst>
          </p:cNvPr>
          <p:cNvGrpSpPr/>
          <p:nvPr/>
        </p:nvGrpSpPr>
        <p:grpSpPr>
          <a:xfrm>
            <a:off x="2831379" y="1436096"/>
            <a:ext cx="428552" cy="426342"/>
            <a:chOff x="1822985" y="1718043"/>
            <a:chExt cx="670189" cy="600207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C971FF93-80D4-4D02-B6E3-CE0715A473AA}"/>
                </a:ext>
              </a:extLst>
            </p:cNvPr>
            <p:cNvSpPr>
              <a:spLocks/>
            </p:cNvSpPr>
            <p:nvPr/>
          </p:nvSpPr>
          <p:spPr>
            <a:xfrm>
              <a:off x="1822985" y="1718043"/>
              <a:ext cx="670189" cy="600207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lIns="24389" tIns="24389" rIns="24389" bIns="24389" rtlCol="0" anchor="ctr"/>
            <a:lstStyle/>
            <a:p>
              <a:pPr marL="0" marR="0" lvl="0" indent="0" algn="r" defTabSz="40842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SA" sz="9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 Next LT Arabic" panose="020B0503020203050203" pitchFamily="34" charset="-78"/>
                <a:ea typeface="+mn-ea"/>
                <a:cs typeface="DIN Next LT Arabic" panose="020B0503020203050203" pitchFamily="34" charset="-78"/>
              </a:endParaRPr>
            </a:p>
          </p:txBody>
        </p:sp>
        <p:sp>
          <p:nvSpPr>
            <p:cNvPr id="31" name="Pie 1094">
              <a:extLst>
                <a:ext uri="{FF2B5EF4-FFF2-40B4-BE49-F238E27FC236}">
                  <a16:creationId xmlns:a16="http://schemas.microsoft.com/office/drawing/2014/main" id="{BC2307AD-279B-4BC5-94D1-EA714E14797D}"/>
                </a:ext>
              </a:extLst>
            </p:cNvPr>
            <p:cNvSpPr>
              <a:spLocks/>
            </p:cNvSpPr>
            <p:nvPr/>
          </p:nvSpPr>
          <p:spPr>
            <a:xfrm>
              <a:off x="1834155" y="1728047"/>
              <a:ext cx="647848" cy="580200"/>
            </a:xfrm>
            <a:prstGeom prst="pie">
              <a:avLst>
                <a:gd name="adj1" fmla="val 16146442"/>
                <a:gd name="adj2" fmla="val 16108233"/>
              </a:avLst>
            </a:prstGeom>
            <a:solidFill>
              <a:schemeClr val="accent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24389" tIns="24389" rIns="24389" bIns="24389" rtlCol="0" anchor="ctr"/>
            <a:lstStyle/>
            <a:p>
              <a:pPr marL="0" marR="0" lvl="0" indent="0" algn="r" defTabSz="40842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SA" sz="9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 Next LT Arabic" panose="020B0503020203050203" pitchFamily="34" charset="-78"/>
                <a:ea typeface="+mn-ea"/>
                <a:cs typeface="DIN Next LT Arabic" panose="020B0503020203050203" pitchFamily="34" charset="-78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0E2E5A96-4A8C-4971-BA11-4240639E4BDA}"/>
                </a:ext>
              </a:extLst>
            </p:cNvPr>
            <p:cNvSpPr/>
            <p:nvPr/>
          </p:nvSpPr>
          <p:spPr>
            <a:xfrm>
              <a:off x="1937911" y="1838424"/>
              <a:ext cx="434666" cy="389030"/>
            </a:xfrm>
            <a:prstGeom prst="ellipse">
              <a:avLst/>
            </a:prstGeom>
            <a:solidFill>
              <a:schemeClr val="bg1"/>
            </a:solidFill>
            <a:ln w="10172">
              <a:noFill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">
                <a:rot lat="0" lon="0" rev="600000"/>
              </a:lightRig>
            </a:scene3d>
            <a:sp3d prstMaterial="metal">
              <a:bevelT w="38100" h="57150" prst="angle"/>
            </a:sp3d>
          </p:spPr>
          <p:txBody>
            <a:bodyPr wrap="none" lIns="58783" tIns="58783" rIns="58783" bIns="58783" rtlCol="0" anchor="ctr"/>
            <a:lstStyle/>
            <a:p>
              <a:pPr marL="0" marR="0" lvl="0" indent="0" algn="ctr" defTabSz="58786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676A6E"/>
                  </a:solidFill>
                  <a:effectLst/>
                  <a:uLnTx/>
                  <a:uFillTx/>
                  <a:latin typeface="Trebuchet MS"/>
                  <a:ea typeface="Univers for KPMG Light" charset="0"/>
                  <a:cs typeface="Univers for KPMG Light" charset="0"/>
                </a:rPr>
                <a:t>100%</a:t>
              </a:r>
            </a:p>
          </p:txBody>
        </p:sp>
      </p:grpSp>
      <p:sp>
        <p:nvSpPr>
          <p:cNvPr id="60" name="Line 43">
            <a:extLst>
              <a:ext uri="{FF2B5EF4-FFF2-40B4-BE49-F238E27FC236}">
                <a16:creationId xmlns:a16="http://schemas.microsoft.com/office/drawing/2014/main" id="{D4C47C29-AF5F-4196-AF33-DEA6B1AB6C47}"/>
              </a:ext>
            </a:extLst>
          </p:cNvPr>
          <p:cNvSpPr>
            <a:spLocks noChangeShapeType="1"/>
          </p:cNvSpPr>
          <p:nvPr/>
        </p:nvSpPr>
        <p:spPr bwMode="gray">
          <a:xfrm>
            <a:off x="7954985" y="1063803"/>
            <a:ext cx="0" cy="37585"/>
          </a:xfrm>
          <a:prstGeom prst="line">
            <a:avLst/>
          </a:prstGeom>
          <a:noFill/>
          <a:ln w="12700" cap="rnd">
            <a:solidFill>
              <a:srgbClr val="6D2077"/>
            </a:solidFill>
            <a:round/>
            <a:headEnd type="none" w="sm" len="sm"/>
            <a:tailEnd type="none" w="sm" len="sm"/>
          </a:ln>
          <a:effectLst/>
        </p:spPr>
        <p:txBody>
          <a:bodyPr lIns="24116" tIns="24116" rIns="24116" bIns="24116" anchor="b"/>
          <a:lstStyle/>
          <a:p>
            <a:pPr marL="0" marR="0" lvl="0" indent="0" algn="r" defTabSz="1919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1" i="0" u="none" strike="noStrike" kern="0" cap="none" spc="0" normalizeH="0" baseline="0" noProof="0">
              <a:ln>
                <a:noFill/>
              </a:ln>
              <a:solidFill>
                <a:srgbClr val="676A6E"/>
              </a:solidFill>
              <a:effectLst/>
              <a:uLnTx/>
              <a:uFillTx/>
              <a:latin typeface="Trebuchet MS"/>
              <a:ea typeface="+mn-ea"/>
              <a:cs typeface="DIN Next LT Arabic" panose="020B0503020203050203" pitchFamily="34" charset="-78"/>
            </a:endParaRPr>
          </a:p>
        </p:txBody>
      </p:sp>
      <p:sp>
        <p:nvSpPr>
          <p:cNvPr id="100" name="Shape 7496">
            <a:extLst>
              <a:ext uri="{FF2B5EF4-FFF2-40B4-BE49-F238E27FC236}">
                <a16:creationId xmlns:a16="http://schemas.microsoft.com/office/drawing/2014/main" id="{0B669567-585E-4258-9D8D-3DC58886FFFE}"/>
              </a:ext>
            </a:extLst>
          </p:cNvPr>
          <p:cNvSpPr/>
          <p:nvPr/>
        </p:nvSpPr>
        <p:spPr>
          <a:xfrm>
            <a:off x="3864284" y="1547584"/>
            <a:ext cx="5721676" cy="224382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 w="12700">
            <a:miter lim="400000"/>
          </a:ln>
        </p:spPr>
        <p:txBody>
          <a:bodyPr lIns="45924" tIns="45924" rIns="45924" bIns="45924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cap="none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 kumimoji="0" sz="2829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Helvetica Light"/>
            </a:endParaRPr>
          </a:p>
        </p:txBody>
      </p:sp>
      <p:sp>
        <p:nvSpPr>
          <p:cNvPr id="118" name="Line 43">
            <a:extLst>
              <a:ext uri="{FF2B5EF4-FFF2-40B4-BE49-F238E27FC236}">
                <a16:creationId xmlns:a16="http://schemas.microsoft.com/office/drawing/2014/main" id="{8778E406-DB71-43EE-A784-7A9E6AA1B4B7}"/>
              </a:ext>
            </a:extLst>
          </p:cNvPr>
          <p:cNvSpPr>
            <a:spLocks noChangeShapeType="1"/>
          </p:cNvSpPr>
          <p:nvPr/>
        </p:nvSpPr>
        <p:spPr bwMode="gray">
          <a:xfrm>
            <a:off x="5683112" y="1063803"/>
            <a:ext cx="0" cy="37585"/>
          </a:xfrm>
          <a:prstGeom prst="line">
            <a:avLst/>
          </a:prstGeom>
          <a:noFill/>
          <a:ln w="12700" cap="rnd">
            <a:solidFill>
              <a:srgbClr val="6D2077"/>
            </a:solidFill>
            <a:round/>
            <a:headEnd type="none" w="sm" len="sm"/>
            <a:tailEnd type="none" w="sm" len="sm"/>
          </a:ln>
          <a:effectLst/>
        </p:spPr>
        <p:txBody>
          <a:bodyPr lIns="24116" tIns="24116" rIns="24116" bIns="24116" anchor="b"/>
          <a:lstStyle/>
          <a:p>
            <a:pPr marL="0" marR="0" lvl="0" indent="0" algn="r" defTabSz="1919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1" i="0" u="none" strike="noStrike" kern="0" cap="none" spc="0" normalizeH="0" baseline="0" noProof="0">
              <a:ln>
                <a:noFill/>
              </a:ln>
              <a:solidFill>
                <a:srgbClr val="676A6E"/>
              </a:solidFill>
              <a:effectLst/>
              <a:uLnTx/>
              <a:uFillTx/>
              <a:latin typeface="Trebuchet MS"/>
              <a:ea typeface="+mn-ea"/>
              <a:cs typeface="DIN Next LT Arabic" panose="020B0503020203050203" pitchFamily="34" charset="-78"/>
            </a:endParaRPr>
          </a:p>
        </p:txBody>
      </p: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70FDE3A2-A90E-4337-84AC-B9BF24FA9800}"/>
              </a:ext>
            </a:extLst>
          </p:cNvPr>
          <p:cNvGrpSpPr/>
          <p:nvPr/>
        </p:nvGrpSpPr>
        <p:grpSpPr>
          <a:xfrm>
            <a:off x="2831379" y="1918664"/>
            <a:ext cx="428552" cy="426342"/>
            <a:chOff x="1822985" y="1718043"/>
            <a:chExt cx="670189" cy="600207"/>
          </a:xfrm>
        </p:grpSpPr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5F107DE6-605D-4B8E-95A9-0297D13EB840}"/>
                </a:ext>
              </a:extLst>
            </p:cNvPr>
            <p:cNvSpPr>
              <a:spLocks/>
            </p:cNvSpPr>
            <p:nvPr/>
          </p:nvSpPr>
          <p:spPr>
            <a:xfrm>
              <a:off x="1822985" y="1718043"/>
              <a:ext cx="670189" cy="600207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lIns="24389" tIns="24389" rIns="24389" bIns="24389" rtlCol="0" anchor="ctr"/>
            <a:lstStyle/>
            <a:p>
              <a:pPr marL="0" marR="0" lvl="0" indent="0" algn="r" defTabSz="4084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SA" sz="9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 Next LT Arabic" panose="020B0503020203050203" pitchFamily="34" charset="-78"/>
                <a:ea typeface="+mn-ea"/>
                <a:cs typeface="DIN Next LT Arabic" panose="020B0503020203050203" pitchFamily="34" charset="-78"/>
              </a:endParaRPr>
            </a:p>
          </p:txBody>
        </p:sp>
        <p:sp>
          <p:nvSpPr>
            <p:cNvPr id="121" name="Pie 1094">
              <a:extLst>
                <a:ext uri="{FF2B5EF4-FFF2-40B4-BE49-F238E27FC236}">
                  <a16:creationId xmlns:a16="http://schemas.microsoft.com/office/drawing/2014/main" id="{3E8E9877-9769-45F5-9261-F78F65077185}"/>
                </a:ext>
              </a:extLst>
            </p:cNvPr>
            <p:cNvSpPr>
              <a:spLocks/>
            </p:cNvSpPr>
            <p:nvPr/>
          </p:nvSpPr>
          <p:spPr>
            <a:xfrm>
              <a:off x="1834156" y="1728047"/>
              <a:ext cx="647848" cy="580201"/>
            </a:xfrm>
            <a:prstGeom prst="pie">
              <a:avLst>
                <a:gd name="adj1" fmla="val 16146442"/>
                <a:gd name="adj2" fmla="val 16108233"/>
              </a:avLst>
            </a:prstGeom>
            <a:solidFill>
              <a:schemeClr val="accent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24389" tIns="24389" rIns="24389" bIns="24389" rtlCol="0" anchor="ctr"/>
            <a:lstStyle/>
            <a:p>
              <a:pPr marL="0" marR="0" lvl="0" indent="0" algn="r" defTabSz="4084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SA" sz="9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 Next LT Arabic" panose="020B0503020203050203" pitchFamily="34" charset="-78"/>
                <a:ea typeface="+mn-ea"/>
                <a:cs typeface="DIN Next LT Arabic" panose="020B0503020203050203" pitchFamily="34" charset="-78"/>
              </a:endParaRPr>
            </a:p>
          </p:txBody>
        </p:sp>
        <p:sp>
          <p:nvSpPr>
            <p:cNvPr id="122" name="Oval 121">
              <a:extLst>
                <a:ext uri="{FF2B5EF4-FFF2-40B4-BE49-F238E27FC236}">
                  <a16:creationId xmlns:a16="http://schemas.microsoft.com/office/drawing/2014/main" id="{FF46B178-9D19-4FFE-AA52-16D28E0D9CB8}"/>
                </a:ext>
              </a:extLst>
            </p:cNvPr>
            <p:cNvSpPr/>
            <p:nvPr/>
          </p:nvSpPr>
          <p:spPr>
            <a:xfrm>
              <a:off x="1937911" y="1838424"/>
              <a:ext cx="434666" cy="389030"/>
            </a:xfrm>
            <a:prstGeom prst="ellipse">
              <a:avLst/>
            </a:prstGeom>
            <a:solidFill>
              <a:schemeClr val="bg1"/>
            </a:solidFill>
            <a:ln w="10172">
              <a:noFill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">
                <a:rot lat="0" lon="0" rev="600000"/>
              </a:lightRig>
            </a:scene3d>
            <a:sp3d prstMaterial="metal">
              <a:bevelT w="38100" h="57150" prst="angle"/>
            </a:sp3d>
          </p:spPr>
          <p:txBody>
            <a:bodyPr wrap="none" lIns="58783" tIns="58783" rIns="58783" bIns="58783" rtlCol="0" anchor="ctr"/>
            <a:lstStyle/>
            <a:p>
              <a:pPr marL="0" marR="0" lvl="0" indent="0" algn="ctr" defTabSz="58786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676A6E"/>
                  </a:solidFill>
                  <a:effectLst/>
                  <a:uLnTx/>
                  <a:uFillTx/>
                  <a:latin typeface="Trebuchet MS"/>
                  <a:ea typeface="Univers for KPMG Light" charset="0"/>
                  <a:cs typeface="Univers for KPMG Light" charset="0"/>
                </a:rPr>
                <a:t>100%</a:t>
              </a:r>
            </a:p>
          </p:txBody>
        </p: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BF2256B9-B7F6-4D84-AD64-80A267EE299C}"/>
              </a:ext>
            </a:extLst>
          </p:cNvPr>
          <p:cNvGrpSpPr/>
          <p:nvPr/>
        </p:nvGrpSpPr>
        <p:grpSpPr>
          <a:xfrm>
            <a:off x="2831379" y="2401232"/>
            <a:ext cx="428552" cy="426342"/>
            <a:chOff x="1822985" y="1718043"/>
            <a:chExt cx="670189" cy="600207"/>
          </a:xfrm>
        </p:grpSpPr>
        <p:sp>
          <p:nvSpPr>
            <p:cNvPr id="124" name="Oval 123">
              <a:extLst>
                <a:ext uri="{FF2B5EF4-FFF2-40B4-BE49-F238E27FC236}">
                  <a16:creationId xmlns:a16="http://schemas.microsoft.com/office/drawing/2014/main" id="{1E2F3733-E699-4FD9-A9A6-A3B8C70A0125}"/>
                </a:ext>
              </a:extLst>
            </p:cNvPr>
            <p:cNvSpPr>
              <a:spLocks/>
            </p:cNvSpPr>
            <p:nvPr/>
          </p:nvSpPr>
          <p:spPr>
            <a:xfrm>
              <a:off x="1822985" y="1718043"/>
              <a:ext cx="670189" cy="600207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lIns="24389" tIns="24389" rIns="24389" bIns="24389" rtlCol="0" anchor="ctr"/>
            <a:lstStyle/>
            <a:p>
              <a:pPr marL="0" marR="0" lvl="0" indent="0" algn="r" defTabSz="40842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SA" sz="9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 Next LT Arabic" panose="020B0503020203050203" pitchFamily="34" charset="-78"/>
                <a:ea typeface="+mn-ea"/>
                <a:cs typeface="DIN Next LT Arabic" panose="020B0503020203050203" pitchFamily="34" charset="-78"/>
              </a:endParaRPr>
            </a:p>
          </p:txBody>
        </p:sp>
        <p:sp>
          <p:nvSpPr>
            <p:cNvPr id="125" name="Pie 1094">
              <a:extLst>
                <a:ext uri="{FF2B5EF4-FFF2-40B4-BE49-F238E27FC236}">
                  <a16:creationId xmlns:a16="http://schemas.microsoft.com/office/drawing/2014/main" id="{A69AAEB3-F961-436C-AF61-2E7E08B70DBA}"/>
                </a:ext>
              </a:extLst>
            </p:cNvPr>
            <p:cNvSpPr>
              <a:spLocks/>
            </p:cNvSpPr>
            <p:nvPr/>
          </p:nvSpPr>
          <p:spPr>
            <a:xfrm>
              <a:off x="1834155" y="1728047"/>
              <a:ext cx="647848" cy="580200"/>
            </a:xfrm>
            <a:prstGeom prst="pie">
              <a:avLst>
                <a:gd name="adj1" fmla="val 16146442"/>
                <a:gd name="adj2" fmla="val 16108233"/>
              </a:avLst>
            </a:prstGeom>
            <a:solidFill>
              <a:schemeClr val="accent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24389" tIns="24389" rIns="24389" bIns="24389" rtlCol="0" anchor="ctr"/>
            <a:lstStyle/>
            <a:p>
              <a:pPr marL="0" marR="0" lvl="0" indent="0" algn="r" defTabSz="40842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SA" sz="9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 Next LT Arabic" panose="020B0503020203050203" pitchFamily="34" charset="-78"/>
                <a:ea typeface="+mn-ea"/>
                <a:cs typeface="DIN Next LT Arabic" panose="020B0503020203050203" pitchFamily="34" charset="-78"/>
              </a:endParaRPr>
            </a:p>
          </p:txBody>
        </p:sp>
        <p:sp>
          <p:nvSpPr>
            <p:cNvPr id="126" name="Oval 125">
              <a:extLst>
                <a:ext uri="{FF2B5EF4-FFF2-40B4-BE49-F238E27FC236}">
                  <a16:creationId xmlns:a16="http://schemas.microsoft.com/office/drawing/2014/main" id="{AAAD7751-08EE-433D-850F-524B58455988}"/>
                </a:ext>
              </a:extLst>
            </p:cNvPr>
            <p:cNvSpPr/>
            <p:nvPr/>
          </p:nvSpPr>
          <p:spPr>
            <a:xfrm>
              <a:off x="1937911" y="1838424"/>
              <a:ext cx="434666" cy="389030"/>
            </a:xfrm>
            <a:prstGeom prst="ellipse">
              <a:avLst/>
            </a:prstGeom>
            <a:solidFill>
              <a:schemeClr val="bg1"/>
            </a:solidFill>
            <a:ln w="10172">
              <a:noFill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">
                <a:rot lat="0" lon="0" rev="600000"/>
              </a:lightRig>
            </a:scene3d>
            <a:sp3d prstMaterial="metal">
              <a:bevelT w="38100" h="57150" prst="angle"/>
            </a:sp3d>
          </p:spPr>
          <p:txBody>
            <a:bodyPr wrap="none" lIns="58783" tIns="58783" rIns="58783" bIns="58783" rtlCol="0" anchor="ctr"/>
            <a:lstStyle/>
            <a:p>
              <a:pPr marL="0" marR="0" lvl="0" indent="0" algn="ctr" defTabSz="58786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676A6E"/>
                  </a:solidFill>
                  <a:effectLst/>
                  <a:uLnTx/>
                  <a:uFillTx/>
                  <a:latin typeface="Trebuchet MS"/>
                  <a:ea typeface="Univers for KPMG Light" charset="0"/>
                  <a:cs typeface="Univers for KPMG Light" charset="0"/>
                </a:rPr>
                <a:t>100%</a:t>
              </a: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D5F3401C-5BBB-491D-856F-35428CDA6AA0}"/>
              </a:ext>
            </a:extLst>
          </p:cNvPr>
          <p:cNvGrpSpPr/>
          <p:nvPr/>
        </p:nvGrpSpPr>
        <p:grpSpPr>
          <a:xfrm>
            <a:off x="2831379" y="2883800"/>
            <a:ext cx="428552" cy="426342"/>
            <a:chOff x="1822985" y="1718043"/>
            <a:chExt cx="670189" cy="600207"/>
          </a:xfrm>
        </p:grpSpPr>
        <p:sp>
          <p:nvSpPr>
            <p:cNvPr id="128" name="Oval 127">
              <a:extLst>
                <a:ext uri="{FF2B5EF4-FFF2-40B4-BE49-F238E27FC236}">
                  <a16:creationId xmlns:a16="http://schemas.microsoft.com/office/drawing/2014/main" id="{6A76B281-471C-46D4-B348-B324EB268CA9}"/>
                </a:ext>
              </a:extLst>
            </p:cNvPr>
            <p:cNvSpPr>
              <a:spLocks/>
            </p:cNvSpPr>
            <p:nvPr/>
          </p:nvSpPr>
          <p:spPr>
            <a:xfrm>
              <a:off x="1822985" y="1718043"/>
              <a:ext cx="670189" cy="600207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lIns="24389" tIns="24389" rIns="24389" bIns="24389" rtlCol="0" anchor="ctr"/>
            <a:lstStyle/>
            <a:p>
              <a:pPr marL="0" marR="0" lvl="0" indent="0" algn="r" defTabSz="4084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SA" sz="9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 Next LT Arabic" panose="020B0503020203050203" pitchFamily="34" charset="-78"/>
                <a:ea typeface="+mn-ea"/>
                <a:cs typeface="DIN Next LT Arabic" panose="020B0503020203050203" pitchFamily="34" charset="-78"/>
              </a:endParaRPr>
            </a:p>
          </p:txBody>
        </p:sp>
        <p:sp>
          <p:nvSpPr>
            <p:cNvPr id="129" name="Pie 1094">
              <a:extLst>
                <a:ext uri="{FF2B5EF4-FFF2-40B4-BE49-F238E27FC236}">
                  <a16:creationId xmlns:a16="http://schemas.microsoft.com/office/drawing/2014/main" id="{2EA8E3D9-A9ED-4D23-97A9-AFC7A18790BE}"/>
                </a:ext>
              </a:extLst>
            </p:cNvPr>
            <p:cNvSpPr>
              <a:spLocks/>
            </p:cNvSpPr>
            <p:nvPr/>
          </p:nvSpPr>
          <p:spPr>
            <a:xfrm>
              <a:off x="1834156" y="1728047"/>
              <a:ext cx="647848" cy="580201"/>
            </a:xfrm>
            <a:prstGeom prst="pie">
              <a:avLst>
                <a:gd name="adj1" fmla="val 16146442"/>
                <a:gd name="adj2" fmla="val 16108233"/>
              </a:avLst>
            </a:prstGeom>
            <a:solidFill>
              <a:schemeClr val="accent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24389" tIns="24389" rIns="24389" bIns="24389" rtlCol="0" anchor="ctr"/>
            <a:lstStyle/>
            <a:p>
              <a:pPr marL="0" marR="0" lvl="0" indent="0" algn="r" defTabSz="4084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SA" sz="9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 Next LT Arabic" panose="020B0503020203050203" pitchFamily="34" charset="-78"/>
                <a:ea typeface="+mn-ea"/>
                <a:cs typeface="DIN Next LT Arabic" panose="020B0503020203050203" pitchFamily="34" charset="-78"/>
              </a:endParaRPr>
            </a:p>
          </p:txBody>
        </p:sp>
        <p:sp>
          <p:nvSpPr>
            <p:cNvPr id="130" name="Oval 129">
              <a:extLst>
                <a:ext uri="{FF2B5EF4-FFF2-40B4-BE49-F238E27FC236}">
                  <a16:creationId xmlns:a16="http://schemas.microsoft.com/office/drawing/2014/main" id="{F8B76644-EA3B-41C4-BD40-20CAC80BAC61}"/>
                </a:ext>
              </a:extLst>
            </p:cNvPr>
            <p:cNvSpPr/>
            <p:nvPr/>
          </p:nvSpPr>
          <p:spPr>
            <a:xfrm>
              <a:off x="1937911" y="1838424"/>
              <a:ext cx="434666" cy="389030"/>
            </a:xfrm>
            <a:prstGeom prst="ellipse">
              <a:avLst/>
            </a:prstGeom>
            <a:solidFill>
              <a:schemeClr val="bg1"/>
            </a:solidFill>
            <a:ln w="10172">
              <a:noFill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">
                <a:rot lat="0" lon="0" rev="600000"/>
              </a:lightRig>
            </a:scene3d>
            <a:sp3d prstMaterial="metal">
              <a:bevelT w="38100" h="57150" prst="angle"/>
            </a:sp3d>
          </p:spPr>
          <p:txBody>
            <a:bodyPr wrap="none" lIns="58783" tIns="58783" rIns="58783" bIns="58783" rtlCol="0" anchor="ctr"/>
            <a:lstStyle/>
            <a:p>
              <a:pPr marL="0" marR="0" lvl="0" indent="0" algn="ctr" defTabSz="58786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676A6E"/>
                  </a:solidFill>
                  <a:effectLst/>
                  <a:uLnTx/>
                  <a:uFillTx/>
                  <a:latin typeface="Trebuchet MS"/>
                  <a:ea typeface="Univers for KPMG Light" charset="0"/>
                  <a:cs typeface="Univers for KPMG Light" charset="0"/>
                </a:rPr>
                <a:t>100%</a:t>
              </a:r>
            </a:p>
          </p:txBody>
        </p:sp>
      </p:grp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0CEE2208-1151-406C-AD4A-1B314925517A}"/>
              </a:ext>
            </a:extLst>
          </p:cNvPr>
          <p:cNvGrpSpPr/>
          <p:nvPr/>
        </p:nvGrpSpPr>
        <p:grpSpPr>
          <a:xfrm>
            <a:off x="2831379" y="3366368"/>
            <a:ext cx="428552" cy="426342"/>
            <a:chOff x="1822985" y="1718043"/>
            <a:chExt cx="670189" cy="600207"/>
          </a:xfrm>
        </p:grpSpPr>
        <p:sp>
          <p:nvSpPr>
            <p:cNvPr id="132" name="Oval 131">
              <a:extLst>
                <a:ext uri="{FF2B5EF4-FFF2-40B4-BE49-F238E27FC236}">
                  <a16:creationId xmlns:a16="http://schemas.microsoft.com/office/drawing/2014/main" id="{F3C1F469-79C3-4AA6-BEE6-0971690532CA}"/>
                </a:ext>
              </a:extLst>
            </p:cNvPr>
            <p:cNvSpPr>
              <a:spLocks/>
            </p:cNvSpPr>
            <p:nvPr/>
          </p:nvSpPr>
          <p:spPr>
            <a:xfrm>
              <a:off x="1822985" y="1718043"/>
              <a:ext cx="670189" cy="600207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lIns="24389" tIns="24389" rIns="24389" bIns="24389" rtlCol="0" anchor="ctr"/>
            <a:lstStyle/>
            <a:p>
              <a:pPr marL="0" marR="0" lvl="0" indent="0" algn="r" defTabSz="40842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SA" sz="9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 Next LT Arabic" panose="020B0503020203050203" pitchFamily="34" charset="-78"/>
                <a:ea typeface="+mn-ea"/>
                <a:cs typeface="DIN Next LT Arabic" panose="020B0503020203050203" pitchFamily="34" charset="-78"/>
              </a:endParaRPr>
            </a:p>
          </p:txBody>
        </p:sp>
        <p:sp>
          <p:nvSpPr>
            <p:cNvPr id="133" name="Pie 1094">
              <a:extLst>
                <a:ext uri="{FF2B5EF4-FFF2-40B4-BE49-F238E27FC236}">
                  <a16:creationId xmlns:a16="http://schemas.microsoft.com/office/drawing/2014/main" id="{842F5D77-F0DA-43C8-917F-52C81C8E175E}"/>
                </a:ext>
              </a:extLst>
            </p:cNvPr>
            <p:cNvSpPr>
              <a:spLocks/>
            </p:cNvSpPr>
            <p:nvPr/>
          </p:nvSpPr>
          <p:spPr>
            <a:xfrm>
              <a:off x="1834155" y="1728047"/>
              <a:ext cx="647848" cy="580200"/>
            </a:xfrm>
            <a:prstGeom prst="pie">
              <a:avLst>
                <a:gd name="adj1" fmla="val 16146442"/>
                <a:gd name="adj2" fmla="val 16108233"/>
              </a:avLst>
            </a:prstGeom>
            <a:solidFill>
              <a:schemeClr val="accent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24389" tIns="24389" rIns="24389" bIns="24389" rtlCol="0" anchor="ctr"/>
            <a:lstStyle/>
            <a:p>
              <a:pPr marL="0" marR="0" lvl="0" indent="0" algn="r" defTabSz="40842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SA" sz="9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 Next LT Arabic" panose="020B0503020203050203" pitchFamily="34" charset="-78"/>
                <a:ea typeface="+mn-ea"/>
                <a:cs typeface="DIN Next LT Arabic" panose="020B0503020203050203" pitchFamily="34" charset="-78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CF62AFE3-4994-4C0D-A8F6-1CB33F06EFDB}"/>
                </a:ext>
              </a:extLst>
            </p:cNvPr>
            <p:cNvSpPr/>
            <p:nvPr/>
          </p:nvSpPr>
          <p:spPr>
            <a:xfrm>
              <a:off x="1937911" y="1838424"/>
              <a:ext cx="434666" cy="389030"/>
            </a:xfrm>
            <a:prstGeom prst="ellipse">
              <a:avLst/>
            </a:prstGeom>
            <a:solidFill>
              <a:schemeClr val="bg1"/>
            </a:solidFill>
            <a:ln w="10172">
              <a:noFill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">
                <a:rot lat="0" lon="0" rev="600000"/>
              </a:lightRig>
            </a:scene3d>
            <a:sp3d prstMaterial="metal">
              <a:bevelT w="38100" h="57150" prst="angle"/>
            </a:sp3d>
          </p:spPr>
          <p:txBody>
            <a:bodyPr wrap="none" lIns="58783" tIns="58783" rIns="58783" bIns="58783" rtlCol="0" anchor="ctr"/>
            <a:lstStyle/>
            <a:p>
              <a:pPr marL="0" marR="0" lvl="0" indent="0" algn="ctr" defTabSz="58786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676A6E"/>
                  </a:solidFill>
                  <a:effectLst/>
                  <a:uLnTx/>
                  <a:uFillTx/>
                  <a:latin typeface="Trebuchet MS"/>
                  <a:ea typeface="Univers for KPMG Light" charset="0"/>
                  <a:cs typeface="Univers for KPMG Light" charset="0"/>
                </a:rPr>
                <a:t>100%</a:t>
              </a: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98B208D5-809B-4B46-A962-7D8DA8C78650}"/>
              </a:ext>
            </a:extLst>
          </p:cNvPr>
          <p:cNvGrpSpPr/>
          <p:nvPr/>
        </p:nvGrpSpPr>
        <p:grpSpPr>
          <a:xfrm>
            <a:off x="2831379" y="3848936"/>
            <a:ext cx="428552" cy="426342"/>
            <a:chOff x="1822985" y="1718043"/>
            <a:chExt cx="670189" cy="600207"/>
          </a:xfrm>
        </p:grpSpPr>
        <p:sp>
          <p:nvSpPr>
            <p:cNvPr id="136" name="Oval 135">
              <a:extLst>
                <a:ext uri="{FF2B5EF4-FFF2-40B4-BE49-F238E27FC236}">
                  <a16:creationId xmlns:a16="http://schemas.microsoft.com/office/drawing/2014/main" id="{21D92FFB-BFDB-4FD2-BEFB-BDCEFB21886B}"/>
                </a:ext>
              </a:extLst>
            </p:cNvPr>
            <p:cNvSpPr>
              <a:spLocks/>
            </p:cNvSpPr>
            <p:nvPr/>
          </p:nvSpPr>
          <p:spPr>
            <a:xfrm>
              <a:off x="1822985" y="1718043"/>
              <a:ext cx="670189" cy="600207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lIns="24389" tIns="24389" rIns="24389" bIns="24389" rtlCol="0" anchor="ctr"/>
            <a:lstStyle/>
            <a:p>
              <a:pPr marL="0" marR="0" lvl="0" indent="0" algn="r" defTabSz="4084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SA" sz="9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 Next LT Arabic" panose="020B0503020203050203" pitchFamily="34" charset="-78"/>
                <a:ea typeface="+mn-ea"/>
                <a:cs typeface="DIN Next LT Arabic" panose="020B0503020203050203" pitchFamily="34" charset="-78"/>
              </a:endParaRPr>
            </a:p>
          </p:txBody>
        </p:sp>
        <p:sp>
          <p:nvSpPr>
            <p:cNvPr id="137" name="Pie 1094">
              <a:extLst>
                <a:ext uri="{FF2B5EF4-FFF2-40B4-BE49-F238E27FC236}">
                  <a16:creationId xmlns:a16="http://schemas.microsoft.com/office/drawing/2014/main" id="{00841F1F-C9B1-448E-9409-165B029B9ABF}"/>
                </a:ext>
              </a:extLst>
            </p:cNvPr>
            <p:cNvSpPr>
              <a:spLocks/>
            </p:cNvSpPr>
            <p:nvPr/>
          </p:nvSpPr>
          <p:spPr>
            <a:xfrm>
              <a:off x="1834156" y="1728047"/>
              <a:ext cx="647848" cy="580201"/>
            </a:xfrm>
            <a:prstGeom prst="pie">
              <a:avLst>
                <a:gd name="adj1" fmla="val 16146442"/>
                <a:gd name="adj2" fmla="val 16108233"/>
              </a:avLst>
            </a:prstGeom>
            <a:solidFill>
              <a:schemeClr val="accent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24389" tIns="24389" rIns="24389" bIns="24389" rtlCol="0" anchor="ctr"/>
            <a:lstStyle/>
            <a:p>
              <a:pPr marL="0" marR="0" lvl="0" indent="0" algn="r" defTabSz="4084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SA" sz="9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 Next LT Arabic" panose="020B0503020203050203" pitchFamily="34" charset="-78"/>
                <a:ea typeface="+mn-ea"/>
                <a:cs typeface="DIN Next LT Arabic" panose="020B0503020203050203" pitchFamily="34" charset="-78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0B650B34-59DD-4BD6-A5C6-4BE951A42607}"/>
                </a:ext>
              </a:extLst>
            </p:cNvPr>
            <p:cNvSpPr/>
            <p:nvPr/>
          </p:nvSpPr>
          <p:spPr>
            <a:xfrm>
              <a:off x="1937911" y="1838424"/>
              <a:ext cx="434666" cy="389030"/>
            </a:xfrm>
            <a:prstGeom prst="ellipse">
              <a:avLst/>
            </a:prstGeom>
            <a:solidFill>
              <a:schemeClr val="bg1"/>
            </a:solidFill>
            <a:ln w="10172">
              <a:noFill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">
                <a:rot lat="0" lon="0" rev="600000"/>
              </a:lightRig>
            </a:scene3d>
            <a:sp3d prstMaterial="metal">
              <a:bevelT w="38100" h="57150" prst="angle"/>
            </a:sp3d>
          </p:spPr>
          <p:txBody>
            <a:bodyPr wrap="none" lIns="58783" tIns="58783" rIns="58783" bIns="58783" rtlCol="0" anchor="ctr"/>
            <a:lstStyle/>
            <a:p>
              <a:pPr marL="0" marR="0" lvl="0" indent="0" algn="ctr" defTabSz="58786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676A6E"/>
                  </a:solidFill>
                  <a:effectLst/>
                  <a:uLnTx/>
                  <a:uFillTx/>
                  <a:latin typeface="Trebuchet MS"/>
                  <a:ea typeface="Univers for KPMG Light" charset="0"/>
                  <a:cs typeface="Univers for KPMG Light" charset="0"/>
                </a:rPr>
                <a:t>100%</a:t>
              </a: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36236EAC-E326-4555-8CC9-69EB685DAB49}"/>
              </a:ext>
            </a:extLst>
          </p:cNvPr>
          <p:cNvGrpSpPr/>
          <p:nvPr/>
        </p:nvGrpSpPr>
        <p:grpSpPr>
          <a:xfrm>
            <a:off x="2831379" y="4331504"/>
            <a:ext cx="428552" cy="426342"/>
            <a:chOff x="1822985" y="1718043"/>
            <a:chExt cx="670189" cy="600207"/>
          </a:xfrm>
        </p:grpSpPr>
        <p:sp>
          <p:nvSpPr>
            <p:cNvPr id="141" name="Oval 140">
              <a:extLst>
                <a:ext uri="{FF2B5EF4-FFF2-40B4-BE49-F238E27FC236}">
                  <a16:creationId xmlns:a16="http://schemas.microsoft.com/office/drawing/2014/main" id="{4DD5798E-5839-4632-8339-83FE536F661D}"/>
                </a:ext>
              </a:extLst>
            </p:cNvPr>
            <p:cNvSpPr>
              <a:spLocks/>
            </p:cNvSpPr>
            <p:nvPr/>
          </p:nvSpPr>
          <p:spPr>
            <a:xfrm>
              <a:off x="1822985" y="1718043"/>
              <a:ext cx="670189" cy="600207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lIns="24389" tIns="24389" rIns="24389" bIns="24389" rtlCol="0" anchor="ctr"/>
            <a:lstStyle/>
            <a:p>
              <a:pPr marL="0" marR="0" lvl="0" indent="0" algn="r" defTabSz="40842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SA" sz="9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 Next LT Arabic" panose="020B0503020203050203" pitchFamily="34" charset="-78"/>
                <a:ea typeface="+mn-ea"/>
                <a:cs typeface="DIN Next LT Arabic" panose="020B0503020203050203" pitchFamily="34" charset="-78"/>
              </a:endParaRPr>
            </a:p>
          </p:txBody>
        </p:sp>
        <p:sp>
          <p:nvSpPr>
            <p:cNvPr id="142" name="Pie 1094">
              <a:extLst>
                <a:ext uri="{FF2B5EF4-FFF2-40B4-BE49-F238E27FC236}">
                  <a16:creationId xmlns:a16="http://schemas.microsoft.com/office/drawing/2014/main" id="{DD23205E-08E4-4B2B-A0F5-1D81D7F427F0}"/>
                </a:ext>
              </a:extLst>
            </p:cNvPr>
            <p:cNvSpPr>
              <a:spLocks/>
            </p:cNvSpPr>
            <p:nvPr/>
          </p:nvSpPr>
          <p:spPr>
            <a:xfrm>
              <a:off x="1834155" y="1728047"/>
              <a:ext cx="647848" cy="580200"/>
            </a:xfrm>
            <a:prstGeom prst="pie">
              <a:avLst>
                <a:gd name="adj1" fmla="val 16146442"/>
                <a:gd name="adj2" fmla="val 16108233"/>
              </a:avLst>
            </a:prstGeom>
            <a:solidFill>
              <a:schemeClr val="accent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24389" tIns="24389" rIns="24389" bIns="24389" rtlCol="0" anchor="ctr"/>
            <a:lstStyle/>
            <a:p>
              <a:pPr marL="0" marR="0" lvl="0" indent="0" algn="r" defTabSz="40842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SA" sz="9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 Next LT Arabic" panose="020B0503020203050203" pitchFamily="34" charset="-78"/>
                <a:ea typeface="+mn-ea"/>
                <a:cs typeface="DIN Next LT Arabic" panose="020B0503020203050203" pitchFamily="34" charset="-78"/>
              </a:endParaRPr>
            </a:p>
          </p:txBody>
        </p:sp>
        <p:sp>
          <p:nvSpPr>
            <p:cNvPr id="143" name="Oval 142">
              <a:extLst>
                <a:ext uri="{FF2B5EF4-FFF2-40B4-BE49-F238E27FC236}">
                  <a16:creationId xmlns:a16="http://schemas.microsoft.com/office/drawing/2014/main" id="{8121D9EA-1315-425C-A151-19E0E66DAB3A}"/>
                </a:ext>
              </a:extLst>
            </p:cNvPr>
            <p:cNvSpPr/>
            <p:nvPr/>
          </p:nvSpPr>
          <p:spPr>
            <a:xfrm>
              <a:off x="1937911" y="1838424"/>
              <a:ext cx="434666" cy="389030"/>
            </a:xfrm>
            <a:prstGeom prst="ellipse">
              <a:avLst/>
            </a:prstGeom>
            <a:solidFill>
              <a:schemeClr val="bg1"/>
            </a:solidFill>
            <a:ln w="10172">
              <a:noFill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">
                <a:rot lat="0" lon="0" rev="600000"/>
              </a:lightRig>
            </a:scene3d>
            <a:sp3d prstMaterial="metal">
              <a:bevelT w="38100" h="57150" prst="angle"/>
            </a:sp3d>
          </p:spPr>
          <p:txBody>
            <a:bodyPr wrap="none" lIns="58783" tIns="58783" rIns="58783" bIns="58783" rtlCol="0" anchor="ctr"/>
            <a:lstStyle/>
            <a:p>
              <a:pPr marL="0" marR="0" lvl="0" indent="0" algn="ctr" defTabSz="58786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676A6E"/>
                  </a:solidFill>
                  <a:effectLst/>
                  <a:uLnTx/>
                  <a:uFillTx/>
                  <a:latin typeface="Trebuchet MS"/>
                  <a:ea typeface="Univers for KPMG Light" charset="0"/>
                  <a:cs typeface="Univers for KPMG Light" charset="0"/>
                </a:rPr>
                <a:t>100%</a:t>
              </a:r>
            </a:p>
          </p:txBody>
        </p:sp>
      </p:grp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8198CBCB-3308-482B-815E-F54996C7DC49}"/>
              </a:ext>
            </a:extLst>
          </p:cNvPr>
          <p:cNvGrpSpPr/>
          <p:nvPr/>
        </p:nvGrpSpPr>
        <p:grpSpPr>
          <a:xfrm>
            <a:off x="2831379" y="4814072"/>
            <a:ext cx="428552" cy="426342"/>
            <a:chOff x="1822985" y="1718043"/>
            <a:chExt cx="670189" cy="600207"/>
          </a:xfrm>
        </p:grpSpPr>
        <p:sp>
          <p:nvSpPr>
            <p:cNvPr id="145" name="Oval 144">
              <a:extLst>
                <a:ext uri="{FF2B5EF4-FFF2-40B4-BE49-F238E27FC236}">
                  <a16:creationId xmlns:a16="http://schemas.microsoft.com/office/drawing/2014/main" id="{2C5D1DFF-1099-453D-94E5-47CF2BBBDF7E}"/>
                </a:ext>
              </a:extLst>
            </p:cNvPr>
            <p:cNvSpPr>
              <a:spLocks/>
            </p:cNvSpPr>
            <p:nvPr/>
          </p:nvSpPr>
          <p:spPr>
            <a:xfrm>
              <a:off x="1822985" y="1718043"/>
              <a:ext cx="670189" cy="600207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lIns="24389" tIns="24389" rIns="24389" bIns="24389" rtlCol="0" anchor="ctr"/>
            <a:lstStyle/>
            <a:p>
              <a:pPr marL="0" marR="0" lvl="0" indent="0" algn="r" defTabSz="4084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SA" sz="9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 Next LT Arabic" panose="020B0503020203050203" pitchFamily="34" charset="-78"/>
                <a:ea typeface="+mn-ea"/>
                <a:cs typeface="DIN Next LT Arabic" panose="020B0503020203050203" pitchFamily="34" charset="-78"/>
              </a:endParaRPr>
            </a:p>
          </p:txBody>
        </p:sp>
        <p:sp>
          <p:nvSpPr>
            <p:cNvPr id="146" name="Pie 1094">
              <a:extLst>
                <a:ext uri="{FF2B5EF4-FFF2-40B4-BE49-F238E27FC236}">
                  <a16:creationId xmlns:a16="http://schemas.microsoft.com/office/drawing/2014/main" id="{90485C35-069E-44CF-8433-9416AA2BBB56}"/>
                </a:ext>
              </a:extLst>
            </p:cNvPr>
            <p:cNvSpPr>
              <a:spLocks/>
            </p:cNvSpPr>
            <p:nvPr/>
          </p:nvSpPr>
          <p:spPr>
            <a:xfrm>
              <a:off x="1834156" y="1728047"/>
              <a:ext cx="647848" cy="580201"/>
            </a:xfrm>
            <a:prstGeom prst="pie">
              <a:avLst>
                <a:gd name="adj1" fmla="val 16146442"/>
                <a:gd name="adj2" fmla="val 16108233"/>
              </a:avLst>
            </a:prstGeom>
            <a:solidFill>
              <a:schemeClr val="accent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24389" tIns="24389" rIns="24389" bIns="24389" rtlCol="0" anchor="ctr"/>
            <a:lstStyle/>
            <a:p>
              <a:pPr marL="0" marR="0" lvl="0" indent="0" algn="r" defTabSz="4084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SA" sz="9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 Next LT Arabic" panose="020B0503020203050203" pitchFamily="34" charset="-78"/>
                <a:ea typeface="+mn-ea"/>
                <a:cs typeface="DIN Next LT Arabic" panose="020B0503020203050203" pitchFamily="34" charset="-78"/>
              </a:endParaRPr>
            </a:p>
          </p:txBody>
        </p:sp>
        <p:sp>
          <p:nvSpPr>
            <p:cNvPr id="147" name="Oval 146">
              <a:extLst>
                <a:ext uri="{FF2B5EF4-FFF2-40B4-BE49-F238E27FC236}">
                  <a16:creationId xmlns:a16="http://schemas.microsoft.com/office/drawing/2014/main" id="{627BC279-C5BD-40C2-86E7-E4B1405F7312}"/>
                </a:ext>
              </a:extLst>
            </p:cNvPr>
            <p:cNvSpPr/>
            <p:nvPr/>
          </p:nvSpPr>
          <p:spPr>
            <a:xfrm>
              <a:off x="1937911" y="1838424"/>
              <a:ext cx="434666" cy="389030"/>
            </a:xfrm>
            <a:prstGeom prst="ellipse">
              <a:avLst/>
            </a:prstGeom>
            <a:solidFill>
              <a:schemeClr val="bg1"/>
            </a:solidFill>
            <a:ln w="10172">
              <a:noFill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">
                <a:rot lat="0" lon="0" rev="600000"/>
              </a:lightRig>
            </a:scene3d>
            <a:sp3d prstMaterial="metal">
              <a:bevelT w="38100" h="57150" prst="angle"/>
            </a:sp3d>
          </p:spPr>
          <p:txBody>
            <a:bodyPr wrap="none" lIns="58783" tIns="58783" rIns="58783" bIns="58783" rtlCol="0" anchor="ctr"/>
            <a:lstStyle/>
            <a:p>
              <a:pPr marL="0" marR="0" lvl="0" indent="0" algn="ctr" defTabSz="58786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676A6E"/>
                  </a:solidFill>
                  <a:effectLst/>
                  <a:uLnTx/>
                  <a:uFillTx/>
                  <a:latin typeface="Trebuchet MS"/>
                  <a:ea typeface="Univers for KPMG Light" charset="0"/>
                  <a:cs typeface="Univers for KPMG Light" charset="0"/>
                </a:rPr>
                <a:t>100%</a:t>
              </a:r>
            </a:p>
          </p:txBody>
        </p: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24DE422C-C4F2-4951-A74D-30381810A18A}"/>
              </a:ext>
            </a:extLst>
          </p:cNvPr>
          <p:cNvGrpSpPr/>
          <p:nvPr/>
        </p:nvGrpSpPr>
        <p:grpSpPr>
          <a:xfrm>
            <a:off x="2831379" y="5296640"/>
            <a:ext cx="428552" cy="426342"/>
            <a:chOff x="1822985" y="1718043"/>
            <a:chExt cx="670189" cy="600207"/>
          </a:xfrm>
        </p:grpSpPr>
        <p:sp>
          <p:nvSpPr>
            <p:cNvPr id="149" name="Oval 148">
              <a:extLst>
                <a:ext uri="{FF2B5EF4-FFF2-40B4-BE49-F238E27FC236}">
                  <a16:creationId xmlns:a16="http://schemas.microsoft.com/office/drawing/2014/main" id="{8DA9F88F-BDAB-4BA1-A778-77B4EC242D0D}"/>
                </a:ext>
              </a:extLst>
            </p:cNvPr>
            <p:cNvSpPr>
              <a:spLocks/>
            </p:cNvSpPr>
            <p:nvPr/>
          </p:nvSpPr>
          <p:spPr>
            <a:xfrm>
              <a:off x="1822985" y="1718043"/>
              <a:ext cx="670189" cy="600207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</a:ln>
            <a:effectLst/>
          </p:spPr>
          <p:txBody>
            <a:bodyPr lIns="24389" tIns="24389" rIns="24389" bIns="24389" rtlCol="0" anchor="ctr"/>
            <a:lstStyle/>
            <a:p>
              <a:pPr marL="0" marR="0" lvl="0" indent="0" algn="r" defTabSz="4084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SA" sz="9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 Next LT Arabic" panose="020B0503020203050203" pitchFamily="34" charset="-78"/>
                <a:ea typeface="+mn-ea"/>
                <a:cs typeface="DIN Next LT Arabic" panose="020B0503020203050203" pitchFamily="34" charset="-78"/>
              </a:endParaRPr>
            </a:p>
          </p:txBody>
        </p:sp>
        <p:sp>
          <p:nvSpPr>
            <p:cNvPr id="150" name="Pie 1094">
              <a:extLst>
                <a:ext uri="{FF2B5EF4-FFF2-40B4-BE49-F238E27FC236}">
                  <a16:creationId xmlns:a16="http://schemas.microsoft.com/office/drawing/2014/main" id="{631E7C8B-505D-430E-82CC-193F1096748D}"/>
                </a:ext>
              </a:extLst>
            </p:cNvPr>
            <p:cNvSpPr>
              <a:spLocks/>
            </p:cNvSpPr>
            <p:nvPr/>
          </p:nvSpPr>
          <p:spPr>
            <a:xfrm>
              <a:off x="1834156" y="1728047"/>
              <a:ext cx="647848" cy="580201"/>
            </a:xfrm>
            <a:prstGeom prst="pie">
              <a:avLst>
                <a:gd name="adj1" fmla="val 16146442"/>
                <a:gd name="adj2" fmla="val 16108233"/>
              </a:avLst>
            </a:prstGeom>
            <a:solidFill>
              <a:schemeClr val="accent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24389" tIns="24389" rIns="24389" bIns="24389" rtlCol="0" anchor="ctr"/>
            <a:lstStyle/>
            <a:p>
              <a:pPr marL="0" marR="0" lvl="0" indent="0" algn="r" defTabSz="4084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SA" sz="9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 Next LT Arabic" panose="020B0503020203050203" pitchFamily="34" charset="-78"/>
                <a:ea typeface="+mn-ea"/>
                <a:cs typeface="DIN Next LT Arabic" panose="020B0503020203050203" pitchFamily="34" charset="-78"/>
              </a:endParaRPr>
            </a:p>
          </p:txBody>
        </p:sp>
        <p:sp>
          <p:nvSpPr>
            <p:cNvPr id="151" name="Oval 150">
              <a:extLst>
                <a:ext uri="{FF2B5EF4-FFF2-40B4-BE49-F238E27FC236}">
                  <a16:creationId xmlns:a16="http://schemas.microsoft.com/office/drawing/2014/main" id="{E399286C-0A18-4B09-B019-52139338E62E}"/>
                </a:ext>
              </a:extLst>
            </p:cNvPr>
            <p:cNvSpPr/>
            <p:nvPr/>
          </p:nvSpPr>
          <p:spPr>
            <a:xfrm>
              <a:off x="1937911" y="1838424"/>
              <a:ext cx="434666" cy="389030"/>
            </a:xfrm>
            <a:prstGeom prst="ellipse">
              <a:avLst/>
            </a:prstGeom>
            <a:solidFill>
              <a:schemeClr val="bg1"/>
            </a:solidFill>
            <a:ln w="10172">
              <a:noFill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">
                <a:rot lat="0" lon="0" rev="600000"/>
              </a:lightRig>
            </a:scene3d>
            <a:sp3d prstMaterial="metal">
              <a:bevelT w="38100" h="57150" prst="angle"/>
            </a:sp3d>
          </p:spPr>
          <p:txBody>
            <a:bodyPr wrap="none" lIns="58783" tIns="58783" rIns="58783" bIns="58783" rtlCol="0" anchor="ctr"/>
            <a:lstStyle/>
            <a:p>
              <a:pPr marL="0" marR="0" lvl="0" indent="0" algn="ctr" defTabSz="58786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676A6E"/>
                  </a:solidFill>
                  <a:effectLst/>
                  <a:uLnTx/>
                  <a:uFillTx/>
                  <a:latin typeface="Trebuchet MS"/>
                  <a:ea typeface="Univers for KPMG Light" charset="0"/>
                  <a:cs typeface="Univers for KPMG Light" charset="0"/>
                </a:rPr>
                <a:t>100%</a:t>
              </a:r>
            </a:p>
          </p:txBody>
        </p:sp>
      </p:grpSp>
      <p:sp>
        <p:nvSpPr>
          <p:cNvPr id="152" name="Shape 7496">
            <a:extLst>
              <a:ext uri="{FF2B5EF4-FFF2-40B4-BE49-F238E27FC236}">
                <a16:creationId xmlns:a16="http://schemas.microsoft.com/office/drawing/2014/main" id="{52220601-9FEF-4873-B219-68E72EBDB954}"/>
              </a:ext>
            </a:extLst>
          </p:cNvPr>
          <p:cNvSpPr/>
          <p:nvPr/>
        </p:nvSpPr>
        <p:spPr>
          <a:xfrm>
            <a:off x="3864284" y="2014309"/>
            <a:ext cx="1850716" cy="224382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 w="12700">
            <a:miter lim="400000"/>
          </a:ln>
        </p:spPr>
        <p:txBody>
          <a:bodyPr lIns="45924" tIns="45924" rIns="45924" bIns="45924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cap="none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 kumimoji="0" sz="2829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Helvetica Light"/>
            </a:endParaRPr>
          </a:p>
        </p:txBody>
      </p:sp>
      <p:sp>
        <p:nvSpPr>
          <p:cNvPr id="153" name="Shape 7496">
            <a:extLst>
              <a:ext uri="{FF2B5EF4-FFF2-40B4-BE49-F238E27FC236}">
                <a16:creationId xmlns:a16="http://schemas.microsoft.com/office/drawing/2014/main" id="{39109D38-4CC6-48A2-BB65-CEDB3BFA8797}"/>
              </a:ext>
            </a:extLst>
          </p:cNvPr>
          <p:cNvSpPr/>
          <p:nvPr/>
        </p:nvSpPr>
        <p:spPr>
          <a:xfrm>
            <a:off x="5769283" y="2014309"/>
            <a:ext cx="4317277" cy="224382"/>
          </a:xfrm>
          <a:prstGeom prst="roundRect">
            <a:avLst>
              <a:gd name="adj" fmla="val 50000"/>
            </a:avLst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endParaRPr sz="1500">
              <a:solidFill>
                <a:schemeClr val="bg1"/>
              </a:solidFill>
              <a:sym typeface="Helvetica Light"/>
            </a:endParaRPr>
          </a:p>
        </p:txBody>
      </p:sp>
      <p:sp>
        <p:nvSpPr>
          <p:cNvPr id="154" name="Shape 7496">
            <a:extLst>
              <a:ext uri="{FF2B5EF4-FFF2-40B4-BE49-F238E27FC236}">
                <a16:creationId xmlns:a16="http://schemas.microsoft.com/office/drawing/2014/main" id="{008212E0-158D-4472-A04C-28091BA01A55}"/>
              </a:ext>
            </a:extLst>
          </p:cNvPr>
          <p:cNvSpPr/>
          <p:nvPr/>
        </p:nvSpPr>
        <p:spPr>
          <a:xfrm>
            <a:off x="3864284" y="2517229"/>
            <a:ext cx="533883" cy="224382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 w="12700">
            <a:miter lim="400000"/>
          </a:ln>
        </p:spPr>
        <p:txBody>
          <a:bodyPr lIns="45924" tIns="45924" rIns="45924" bIns="45924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cap="none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 kumimoji="0" sz="2829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Helvetica Light"/>
            </a:endParaRPr>
          </a:p>
        </p:txBody>
      </p:sp>
      <p:sp>
        <p:nvSpPr>
          <p:cNvPr id="155" name="Shape 7496">
            <a:extLst>
              <a:ext uri="{FF2B5EF4-FFF2-40B4-BE49-F238E27FC236}">
                <a16:creationId xmlns:a16="http://schemas.microsoft.com/office/drawing/2014/main" id="{424BFC9B-59BE-42E9-A3BB-C6F1501D8DDB}"/>
              </a:ext>
            </a:extLst>
          </p:cNvPr>
          <p:cNvSpPr/>
          <p:nvPr/>
        </p:nvSpPr>
        <p:spPr>
          <a:xfrm>
            <a:off x="4519445" y="2517229"/>
            <a:ext cx="1195554" cy="224382"/>
          </a:xfrm>
          <a:prstGeom prst="roundRect">
            <a:avLst>
              <a:gd name="adj" fmla="val 50000"/>
            </a:avLst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endParaRPr sz="1500">
              <a:solidFill>
                <a:schemeClr val="bg1"/>
              </a:solidFill>
              <a:sym typeface="Helvetica Light"/>
            </a:endParaRPr>
          </a:p>
        </p:txBody>
      </p:sp>
      <p:sp>
        <p:nvSpPr>
          <p:cNvPr id="156" name="Shape 7496">
            <a:extLst>
              <a:ext uri="{FF2B5EF4-FFF2-40B4-BE49-F238E27FC236}">
                <a16:creationId xmlns:a16="http://schemas.microsoft.com/office/drawing/2014/main" id="{2432697A-EF8C-44B2-84B4-BEA58A392B83}"/>
              </a:ext>
            </a:extLst>
          </p:cNvPr>
          <p:cNvSpPr/>
          <p:nvPr/>
        </p:nvSpPr>
        <p:spPr>
          <a:xfrm>
            <a:off x="6256156" y="2517229"/>
            <a:ext cx="2522081" cy="224382"/>
          </a:xfrm>
          <a:prstGeom prst="roundRect">
            <a:avLst>
              <a:gd name="adj" fmla="val 50000"/>
            </a:avLst>
          </a:prstGeom>
          <a:solidFill>
            <a:srgbClr val="43B0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endParaRPr sz="1500">
              <a:solidFill>
                <a:schemeClr val="bg1"/>
              </a:solidFill>
              <a:sym typeface="Helvetica Light"/>
            </a:endParaRPr>
          </a:p>
        </p:txBody>
      </p:sp>
      <p:sp>
        <p:nvSpPr>
          <p:cNvPr id="157" name="Shape 7496">
            <a:extLst>
              <a:ext uri="{FF2B5EF4-FFF2-40B4-BE49-F238E27FC236}">
                <a16:creationId xmlns:a16="http://schemas.microsoft.com/office/drawing/2014/main" id="{3A7893EC-FC34-4964-A469-6B6881342799}"/>
              </a:ext>
            </a:extLst>
          </p:cNvPr>
          <p:cNvSpPr/>
          <p:nvPr/>
        </p:nvSpPr>
        <p:spPr>
          <a:xfrm>
            <a:off x="9099224" y="2517229"/>
            <a:ext cx="533883" cy="224382"/>
          </a:xfrm>
          <a:prstGeom prst="roundRect">
            <a:avLst>
              <a:gd name="adj" fmla="val 50000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endParaRPr sz="1500">
              <a:solidFill>
                <a:schemeClr val="bg1"/>
              </a:solidFill>
              <a:sym typeface="Helvetica Light"/>
            </a:endParaRPr>
          </a:p>
        </p:txBody>
      </p:sp>
      <p:sp>
        <p:nvSpPr>
          <p:cNvPr id="158" name="Shape 7496">
            <a:extLst>
              <a:ext uri="{FF2B5EF4-FFF2-40B4-BE49-F238E27FC236}">
                <a16:creationId xmlns:a16="http://schemas.microsoft.com/office/drawing/2014/main" id="{7BF6EDA1-79FB-4C8E-B773-76D1B69BAD32}"/>
              </a:ext>
            </a:extLst>
          </p:cNvPr>
          <p:cNvSpPr/>
          <p:nvPr/>
        </p:nvSpPr>
        <p:spPr>
          <a:xfrm>
            <a:off x="7216140" y="2995384"/>
            <a:ext cx="2369820" cy="224382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 w="12700">
            <a:miter lim="400000"/>
          </a:ln>
        </p:spPr>
        <p:txBody>
          <a:bodyPr lIns="45924" tIns="45924" rIns="45924" bIns="45924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cap="none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 kumimoji="0" sz="2829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Helvetica Light"/>
            </a:endParaRPr>
          </a:p>
        </p:txBody>
      </p:sp>
      <p:sp>
        <p:nvSpPr>
          <p:cNvPr id="159" name="Shape 7496">
            <a:extLst>
              <a:ext uri="{FF2B5EF4-FFF2-40B4-BE49-F238E27FC236}">
                <a16:creationId xmlns:a16="http://schemas.microsoft.com/office/drawing/2014/main" id="{E900F28C-236C-4DB7-AFF6-4FB64879A962}"/>
              </a:ext>
            </a:extLst>
          </p:cNvPr>
          <p:cNvSpPr/>
          <p:nvPr/>
        </p:nvSpPr>
        <p:spPr>
          <a:xfrm>
            <a:off x="7383780" y="3477984"/>
            <a:ext cx="2202180" cy="224382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 w="12700">
            <a:miter lim="400000"/>
          </a:ln>
        </p:spPr>
        <p:txBody>
          <a:bodyPr lIns="45924" tIns="45924" rIns="45924" bIns="45924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cap="none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 kumimoji="0" sz="2829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Helvetica Light"/>
            </a:endParaRPr>
          </a:p>
        </p:txBody>
      </p:sp>
      <p:sp>
        <p:nvSpPr>
          <p:cNvPr id="160" name="Shape 7496">
            <a:extLst>
              <a:ext uri="{FF2B5EF4-FFF2-40B4-BE49-F238E27FC236}">
                <a16:creationId xmlns:a16="http://schemas.microsoft.com/office/drawing/2014/main" id="{89EB4CC2-AFA7-48FD-BB41-0E506774604A}"/>
              </a:ext>
            </a:extLst>
          </p:cNvPr>
          <p:cNvSpPr/>
          <p:nvPr/>
        </p:nvSpPr>
        <p:spPr>
          <a:xfrm>
            <a:off x="3864284" y="3947884"/>
            <a:ext cx="5721676" cy="224382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 w="12700">
            <a:miter lim="400000"/>
          </a:ln>
        </p:spPr>
        <p:txBody>
          <a:bodyPr lIns="45924" tIns="45924" rIns="45924" bIns="45924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cap="none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 kumimoji="0" sz="2829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Helvetica Light"/>
            </a:endParaRPr>
          </a:p>
        </p:txBody>
      </p:sp>
      <p:sp>
        <p:nvSpPr>
          <p:cNvPr id="161" name="Shape 7496">
            <a:extLst>
              <a:ext uri="{FF2B5EF4-FFF2-40B4-BE49-F238E27FC236}">
                <a16:creationId xmlns:a16="http://schemas.microsoft.com/office/drawing/2014/main" id="{ED7D0B46-D89B-494E-89ED-0F1112C63D9A}"/>
              </a:ext>
            </a:extLst>
          </p:cNvPr>
          <p:cNvSpPr/>
          <p:nvPr/>
        </p:nvSpPr>
        <p:spPr>
          <a:xfrm>
            <a:off x="3886336" y="2995384"/>
            <a:ext cx="2369820" cy="224382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12700">
            <a:miter lim="400000"/>
          </a:ln>
        </p:spPr>
        <p:txBody>
          <a:bodyPr lIns="45924" tIns="45924" rIns="45924" bIns="45924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cap="none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 kumimoji="0" sz="2829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Helvetica Light"/>
            </a:endParaRPr>
          </a:p>
        </p:txBody>
      </p:sp>
      <p:sp>
        <p:nvSpPr>
          <p:cNvPr id="162" name="Shape 7496">
            <a:extLst>
              <a:ext uri="{FF2B5EF4-FFF2-40B4-BE49-F238E27FC236}">
                <a16:creationId xmlns:a16="http://schemas.microsoft.com/office/drawing/2014/main" id="{F8634B6C-75ED-446E-9DE3-51C9E2C86701}"/>
              </a:ext>
            </a:extLst>
          </p:cNvPr>
          <p:cNvSpPr/>
          <p:nvPr/>
        </p:nvSpPr>
        <p:spPr>
          <a:xfrm>
            <a:off x="5349240" y="3452584"/>
            <a:ext cx="906915" cy="224382"/>
          </a:xfrm>
          <a:prstGeom prst="roundRect">
            <a:avLst>
              <a:gd name="adj" fmla="val 50000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endParaRPr sz="1500">
              <a:solidFill>
                <a:schemeClr val="bg1"/>
              </a:solidFill>
              <a:sym typeface="Helvetica Light"/>
            </a:endParaRPr>
          </a:p>
        </p:txBody>
      </p:sp>
      <p:sp>
        <p:nvSpPr>
          <p:cNvPr id="163" name="Shape 7496">
            <a:extLst>
              <a:ext uri="{FF2B5EF4-FFF2-40B4-BE49-F238E27FC236}">
                <a16:creationId xmlns:a16="http://schemas.microsoft.com/office/drawing/2014/main" id="{01B4CE15-B444-4402-90F3-4C61952FF0EB}"/>
              </a:ext>
            </a:extLst>
          </p:cNvPr>
          <p:cNvSpPr/>
          <p:nvPr/>
        </p:nvSpPr>
        <p:spPr>
          <a:xfrm>
            <a:off x="3864284" y="4434528"/>
            <a:ext cx="5721676" cy="224382"/>
          </a:xfrm>
          <a:prstGeom prst="roundRect">
            <a:avLst>
              <a:gd name="adj" fmla="val 50000"/>
            </a:avLst>
          </a:prstGeom>
          <a:pattFill prst="pct60">
            <a:fgClr>
              <a:schemeClr val="tx1"/>
            </a:fgClr>
            <a:bgClr>
              <a:schemeClr val="bg1"/>
            </a:bgClr>
          </a:patt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endParaRPr sz="1500">
              <a:solidFill>
                <a:schemeClr val="bg1"/>
              </a:solidFill>
              <a:sym typeface="Helvetica Light"/>
            </a:endParaRPr>
          </a:p>
        </p:txBody>
      </p:sp>
      <p:sp>
        <p:nvSpPr>
          <p:cNvPr id="164" name="Shape 7496">
            <a:extLst>
              <a:ext uri="{FF2B5EF4-FFF2-40B4-BE49-F238E27FC236}">
                <a16:creationId xmlns:a16="http://schemas.microsoft.com/office/drawing/2014/main" id="{B3DE8FFE-EF46-4FDA-873D-8F07D79F8475}"/>
              </a:ext>
            </a:extLst>
          </p:cNvPr>
          <p:cNvSpPr/>
          <p:nvPr/>
        </p:nvSpPr>
        <p:spPr>
          <a:xfrm>
            <a:off x="3864284" y="4915295"/>
            <a:ext cx="5721676" cy="224382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 w="12700">
            <a:miter lim="400000"/>
          </a:ln>
        </p:spPr>
        <p:txBody>
          <a:bodyPr lIns="45924" tIns="45924" rIns="45924" bIns="45924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cap="none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 kumimoji="0" sz="2829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Helvetica Light"/>
            </a:endParaRPr>
          </a:p>
        </p:txBody>
      </p:sp>
      <p:sp>
        <p:nvSpPr>
          <p:cNvPr id="165" name="Shape 7496">
            <a:extLst>
              <a:ext uri="{FF2B5EF4-FFF2-40B4-BE49-F238E27FC236}">
                <a16:creationId xmlns:a16="http://schemas.microsoft.com/office/drawing/2014/main" id="{6211402D-7702-497B-B99D-21A4AF67CE2B}"/>
              </a:ext>
            </a:extLst>
          </p:cNvPr>
          <p:cNvSpPr/>
          <p:nvPr/>
        </p:nvSpPr>
        <p:spPr>
          <a:xfrm>
            <a:off x="3864284" y="5405489"/>
            <a:ext cx="1682023" cy="224382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12700">
            <a:miter lim="400000"/>
          </a:ln>
        </p:spPr>
        <p:txBody>
          <a:bodyPr lIns="45924" tIns="45924" rIns="45924" bIns="45924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cap="none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 kumimoji="0" sz="2829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Helvetica Ligh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7F18211-D30B-4524-A52B-3269294BF6E8}"/>
              </a:ext>
            </a:extLst>
          </p:cNvPr>
          <p:cNvSpPr txBox="1"/>
          <p:nvPr/>
        </p:nvSpPr>
        <p:spPr>
          <a:xfrm rot="18358206">
            <a:off x="-1340883" y="2509006"/>
            <a:ext cx="8063507" cy="1721069"/>
          </a:xfrm>
          <a:prstGeom prst="rect">
            <a:avLst/>
          </a:prstGeom>
          <a:solidFill>
            <a:srgbClr val="FFFF00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5000">
                <a:solidFill>
                  <a:schemeClr val="tx2"/>
                </a:solidFill>
              </a:rPr>
              <a:t>Use the Other Sheet</a:t>
            </a:r>
          </a:p>
        </p:txBody>
      </p:sp>
    </p:spTree>
    <p:extLst>
      <p:ext uri="{BB962C8B-B14F-4D97-AF65-F5344CB8AC3E}">
        <p14:creationId xmlns:p14="http://schemas.microsoft.com/office/powerpoint/2010/main" val="8698893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B8D522B9-1072-4709-B8F4-F67CB8FE90E3}"/>
              </a:ext>
            </a:extLst>
          </p:cNvPr>
          <p:cNvSpPr/>
          <p:nvPr/>
        </p:nvSpPr>
        <p:spPr>
          <a:xfrm>
            <a:off x="390525" y="939682"/>
            <a:ext cx="11298479" cy="571009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E2A5CB8D-9C30-499F-9612-0B3072D7EA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0724" y="181834"/>
            <a:ext cx="10185600" cy="518400"/>
          </a:xfrm>
        </p:spPr>
        <p:txBody>
          <a:bodyPr/>
          <a:lstStyle/>
          <a:p>
            <a:r>
              <a:rPr lang="en-AU"/>
              <a:t>Executive summary projects portfolio 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88B87A0-0E29-4287-BBFB-1DBFB0FE6A28}"/>
              </a:ext>
            </a:extLst>
          </p:cNvPr>
          <p:cNvGrpSpPr/>
          <p:nvPr/>
        </p:nvGrpSpPr>
        <p:grpSpPr>
          <a:xfrm>
            <a:off x="536989" y="6472802"/>
            <a:ext cx="7774923" cy="215444"/>
            <a:chOff x="2230620" y="6236115"/>
            <a:chExt cx="7774923" cy="215444"/>
          </a:xfrm>
        </p:grpSpPr>
        <p:sp>
          <p:nvSpPr>
            <p:cNvPr id="124" name="Oval 2">
              <a:extLst>
                <a:ext uri="{FF2B5EF4-FFF2-40B4-BE49-F238E27FC236}">
                  <a16:creationId xmlns:a16="http://schemas.microsoft.com/office/drawing/2014/main" id="{D6EE5292-1042-44E2-84B2-75F28611F42D}"/>
                </a:ext>
              </a:extLst>
            </p:cNvPr>
            <p:cNvSpPr/>
            <p:nvPr/>
          </p:nvSpPr>
          <p:spPr>
            <a:xfrm>
              <a:off x="3438109" y="6240954"/>
              <a:ext cx="205766" cy="205766"/>
            </a:xfrm>
            <a:prstGeom prst="ellipse">
              <a:avLst/>
            </a:prstGeom>
            <a:solidFill>
              <a:srgbClr val="FFFF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CA" sz="800">
                  <a:solidFill>
                    <a:schemeClr val="tx1"/>
                  </a:solidFill>
                </a:rPr>
                <a:t>Y</a:t>
              </a:r>
              <a:endParaRPr lang="en-US" sz="800">
                <a:solidFill>
                  <a:schemeClr val="tx1"/>
                </a:solidFill>
              </a:endParaRPr>
            </a:p>
          </p:txBody>
        </p:sp>
        <p:sp>
          <p:nvSpPr>
            <p:cNvPr id="125" name="Oval 4">
              <a:extLst>
                <a:ext uri="{FF2B5EF4-FFF2-40B4-BE49-F238E27FC236}">
                  <a16:creationId xmlns:a16="http://schemas.microsoft.com/office/drawing/2014/main" id="{5FC471C6-B807-40A6-9B5A-A13D8C4691D3}"/>
                </a:ext>
              </a:extLst>
            </p:cNvPr>
            <p:cNvSpPr/>
            <p:nvPr/>
          </p:nvSpPr>
          <p:spPr>
            <a:xfrm>
              <a:off x="5190279" y="6240954"/>
              <a:ext cx="205766" cy="205766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CA" sz="800">
                  <a:solidFill>
                    <a:schemeClr val="bg1"/>
                  </a:solidFill>
                </a:rPr>
                <a:t>A</a:t>
              </a:r>
              <a:endParaRPr lang="en-US" sz="800">
                <a:solidFill>
                  <a:schemeClr val="bg1"/>
                </a:solidFill>
              </a:endParaRPr>
            </a:p>
          </p:txBody>
        </p:sp>
        <p:sp>
          <p:nvSpPr>
            <p:cNvPr id="126" name="Oval 5">
              <a:extLst>
                <a:ext uri="{FF2B5EF4-FFF2-40B4-BE49-F238E27FC236}">
                  <a16:creationId xmlns:a16="http://schemas.microsoft.com/office/drawing/2014/main" id="{E3137593-86CE-451A-B8C3-F3CBB50DAFD7}"/>
                </a:ext>
              </a:extLst>
            </p:cNvPr>
            <p:cNvSpPr/>
            <p:nvPr/>
          </p:nvSpPr>
          <p:spPr>
            <a:xfrm>
              <a:off x="7240134" y="6240954"/>
              <a:ext cx="205766" cy="205766"/>
            </a:xfrm>
            <a:prstGeom prst="ellipse">
              <a:avLst/>
            </a:prstGeom>
            <a:solidFill>
              <a:srgbClr val="C00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CA" sz="800">
                  <a:solidFill>
                    <a:schemeClr val="bg1"/>
                  </a:solidFill>
                </a:rPr>
                <a:t>R</a:t>
              </a:r>
              <a:endParaRPr lang="en-US" sz="800">
                <a:solidFill>
                  <a:schemeClr val="bg1"/>
                </a:solidFill>
              </a:endParaRPr>
            </a:p>
          </p:txBody>
        </p:sp>
        <p:sp>
          <p:nvSpPr>
            <p:cNvPr id="127" name="Oval 5">
              <a:extLst>
                <a:ext uri="{FF2B5EF4-FFF2-40B4-BE49-F238E27FC236}">
                  <a16:creationId xmlns:a16="http://schemas.microsoft.com/office/drawing/2014/main" id="{0C9BE845-4F95-4C65-B4D0-4EDAD851C469}"/>
                </a:ext>
              </a:extLst>
            </p:cNvPr>
            <p:cNvSpPr/>
            <p:nvPr/>
          </p:nvSpPr>
          <p:spPr>
            <a:xfrm>
              <a:off x="2230620" y="6240954"/>
              <a:ext cx="205766" cy="205766"/>
            </a:xfrm>
            <a:prstGeom prst="ellipse">
              <a:avLst/>
            </a:prstGeom>
            <a:solidFill>
              <a:srgbClr val="92D05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CA" sz="800" b="1">
                  <a:solidFill>
                    <a:schemeClr val="bg1"/>
                  </a:solidFill>
                </a:rPr>
                <a:t>G</a:t>
              </a:r>
              <a:endParaRPr lang="en-US" sz="800" b="1">
                <a:solidFill>
                  <a:schemeClr val="bg1"/>
                </a:solidFill>
              </a:endParaRPr>
            </a:p>
          </p:txBody>
        </p:sp>
        <p:sp>
          <p:nvSpPr>
            <p:cNvPr id="128" name="ZoneTexte 16">
              <a:extLst>
                <a:ext uri="{FF2B5EF4-FFF2-40B4-BE49-F238E27FC236}">
                  <a16:creationId xmlns:a16="http://schemas.microsoft.com/office/drawing/2014/main" id="{0310B6C7-CCE3-4164-885B-849AD0478E5F}"/>
                </a:ext>
              </a:extLst>
            </p:cNvPr>
            <p:cNvSpPr txBox="1"/>
            <p:nvPr/>
          </p:nvSpPr>
          <p:spPr>
            <a:xfrm>
              <a:off x="2386478" y="6236115"/>
              <a:ext cx="98613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CA" sz="800">
                  <a:solidFill>
                    <a:schemeClr val="bg1"/>
                  </a:solidFill>
                </a:rPr>
                <a:t>Under control</a:t>
              </a:r>
              <a:endParaRPr lang="en-US" sz="800">
                <a:solidFill>
                  <a:schemeClr val="bg1"/>
                </a:solidFill>
              </a:endParaRPr>
            </a:p>
          </p:txBody>
        </p:sp>
        <p:sp>
          <p:nvSpPr>
            <p:cNvPr id="129" name="ZoneTexte 17">
              <a:extLst>
                <a:ext uri="{FF2B5EF4-FFF2-40B4-BE49-F238E27FC236}">
                  <a16:creationId xmlns:a16="http://schemas.microsoft.com/office/drawing/2014/main" id="{51C69D90-DCBF-4F25-B3CF-9CFA518E4C54}"/>
                </a:ext>
              </a:extLst>
            </p:cNvPr>
            <p:cNvSpPr txBox="1"/>
            <p:nvPr/>
          </p:nvSpPr>
          <p:spPr>
            <a:xfrm>
              <a:off x="3593967" y="6236115"/>
              <a:ext cx="158097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CA" sz="800">
                  <a:solidFill>
                    <a:schemeClr val="bg1"/>
                  </a:solidFill>
                </a:rPr>
                <a:t>To be monitored closely</a:t>
              </a:r>
            </a:p>
          </p:txBody>
        </p:sp>
        <p:sp>
          <p:nvSpPr>
            <p:cNvPr id="130" name="ZoneTexte 18">
              <a:extLst>
                <a:ext uri="{FF2B5EF4-FFF2-40B4-BE49-F238E27FC236}">
                  <a16:creationId xmlns:a16="http://schemas.microsoft.com/office/drawing/2014/main" id="{920A89FC-ED32-457E-A358-07525D66C58D}"/>
                </a:ext>
              </a:extLst>
            </p:cNvPr>
            <p:cNvSpPr txBox="1"/>
            <p:nvPr/>
          </p:nvSpPr>
          <p:spPr>
            <a:xfrm>
              <a:off x="5345036" y="6236116"/>
              <a:ext cx="1699757" cy="2154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CA" sz="800">
                  <a:solidFill>
                    <a:schemeClr val="bg1"/>
                  </a:solidFill>
                </a:rPr>
                <a:t>Requires immediate attention</a:t>
              </a:r>
              <a:endParaRPr lang="en-US" sz="800">
                <a:solidFill>
                  <a:schemeClr val="bg1"/>
                </a:solidFill>
              </a:endParaRPr>
            </a:p>
          </p:txBody>
        </p:sp>
        <p:sp>
          <p:nvSpPr>
            <p:cNvPr id="131" name="ZoneTexte 19">
              <a:extLst>
                <a:ext uri="{FF2B5EF4-FFF2-40B4-BE49-F238E27FC236}">
                  <a16:creationId xmlns:a16="http://schemas.microsoft.com/office/drawing/2014/main" id="{C551D16D-3FEC-4CCF-9AE9-C2BDDD2137FD}"/>
                </a:ext>
              </a:extLst>
            </p:cNvPr>
            <p:cNvSpPr txBox="1"/>
            <p:nvPr/>
          </p:nvSpPr>
          <p:spPr>
            <a:xfrm>
              <a:off x="7395993" y="6236115"/>
              <a:ext cx="260955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>
                  <a:solidFill>
                    <a:schemeClr val="bg1"/>
                  </a:solidFill>
                </a:rPr>
                <a:t>Pause work while deploying corrective actions</a:t>
              </a:r>
            </a:p>
          </p:txBody>
        </p:sp>
      </p:grp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C0670674-47D8-4E96-8DAA-05F2E1F78F2C}"/>
              </a:ext>
            </a:extLst>
          </p:cNvPr>
          <p:cNvCxnSpPr/>
          <p:nvPr/>
        </p:nvCxnSpPr>
        <p:spPr>
          <a:xfrm>
            <a:off x="390525" y="1526522"/>
            <a:ext cx="11298480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37C8B06-BC59-43CF-B408-DE2CE05DF163}"/>
              </a:ext>
            </a:extLst>
          </p:cNvPr>
          <p:cNvCxnSpPr>
            <a:cxnSpLocks/>
          </p:cNvCxnSpPr>
          <p:nvPr/>
        </p:nvCxnSpPr>
        <p:spPr>
          <a:xfrm>
            <a:off x="3127343" y="939682"/>
            <a:ext cx="0" cy="4717472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FD1E3A9-4794-40C9-975E-843D400425C2}"/>
              </a:ext>
            </a:extLst>
          </p:cNvPr>
          <p:cNvCxnSpPr>
            <a:cxnSpLocks/>
          </p:cNvCxnSpPr>
          <p:nvPr/>
        </p:nvCxnSpPr>
        <p:spPr>
          <a:xfrm>
            <a:off x="6050963" y="939682"/>
            <a:ext cx="0" cy="4717472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1719DF9-5C98-42B2-B52E-25A2220A204B}"/>
              </a:ext>
            </a:extLst>
          </p:cNvPr>
          <p:cNvCxnSpPr>
            <a:cxnSpLocks/>
          </p:cNvCxnSpPr>
          <p:nvPr/>
        </p:nvCxnSpPr>
        <p:spPr>
          <a:xfrm>
            <a:off x="9063256" y="939682"/>
            <a:ext cx="0" cy="4717472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7B6E0357-AB00-4878-AF07-8936C49E55D6}"/>
              </a:ext>
            </a:extLst>
          </p:cNvPr>
          <p:cNvSpPr txBox="1"/>
          <p:nvPr/>
        </p:nvSpPr>
        <p:spPr>
          <a:xfrm>
            <a:off x="6523028" y="6165912"/>
            <a:ext cx="1578110" cy="220862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000" b="1">
                <a:solidFill>
                  <a:schemeClr val="bg1"/>
                </a:solidFill>
              </a:rPr>
              <a:t>Projects Complet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66685B5-98B2-4261-87C1-F53C1A80679E}"/>
              </a:ext>
            </a:extLst>
          </p:cNvPr>
          <p:cNvSpPr txBox="1"/>
          <p:nvPr/>
        </p:nvSpPr>
        <p:spPr>
          <a:xfrm>
            <a:off x="1218674" y="1013936"/>
            <a:ext cx="707587" cy="267183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200" b="1">
                <a:solidFill>
                  <a:schemeClr val="bg1"/>
                </a:solidFill>
              </a:rPr>
              <a:t>Q1 22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104DB4D-CA35-4B19-984B-D97E0FBC777C}"/>
              </a:ext>
            </a:extLst>
          </p:cNvPr>
          <p:cNvSpPr txBox="1"/>
          <p:nvPr/>
        </p:nvSpPr>
        <p:spPr>
          <a:xfrm>
            <a:off x="4127991" y="962820"/>
            <a:ext cx="707587" cy="267183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200" b="1">
                <a:solidFill>
                  <a:schemeClr val="bg1"/>
                </a:solidFill>
              </a:rPr>
              <a:t>Q2 22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9536F91-9224-4C77-8AA7-338F00D31E7F}"/>
              </a:ext>
            </a:extLst>
          </p:cNvPr>
          <p:cNvSpPr txBox="1"/>
          <p:nvPr/>
        </p:nvSpPr>
        <p:spPr>
          <a:xfrm>
            <a:off x="6960151" y="955513"/>
            <a:ext cx="707587" cy="267183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200" b="1">
                <a:solidFill>
                  <a:schemeClr val="bg1"/>
                </a:solidFill>
              </a:rPr>
              <a:t>Q3 22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C943FF0-B30C-44F8-A0DA-CEA4EB615142}"/>
              </a:ext>
            </a:extLst>
          </p:cNvPr>
          <p:cNvSpPr txBox="1"/>
          <p:nvPr/>
        </p:nvSpPr>
        <p:spPr>
          <a:xfrm>
            <a:off x="9968966" y="942612"/>
            <a:ext cx="707587" cy="267183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200" b="1">
                <a:solidFill>
                  <a:schemeClr val="bg1"/>
                </a:solidFill>
              </a:rPr>
              <a:t>Q4 22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29A8ED4-DBCD-4D38-A0B0-23BFF4FA1264}"/>
              </a:ext>
            </a:extLst>
          </p:cNvPr>
          <p:cNvCxnSpPr>
            <a:cxnSpLocks/>
          </p:cNvCxnSpPr>
          <p:nvPr/>
        </p:nvCxnSpPr>
        <p:spPr>
          <a:xfrm>
            <a:off x="5359638" y="1521206"/>
            <a:ext cx="0" cy="4086225"/>
          </a:xfrm>
          <a:prstGeom prst="line">
            <a:avLst/>
          </a:prstGeom>
          <a:ln>
            <a:solidFill>
              <a:schemeClr val="bg1"/>
            </a:solidFill>
            <a:prstDash val="lg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A2A9DE87-7E61-452D-B7E3-DE5AC3B52DE6}"/>
              </a:ext>
            </a:extLst>
          </p:cNvPr>
          <p:cNvSpPr/>
          <p:nvPr/>
        </p:nvSpPr>
        <p:spPr>
          <a:xfrm>
            <a:off x="4962445" y="6127589"/>
            <a:ext cx="794384" cy="2778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Today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8CBE89D-7AAE-442A-859E-339052A3D736}"/>
              </a:ext>
            </a:extLst>
          </p:cNvPr>
          <p:cNvGrpSpPr/>
          <p:nvPr/>
        </p:nvGrpSpPr>
        <p:grpSpPr>
          <a:xfrm>
            <a:off x="40213" y="1620985"/>
            <a:ext cx="4636447" cy="544169"/>
            <a:chOff x="1096604" y="1623779"/>
            <a:chExt cx="4636447" cy="544169"/>
          </a:xfrm>
        </p:grpSpPr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E7CA4D63-6CFB-42B5-8704-E1E8A54EFFE5}"/>
                </a:ext>
              </a:extLst>
            </p:cNvPr>
            <p:cNvSpPr/>
            <p:nvPr/>
          </p:nvSpPr>
          <p:spPr>
            <a:xfrm>
              <a:off x="1096604" y="1623779"/>
              <a:ext cx="4636447" cy="544169"/>
            </a:xfrm>
            <a:prstGeom prst="roundRect">
              <a:avLst>
                <a:gd name="adj" fmla="val 50000"/>
              </a:avLst>
            </a:prstGeom>
            <a:solidFill>
              <a:srgbClr val="EAAA00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US" sz="1500" err="1">
                <a:solidFill>
                  <a:schemeClr val="bg1"/>
                </a:solidFill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CBE02C6F-68E6-4419-8EE6-CD8B828A0528}"/>
                </a:ext>
              </a:extLst>
            </p:cNvPr>
            <p:cNvSpPr txBox="1"/>
            <p:nvPr/>
          </p:nvSpPr>
          <p:spPr>
            <a:xfrm>
              <a:off x="1169017" y="1637140"/>
              <a:ext cx="1508744" cy="312644"/>
            </a:xfrm>
            <a:prstGeom prst="rect">
              <a:avLst/>
            </a:prstGeom>
            <a:noFill/>
          </p:spPr>
          <p:txBody>
            <a:bodyPr wrap="square" lIns="54610" tIns="54610" rIns="54610" bIns="54610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900" b="1" dirty="0">
                  <a:solidFill>
                    <a:schemeClr val="bg1"/>
                  </a:solidFill>
                </a:rPr>
                <a:t>CITC Data Dictionary</a:t>
              </a:r>
            </a:p>
          </p:txBody>
        </p:sp>
        <p:sp>
          <p:nvSpPr>
            <p:cNvPr id="38" name="Oval 4">
              <a:extLst>
                <a:ext uri="{FF2B5EF4-FFF2-40B4-BE49-F238E27FC236}">
                  <a16:creationId xmlns:a16="http://schemas.microsoft.com/office/drawing/2014/main" id="{F5CBB671-6680-4C6A-90B9-26580BEFE1E7}"/>
                </a:ext>
              </a:extLst>
            </p:cNvPr>
            <p:cNvSpPr/>
            <p:nvPr/>
          </p:nvSpPr>
          <p:spPr>
            <a:xfrm>
              <a:off x="1178443" y="1895862"/>
              <a:ext cx="213056" cy="188954"/>
            </a:xfrm>
            <a:prstGeom prst="ellipse">
              <a:avLst/>
            </a:prstGeom>
            <a:solidFill>
              <a:srgbClr val="43B02A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CA" sz="800" dirty="0">
                  <a:solidFill>
                    <a:schemeClr val="bg1"/>
                  </a:solidFill>
                </a:rPr>
                <a:t>S</a:t>
              </a:r>
              <a:endParaRPr lang="en-US" sz="800" dirty="0">
                <a:solidFill>
                  <a:schemeClr val="bg1"/>
                </a:solidFill>
              </a:endParaRPr>
            </a:p>
          </p:txBody>
        </p:sp>
        <p:sp>
          <p:nvSpPr>
            <p:cNvPr id="39" name="Oval 4">
              <a:extLst>
                <a:ext uri="{FF2B5EF4-FFF2-40B4-BE49-F238E27FC236}">
                  <a16:creationId xmlns:a16="http://schemas.microsoft.com/office/drawing/2014/main" id="{53FAC8A4-B741-4F1C-8FB4-957E437F3C97}"/>
                </a:ext>
              </a:extLst>
            </p:cNvPr>
            <p:cNvSpPr/>
            <p:nvPr/>
          </p:nvSpPr>
          <p:spPr>
            <a:xfrm>
              <a:off x="1523502" y="1895862"/>
              <a:ext cx="213056" cy="188954"/>
            </a:xfrm>
            <a:prstGeom prst="ellipse">
              <a:avLst/>
            </a:prstGeom>
            <a:solidFill>
              <a:srgbClr val="43B02A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CA" sz="800">
                  <a:solidFill>
                    <a:schemeClr val="bg1"/>
                  </a:solidFill>
                </a:rPr>
                <a:t>B</a:t>
              </a:r>
              <a:endParaRPr lang="en-US" sz="800">
                <a:solidFill>
                  <a:schemeClr val="bg1"/>
                </a:solidFill>
              </a:endParaRPr>
            </a:p>
          </p:txBody>
        </p:sp>
        <p:sp>
          <p:nvSpPr>
            <p:cNvPr id="40" name="Oval 4">
              <a:extLst>
                <a:ext uri="{FF2B5EF4-FFF2-40B4-BE49-F238E27FC236}">
                  <a16:creationId xmlns:a16="http://schemas.microsoft.com/office/drawing/2014/main" id="{53241CEE-993D-4ACD-ACAD-B089BBAB0D10}"/>
                </a:ext>
              </a:extLst>
            </p:cNvPr>
            <p:cNvSpPr/>
            <p:nvPr/>
          </p:nvSpPr>
          <p:spPr>
            <a:xfrm>
              <a:off x="1863394" y="1889976"/>
              <a:ext cx="213056" cy="188954"/>
            </a:xfrm>
            <a:prstGeom prst="ellipse">
              <a:avLst/>
            </a:prstGeom>
            <a:solidFill>
              <a:srgbClr val="43B02A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CA" sz="800">
                  <a:solidFill>
                    <a:schemeClr val="bg1"/>
                  </a:solidFill>
                </a:rPr>
                <a:t>R</a:t>
              </a:r>
              <a:endParaRPr lang="en-US" sz="800">
                <a:solidFill>
                  <a:schemeClr val="bg1"/>
                </a:solidFill>
              </a:endParaRPr>
            </a:p>
          </p:txBody>
        </p:sp>
        <p:sp>
          <p:nvSpPr>
            <p:cNvPr id="41" name="Oval 4">
              <a:extLst>
                <a:ext uri="{FF2B5EF4-FFF2-40B4-BE49-F238E27FC236}">
                  <a16:creationId xmlns:a16="http://schemas.microsoft.com/office/drawing/2014/main" id="{D7AC1E9E-91BA-4E88-96FB-11E93AE05417}"/>
                </a:ext>
              </a:extLst>
            </p:cNvPr>
            <p:cNvSpPr/>
            <p:nvPr/>
          </p:nvSpPr>
          <p:spPr>
            <a:xfrm>
              <a:off x="5214071" y="1648597"/>
              <a:ext cx="485144" cy="48352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00">
                <a:solidFill>
                  <a:schemeClr val="tx1"/>
                </a:solidFill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102329A8-0193-4078-8CF6-9A8FC28B099A}"/>
                </a:ext>
              </a:extLst>
            </p:cNvPr>
            <p:cNvSpPr txBox="1"/>
            <p:nvPr/>
          </p:nvSpPr>
          <p:spPr>
            <a:xfrm>
              <a:off x="5181399" y="1715088"/>
              <a:ext cx="543936" cy="228012"/>
            </a:xfrm>
            <a:prstGeom prst="rect">
              <a:avLst/>
            </a:prstGeom>
            <a:noFill/>
          </p:spPr>
          <p:txBody>
            <a:bodyPr wrap="square" lIns="54610" tIns="54610" rIns="54610" bIns="5461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1400" dirty="0">
                  <a:solidFill>
                    <a:srgbClr val="FF0000"/>
                  </a:solidFill>
                  <a:latin typeface="+mj-lt"/>
                </a:rPr>
                <a:t>$ 350K</a:t>
              </a:r>
            </a:p>
          </p:txBody>
        </p:sp>
      </p:grpSp>
      <p:sp>
        <p:nvSpPr>
          <p:cNvPr id="132" name="Rectangle: Rounded Corners 131">
            <a:extLst>
              <a:ext uri="{FF2B5EF4-FFF2-40B4-BE49-F238E27FC236}">
                <a16:creationId xmlns:a16="http://schemas.microsoft.com/office/drawing/2014/main" id="{305FF943-7767-403D-B520-BEC1FA19971B}"/>
              </a:ext>
            </a:extLst>
          </p:cNvPr>
          <p:cNvSpPr/>
          <p:nvPr/>
        </p:nvSpPr>
        <p:spPr>
          <a:xfrm>
            <a:off x="5971250" y="6163262"/>
            <a:ext cx="557241" cy="226163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133" name="Rectangle: Rounded Corners 132">
            <a:extLst>
              <a:ext uri="{FF2B5EF4-FFF2-40B4-BE49-F238E27FC236}">
                <a16:creationId xmlns:a16="http://schemas.microsoft.com/office/drawing/2014/main" id="{3B15AE4E-408B-426B-A2DB-20D370E3B4C8}"/>
              </a:ext>
            </a:extLst>
          </p:cNvPr>
          <p:cNvSpPr/>
          <p:nvPr/>
        </p:nvSpPr>
        <p:spPr>
          <a:xfrm>
            <a:off x="8189997" y="6163262"/>
            <a:ext cx="557241" cy="226163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134" name="Rectangle: Rounded Corners 133">
            <a:extLst>
              <a:ext uri="{FF2B5EF4-FFF2-40B4-BE49-F238E27FC236}">
                <a16:creationId xmlns:a16="http://schemas.microsoft.com/office/drawing/2014/main" id="{7D6EEF8E-F1C7-43F7-BAB8-3608F12D3C4E}"/>
              </a:ext>
            </a:extLst>
          </p:cNvPr>
          <p:cNvSpPr/>
          <p:nvPr/>
        </p:nvSpPr>
        <p:spPr>
          <a:xfrm>
            <a:off x="10081764" y="6163262"/>
            <a:ext cx="557241" cy="22616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C59B27F-F94E-4814-876D-F5D2972FAB3B}"/>
              </a:ext>
            </a:extLst>
          </p:cNvPr>
          <p:cNvSpPr txBox="1"/>
          <p:nvPr/>
        </p:nvSpPr>
        <p:spPr>
          <a:xfrm>
            <a:off x="1386484" y="1234595"/>
            <a:ext cx="481434" cy="267183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000">
                <a:solidFill>
                  <a:schemeClr val="bg1"/>
                </a:solidFill>
              </a:rPr>
              <a:t>Feb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E822A63-C492-484B-BE5A-ABB8F5130FB9}"/>
              </a:ext>
            </a:extLst>
          </p:cNvPr>
          <p:cNvSpPr txBox="1"/>
          <p:nvPr/>
        </p:nvSpPr>
        <p:spPr>
          <a:xfrm>
            <a:off x="2366334" y="1234595"/>
            <a:ext cx="481434" cy="267181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000">
                <a:solidFill>
                  <a:schemeClr val="bg1"/>
                </a:solidFill>
              </a:rPr>
              <a:t>March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BAC2E2F-5AFD-4AF4-9654-51B83672689E}"/>
              </a:ext>
            </a:extLst>
          </p:cNvPr>
          <p:cNvSpPr txBox="1"/>
          <p:nvPr/>
        </p:nvSpPr>
        <p:spPr>
          <a:xfrm>
            <a:off x="3346185" y="1234595"/>
            <a:ext cx="481434" cy="267183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000">
                <a:solidFill>
                  <a:schemeClr val="bg1"/>
                </a:solidFill>
              </a:rPr>
              <a:t>April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A4361C5-4BD2-4B18-A42C-FD50E077E492}"/>
              </a:ext>
            </a:extLst>
          </p:cNvPr>
          <p:cNvSpPr txBox="1"/>
          <p:nvPr/>
        </p:nvSpPr>
        <p:spPr>
          <a:xfrm>
            <a:off x="4326036" y="1234595"/>
            <a:ext cx="481434" cy="267183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000">
                <a:solidFill>
                  <a:schemeClr val="bg1"/>
                </a:solidFill>
              </a:rPr>
              <a:t>Ma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0959CE-D478-4ABA-A447-10AD1508563F}"/>
              </a:ext>
            </a:extLst>
          </p:cNvPr>
          <p:cNvSpPr txBox="1"/>
          <p:nvPr/>
        </p:nvSpPr>
        <p:spPr>
          <a:xfrm>
            <a:off x="5305886" y="1234595"/>
            <a:ext cx="481434" cy="267181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000">
                <a:solidFill>
                  <a:schemeClr val="bg1"/>
                </a:solidFill>
              </a:rPr>
              <a:t>Ju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482CC95-6AB7-455D-A7F5-FDA22663EB04}"/>
              </a:ext>
            </a:extLst>
          </p:cNvPr>
          <p:cNvSpPr txBox="1"/>
          <p:nvPr/>
        </p:nvSpPr>
        <p:spPr>
          <a:xfrm>
            <a:off x="6285737" y="1234595"/>
            <a:ext cx="481434" cy="267183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000">
                <a:solidFill>
                  <a:schemeClr val="bg1"/>
                </a:solidFill>
              </a:rPr>
              <a:t>Jul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40556C4-7DF6-427F-9C7E-D0F5F1C02817}"/>
              </a:ext>
            </a:extLst>
          </p:cNvPr>
          <p:cNvSpPr txBox="1"/>
          <p:nvPr/>
        </p:nvSpPr>
        <p:spPr>
          <a:xfrm>
            <a:off x="7265588" y="1234595"/>
            <a:ext cx="481434" cy="267183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000">
                <a:solidFill>
                  <a:schemeClr val="bg1"/>
                </a:solidFill>
              </a:rPr>
              <a:t>Aug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8159208-2865-41FC-848D-B35553BA36EA}"/>
              </a:ext>
            </a:extLst>
          </p:cNvPr>
          <p:cNvSpPr txBox="1"/>
          <p:nvPr/>
        </p:nvSpPr>
        <p:spPr>
          <a:xfrm>
            <a:off x="8245439" y="1234595"/>
            <a:ext cx="481434" cy="267181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000">
                <a:solidFill>
                  <a:schemeClr val="bg1"/>
                </a:solidFill>
              </a:rPr>
              <a:t>Sep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F12BD48-23ED-4803-893B-D6BA8404CF29}"/>
              </a:ext>
            </a:extLst>
          </p:cNvPr>
          <p:cNvSpPr txBox="1"/>
          <p:nvPr/>
        </p:nvSpPr>
        <p:spPr>
          <a:xfrm>
            <a:off x="9225289" y="1234595"/>
            <a:ext cx="481434" cy="267183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000">
                <a:solidFill>
                  <a:schemeClr val="bg1"/>
                </a:solidFill>
              </a:rPr>
              <a:t>Oc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07DD776-9056-4BAA-8BFD-9DE96749DE6D}"/>
              </a:ext>
            </a:extLst>
          </p:cNvPr>
          <p:cNvSpPr txBox="1"/>
          <p:nvPr/>
        </p:nvSpPr>
        <p:spPr>
          <a:xfrm>
            <a:off x="10205140" y="1234595"/>
            <a:ext cx="481434" cy="267183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000">
                <a:solidFill>
                  <a:schemeClr val="bg1"/>
                </a:solidFill>
              </a:rPr>
              <a:t>Nov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1BC3417-5909-4D73-8292-787AE419EF47}"/>
              </a:ext>
            </a:extLst>
          </p:cNvPr>
          <p:cNvSpPr txBox="1"/>
          <p:nvPr/>
        </p:nvSpPr>
        <p:spPr>
          <a:xfrm>
            <a:off x="11184990" y="1234595"/>
            <a:ext cx="481434" cy="267181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000">
                <a:solidFill>
                  <a:schemeClr val="bg1"/>
                </a:solidFill>
              </a:rPr>
              <a:t>Dec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C3769615-FC46-43EF-8A1B-64CD2AACFD29}"/>
              </a:ext>
            </a:extLst>
          </p:cNvPr>
          <p:cNvSpPr txBox="1"/>
          <p:nvPr/>
        </p:nvSpPr>
        <p:spPr>
          <a:xfrm>
            <a:off x="406633" y="1234595"/>
            <a:ext cx="481434" cy="267183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000">
                <a:solidFill>
                  <a:schemeClr val="bg1"/>
                </a:solidFill>
              </a:rPr>
              <a:t>Jan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71293731-09DF-4F17-833C-DAB19C4A12F8}"/>
              </a:ext>
            </a:extLst>
          </p:cNvPr>
          <p:cNvSpPr txBox="1"/>
          <p:nvPr/>
        </p:nvSpPr>
        <p:spPr>
          <a:xfrm>
            <a:off x="8741775" y="6165912"/>
            <a:ext cx="1618193" cy="220862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000" b="1">
                <a:solidFill>
                  <a:schemeClr val="bg1"/>
                </a:solidFill>
              </a:rPr>
              <a:t>Projects in flight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601F0317-74F0-45AF-B0ED-C8F9691DC51C}"/>
              </a:ext>
            </a:extLst>
          </p:cNvPr>
          <p:cNvSpPr txBox="1"/>
          <p:nvPr/>
        </p:nvSpPr>
        <p:spPr>
          <a:xfrm>
            <a:off x="10638332" y="6143116"/>
            <a:ext cx="1465684" cy="26645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000" b="1">
                <a:solidFill>
                  <a:schemeClr val="bg1"/>
                </a:solidFill>
              </a:rPr>
              <a:t>Projects Pipeline</a:t>
            </a:r>
          </a:p>
        </p:txBody>
      </p: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EC8C8694-CC90-4491-AB67-294A78A948F8}"/>
              </a:ext>
            </a:extLst>
          </p:cNvPr>
          <p:cNvGrpSpPr/>
          <p:nvPr/>
        </p:nvGrpSpPr>
        <p:grpSpPr>
          <a:xfrm>
            <a:off x="6271268" y="1620985"/>
            <a:ext cx="1870969" cy="544169"/>
            <a:chOff x="1096604" y="1623779"/>
            <a:chExt cx="1870969" cy="544169"/>
          </a:xfrm>
        </p:grpSpPr>
        <p:sp>
          <p:nvSpPr>
            <p:cNvPr id="140" name="Rectangle: Rounded Corners 139">
              <a:extLst>
                <a:ext uri="{FF2B5EF4-FFF2-40B4-BE49-F238E27FC236}">
                  <a16:creationId xmlns:a16="http://schemas.microsoft.com/office/drawing/2014/main" id="{229483FB-599F-4A99-B451-C56F65FE87E2}"/>
                </a:ext>
              </a:extLst>
            </p:cNvPr>
            <p:cNvSpPr/>
            <p:nvPr/>
          </p:nvSpPr>
          <p:spPr>
            <a:xfrm>
              <a:off x="1096604" y="1623779"/>
              <a:ext cx="1870969" cy="544169"/>
            </a:xfrm>
            <a:prstGeom prst="roundRect">
              <a:avLst>
                <a:gd name="adj" fmla="val 50000"/>
              </a:avLst>
            </a:prstGeom>
            <a:solidFill>
              <a:srgbClr val="EAAA00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US" sz="1500" err="1">
                <a:solidFill>
                  <a:schemeClr val="bg1"/>
                </a:solidFill>
              </a:endParaRP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9C1F6F2D-A00A-4B6F-A79C-974C660B1B3E}"/>
                </a:ext>
              </a:extLst>
            </p:cNvPr>
            <p:cNvSpPr txBox="1"/>
            <p:nvPr/>
          </p:nvSpPr>
          <p:spPr>
            <a:xfrm>
              <a:off x="1169017" y="1637140"/>
              <a:ext cx="1508744" cy="312644"/>
            </a:xfrm>
            <a:prstGeom prst="rect">
              <a:avLst/>
            </a:prstGeom>
            <a:noFill/>
          </p:spPr>
          <p:txBody>
            <a:bodyPr wrap="square" lIns="54610" tIns="54610" rIns="54610" bIns="54610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900" b="1" dirty="0">
                  <a:solidFill>
                    <a:schemeClr val="bg1"/>
                  </a:solidFill>
                </a:rPr>
                <a:t>MA’ADEN</a:t>
              </a:r>
            </a:p>
          </p:txBody>
        </p:sp>
        <p:sp>
          <p:nvSpPr>
            <p:cNvPr id="142" name="Oval 4">
              <a:extLst>
                <a:ext uri="{FF2B5EF4-FFF2-40B4-BE49-F238E27FC236}">
                  <a16:creationId xmlns:a16="http://schemas.microsoft.com/office/drawing/2014/main" id="{BB24896B-2D1C-40A1-989B-7D1BC8A8D2D7}"/>
                </a:ext>
              </a:extLst>
            </p:cNvPr>
            <p:cNvSpPr/>
            <p:nvPr/>
          </p:nvSpPr>
          <p:spPr>
            <a:xfrm>
              <a:off x="1178443" y="1895862"/>
              <a:ext cx="213056" cy="188954"/>
            </a:xfrm>
            <a:prstGeom prst="ellipse">
              <a:avLst/>
            </a:prstGeom>
            <a:solidFill>
              <a:srgbClr val="43B02A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CA" sz="800">
                  <a:solidFill>
                    <a:schemeClr val="bg1"/>
                  </a:solidFill>
                </a:rPr>
                <a:t>S</a:t>
              </a:r>
              <a:endParaRPr lang="en-US" sz="800">
                <a:solidFill>
                  <a:schemeClr val="bg1"/>
                </a:solidFill>
              </a:endParaRPr>
            </a:p>
          </p:txBody>
        </p:sp>
        <p:sp>
          <p:nvSpPr>
            <p:cNvPr id="143" name="Oval 4">
              <a:extLst>
                <a:ext uri="{FF2B5EF4-FFF2-40B4-BE49-F238E27FC236}">
                  <a16:creationId xmlns:a16="http://schemas.microsoft.com/office/drawing/2014/main" id="{6D04C03A-3869-44DA-AD93-A385C905068A}"/>
                </a:ext>
              </a:extLst>
            </p:cNvPr>
            <p:cNvSpPr/>
            <p:nvPr/>
          </p:nvSpPr>
          <p:spPr>
            <a:xfrm>
              <a:off x="1523502" y="1895862"/>
              <a:ext cx="213056" cy="188954"/>
            </a:xfrm>
            <a:prstGeom prst="ellipse">
              <a:avLst/>
            </a:prstGeom>
            <a:solidFill>
              <a:srgbClr val="43B02A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CA" sz="800">
                  <a:solidFill>
                    <a:schemeClr val="bg1"/>
                  </a:solidFill>
                </a:rPr>
                <a:t>B</a:t>
              </a:r>
              <a:endParaRPr lang="en-US" sz="800">
                <a:solidFill>
                  <a:schemeClr val="bg1"/>
                </a:solidFill>
              </a:endParaRPr>
            </a:p>
          </p:txBody>
        </p:sp>
        <p:sp>
          <p:nvSpPr>
            <p:cNvPr id="144" name="Oval 4">
              <a:extLst>
                <a:ext uri="{FF2B5EF4-FFF2-40B4-BE49-F238E27FC236}">
                  <a16:creationId xmlns:a16="http://schemas.microsoft.com/office/drawing/2014/main" id="{F196E876-465E-4903-B3ED-066B6A27DC72}"/>
                </a:ext>
              </a:extLst>
            </p:cNvPr>
            <p:cNvSpPr/>
            <p:nvPr/>
          </p:nvSpPr>
          <p:spPr>
            <a:xfrm>
              <a:off x="1863394" y="1889976"/>
              <a:ext cx="213056" cy="188954"/>
            </a:xfrm>
            <a:prstGeom prst="ellipse">
              <a:avLst/>
            </a:prstGeom>
            <a:solidFill>
              <a:srgbClr val="43B02A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CA" sz="800">
                  <a:solidFill>
                    <a:schemeClr val="bg1"/>
                  </a:solidFill>
                </a:rPr>
                <a:t>R</a:t>
              </a:r>
              <a:endParaRPr lang="en-US" sz="800">
                <a:solidFill>
                  <a:schemeClr val="bg1"/>
                </a:solidFill>
              </a:endParaRPr>
            </a:p>
          </p:txBody>
        </p:sp>
        <p:sp>
          <p:nvSpPr>
            <p:cNvPr id="145" name="Oval 4">
              <a:extLst>
                <a:ext uri="{FF2B5EF4-FFF2-40B4-BE49-F238E27FC236}">
                  <a16:creationId xmlns:a16="http://schemas.microsoft.com/office/drawing/2014/main" id="{5E385D69-019E-4E60-8112-F057B34875C2}"/>
                </a:ext>
              </a:extLst>
            </p:cNvPr>
            <p:cNvSpPr/>
            <p:nvPr/>
          </p:nvSpPr>
          <p:spPr>
            <a:xfrm>
              <a:off x="2431961" y="1648597"/>
              <a:ext cx="485144" cy="48352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00">
                <a:solidFill>
                  <a:schemeClr val="tx1"/>
                </a:solidFill>
              </a:endParaRPr>
            </a:p>
          </p:txBody>
        </p:sp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12793E88-D69B-4F49-9AEC-111E1ADE361D}"/>
                </a:ext>
              </a:extLst>
            </p:cNvPr>
            <p:cNvSpPr txBox="1"/>
            <p:nvPr/>
          </p:nvSpPr>
          <p:spPr>
            <a:xfrm>
              <a:off x="2399289" y="1715088"/>
              <a:ext cx="543936" cy="228012"/>
            </a:xfrm>
            <a:prstGeom prst="rect">
              <a:avLst/>
            </a:prstGeom>
            <a:noFill/>
          </p:spPr>
          <p:txBody>
            <a:bodyPr wrap="square" lIns="54610" tIns="54610" rIns="54610" bIns="5461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1400">
                  <a:solidFill>
                    <a:srgbClr val="FF0000"/>
                  </a:solidFill>
                  <a:latin typeface="+mj-lt"/>
                </a:rPr>
                <a:t>$ 600K</a:t>
              </a:r>
            </a:p>
          </p:txBody>
        </p:sp>
      </p:grp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42549AAA-8151-4EE7-9CDB-CCA4A7AE620B}"/>
              </a:ext>
            </a:extLst>
          </p:cNvPr>
          <p:cNvGrpSpPr/>
          <p:nvPr/>
        </p:nvGrpSpPr>
        <p:grpSpPr>
          <a:xfrm>
            <a:off x="3829336" y="2404123"/>
            <a:ext cx="2403134" cy="544169"/>
            <a:chOff x="1096604" y="1623779"/>
            <a:chExt cx="2403134" cy="544169"/>
          </a:xfrm>
        </p:grpSpPr>
        <p:sp>
          <p:nvSpPr>
            <p:cNvPr id="164" name="Rectangle: Rounded Corners 163">
              <a:extLst>
                <a:ext uri="{FF2B5EF4-FFF2-40B4-BE49-F238E27FC236}">
                  <a16:creationId xmlns:a16="http://schemas.microsoft.com/office/drawing/2014/main" id="{88093538-ADD2-4CBE-91BF-211A7DB07340}"/>
                </a:ext>
              </a:extLst>
            </p:cNvPr>
            <p:cNvSpPr/>
            <p:nvPr/>
          </p:nvSpPr>
          <p:spPr>
            <a:xfrm>
              <a:off x="1096604" y="1623779"/>
              <a:ext cx="2403134" cy="544169"/>
            </a:xfrm>
            <a:prstGeom prst="roundRect">
              <a:avLst>
                <a:gd name="adj" fmla="val 50000"/>
              </a:avLst>
            </a:prstGeom>
            <a:solidFill>
              <a:srgbClr val="EAAA00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US" sz="1500" err="1">
                <a:solidFill>
                  <a:schemeClr val="bg1"/>
                </a:solidFill>
              </a:endParaRPr>
            </a:p>
          </p:txBody>
        </p:sp>
        <p:sp>
          <p:nvSpPr>
            <p:cNvPr id="165" name="TextBox 164">
              <a:extLst>
                <a:ext uri="{FF2B5EF4-FFF2-40B4-BE49-F238E27FC236}">
                  <a16:creationId xmlns:a16="http://schemas.microsoft.com/office/drawing/2014/main" id="{8D542B57-45BC-4946-86FE-2A51C3E3C810}"/>
                </a:ext>
              </a:extLst>
            </p:cNvPr>
            <p:cNvSpPr txBox="1"/>
            <p:nvPr/>
          </p:nvSpPr>
          <p:spPr>
            <a:xfrm>
              <a:off x="1169017" y="1637140"/>
              <a:ext cx="1508744" cy="312644"/>
            </a:xfrm>
            <a:prstGeom prst="rect">
              <a:avLst/>
            </a:prstGeom>
            <a:noFill/>
          </p:spPr>
          <p:txBody>
            <a:bodyPr wrap="square" lIns="54610" tIns="54610" rIns="54610" bIns="54610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900" b="1">
                  <a:solidFill>
                    <a:schemeClr val="bg1"/>
                  </a:solidFill>
                </a:rPr>
                <a:t>MHRSD</a:t>
              </a:r>
            </a:p>
          </p:txBody>
        </p:sp>
        <p:sp>
          <p:nvSpPr>
            <p:cNvPr id="166" name="Oval 4">
              <a:extLst>
                <a:ext uri="{FF2B5EF4-FFF2-40B4-BE49-F238E27FC236}">
                  <a16:creationId xmlns:a16="http://schemas.microsoft.com/office/drawing/2014/main" id="{7C6DFD73-665D-45C4-8972-7FB80BA0C901}"/>
                </a:ext>
              </a:extLst>
            </p:cNvPr>
            <p:cNvSpPr/>
            <p:nvPr/>
          </p:nvSpPr>
          <p:spPr>
            <a:xfrm>
              <a:off x="1178443" y="1895862"/>
              <a:ext cx="213056" cy="188954"/>
            </a:xfrm>
            <a:prstGeom prst="ellipse">
              <a:avLst/>
            </a:prstGeom>
            <a:solidFill>
              <a:srgbClr val="43B02A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CA" sz="800">
                  <a:solidFill>
                    <a:schemeClr val="bg1"/>
                  </a:solidFill>
                </a:rPr>
                <a:t>S</a:t>
              </a:r>
              <a:endParaRPr lang="en-US" sz="800">
                <a:solidFill>
                  <a:schemeClr val="bg1"/>
                </a:solidFill>
              </a:endParaRPr>
            </a:p>
          </p:txBody>
        </p:sp>
        <p:sp>
          <p:nvSpPr>
            <p:cNvPr id="167" name="Oval 4">
              <a:extLst>
                <a:ext uri="{FF2B5EF4-FFF2-40B4-BE49-F238E27FC236}">
                  <a16:creationId xmlns:a16="http://schemas.microsoft.com/office/drawing/2014/main" id="{D92A920B-F9F7-47FB-8407-D8EAE41C3E82}"/>
                </a:ext>
              </a:extLst>
            </p:cNvPr>
            <p:cNvSpPr/>
            <p:nvPr/>
          </p:nvSpPr>
          <p:spPr>
            <a:xfrm>
              <a:off x="1523502" y="1895862"/>
              <a:ext cx="213056" cy="188954"/>
            </a:xfrm>
            <a:prstGeom prst="ellipse">
              <a:avLst/>
            </a:prstGeom>
            <a:solidFill>
              <a:srgbClr val="FFFF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CA" sz="800">
                  <a:solidFill>
                    <a:schemeClr val="tx1"/>
                  </a:solidFill>
                </a:rPr>
                <a:t>B</a:t>
              </a:r>
              <a:endParaRPr lang="en-US" sz="800">
                <a:solidFill>
                  <a:schemeClr val="tx1"/>
                </a:solidFill>
              </a:endParaRPr>
            </a:p>
          </p:txBody>
        </p:sp>
        <p:sp>
          <p:nvSpPr>
            <p:cNvPr id="168" name="Oval 4">
              <a:extLst>
                <a:ext uri="{FF2B5EF4-FFF2-40B4-BE49-F238E27FC236}">
                  <a16:creationId xmlns:a16="http://schemas.microsoft.com/office/drawing/2014/main" id="{AB24B1D3-260D-4604-AC4C-E76243DD1C28}"/>
                </a:ext>
              </a:extLst>
            </p:cNvPr>
            <p:cNvSpPr/>
            <p:nvPr/>
          </p:nvSpPr>
          <p:spPr>
            <a:xfrm>
              <a:off x="1863394" y="1889976"/>
              <a:ext cx="213056" cy="188954"/>
            </a:xfrm>
            <a:prstGeom prst="ellipse">
              <a:avLst/>
            </a:prstGeom>
            <a:solidFill>
              <a:srgbClr val="FFFF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CA" sz="800">
                  <a:solidFill>
                    <a:schemeClr val="tx1"/>
                  </a:solidFill>
                </a:rPr>
                <a:t>R</a:t>
              </a:r>
              <a:endParaRPr lang="en-US" sz="800">
                <a:solidFill>
                  <a:schemeClr val="tx1"/>
                </a:solidFill>
              </a:endParaRPr>
            </a:p>
          </p:txBody>
        </p:sp>
        <p:sp>
          <p:nvSpPr>
            <p:cNvPr id="169" name="Oval 4">
              <a:extLst>
                <a:ext uri="{FF2B5EF4-FFF2-40B4-BE49-F238E27FC236}">
                  <a16:creationId xmlns:a16="http://schemas.microsoft.com/office/drawing/2014/main" id="{6EC6E3E2-8CFD-4287-BC68-635E22631EF4}"/>
                </a:ext>
              </a:extLst>
            </p:cNvPr>
            <p:cNvSpPr/>
            <p:nvPr/>
          </p:nvSpPr>
          <p:spPr>
            <a:xfrm>
              <a:off x="2946110" y="1648597"/>
              <a:ext cx="485144" cy="48352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00">
                <a:solidFill>
                  <a:schemeClr val="tx1"/>
                </a:solidFill>
              </a:endParaRPr>
            </a:p>
          </p:txBody>
        </p:sp>
        <p:sp>
          <p:nvSpPr>
            <p:cNvPr id="170" name="TextBox 169">
              <a:extLst>
                <a:ext uri="{FF2B5EF4-FFF2-40B4-BE49-F238E27FC236}">
                  <a16:creationId xmlns:a16="http://schemas.microsoft.com/office/drawing/2014/main" id="{86339FD7-19B7-4097-8B65-A915A771B6F6}"/>
                </a:ext>
              </a:extLst>
            </p:cNvPr>
            <p:cNvSpPr txBox="1"/>
            <p:nvPr/>
          </p:nvSpPr>
          <p:spPr>
            <a:xfrm>
              <a:off x="2913438" y="1715088"/>
              <a:ext cx="543936" cy="228012"/>
            </a:xfrm>
            <a:prstGeom prst="rect">
              <a:avLst/>
            </a:prstGeom>
            <a:noFill/>
          </p:spPr>
          <p:txBody>
            <a:bodyPr wrap="square" lIns="54610" tIns="54610" rIns="54610" bIns="5461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1400">
                  <a:solidFill>
                    <a:srgbClr val="FF0000"/>
                  </a:solidFill>
                  <a:latin typeface="+mj-lt"/>
                </a:rPr>
                <a:t>$ 600K</a:t>
              </a:r>
            </a:p>
          </p:txBody>
        </p:sp>
      </p:grpSp>
      <p:sp>
        <p:nvSpPr>
          <p:cNvPr id="17" name="Isosceles Triangle 16">
            <a:extLst>
              <a:ext uri="{FF2B5EF4-FFF2-40B4-BE49-F238E27FC236}">
                <a16:creationId xmlns:a16="http://schemas.microsoft.com/office/drawing/2014/main" id="{20B5E6E1-A13C-4612-9A6D-62316BBF996C}"/>
              </a:ext>
            </a:extLst>
          </p:cNvPr>
          <p:cNvSpPr/>
          <p:nvPr/>
        </p:nvSpPr>
        <p:spPr>
          <a:xfrm>
            <a:off x="5234128" y="5495529"/>
            <a:ext cx="251019" cy="216396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B62C4B5D-0667-49D7-B31D-6A8539C449E8}"/>
              </a:ext>
            </a:extLst>
          </p:cNvPr>
          <p:cNvGrpSpPr/>
          <p:nvPr/>
        </p:nvGrpSpPr>
        <p:grpSpPr>
          <a:xfrm>
            <a:off x="79599" y="3067927"/>
            <a:ext cx="6831623" cy="555499"/>
            <a:chOff x="1096604" y="1623779"/>
            <a:chExt cx="4636447" cy="555499"/>
          </a:xfrm>
        </p:grpSpPr>
        <p:sp>
          <p:nvSpPr>
            <p:cNvPr id="67" name="Rectangle: Rounded Corners 66">
              <a:extLst>
                <a:ext uri="{FF2B5EF4-FFF2-40B4-BE49-F238E27FC236}">
                  <a16:creationId xmlns:a16="http://schemas.microsoft.com/office/drawing/2014/main" id="{0534054D-37C0-4883-ABDF-8ECC31D1F872}"/>
                </a:ext>
              </a:extLst>
            </p:cNvPr>
            <p:cNvSpPr/>
            <p:nvPr/>
          </p:nvSpPr>
          <p:spPr>
            <a:xfrm>
              <a:off x="1096604" y="1623779"/>
              <a:ext cx="4636447" cy="544169"/>
            </a:xfrm>
            <a:prstGeom prst="roundRect">
              <a:avLst>
                <a:gd name="adj" fmla="val 50000"/>
              </a:avLst>
            </a:prstGeom>
            <a:solidFill>
              <a:srgbClr val="EAAA00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US" sz="1500" err="1">
                <a:solidFill>
                  <a:schemeClr val="bg1"/>
                </a:solidFill>
              </a:endParaRP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D7D823AF-43A0-4BF7-8FF1-E52F8C921E06}"/>
                </a:ext>
              </a:extLst>
            </p:cNvPr>
            <p:cNvSpPr txBox="1"/>
            <p:nvPr/>
          </p:nvSpPr>
          <p:spPr>
            <a:xfrm>
              <a:off x="1169017" y="1637140"/>
              <a:ext cx="1508744" cy="312644"/>
            </a:xfrm>
            <a:prstGeom prst="rect">
              <a:avLst/>
            </a:prstGeom>
            <a:noFill/>
          </p:spPr>
          <p:txBody>
            <a:bodyPr wrap="square" lIns="54610" tIns="54610" rIns="54610" bIns="54610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900" b="1" dirty="0">
                  <a:solidFill>
                    <a:schemeClr val="bg1"/>
                  </a:solidFill>
                </a:rPr>
                <a:t>Contact Centers CO</a:t>
              </a:r>
            </a:p>
          </p:txBody>
        </p:sp>
        <p:sp>
          <p:nvSpPr>
            <p:cNvPr id="72" name="Oval 4">
              <a:extLst>
                <a:ext uri="{FF2B5EF4-FFF2-40B4-BE49-F238E27FC236}">
                  <a16:creationId xmlns:a16="http://schemas.microsoft.com/office/drawing/2014/main" id="{78423231-9C3D-44C7-8536-FC26083869D7}"/>
                </a:ext>
              </a:extLst>
            </p:cNvPr>
            <p:cNvSpPr/>
            <p:nvPr/>
          </p:nvSpPr>
          <p:spPr>
            <a:xfrm>
              <a:off x="5214071" y="1648597"/>
              <a:ext cx="485144" cy="48352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00">
                <a:solidFill>
                  <a:schemeClr val="tx1"/>
                </a:solidFill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9611C2A7-AF82-4420-9E3F-DCD6523F813D}"/>
                </a:ext>
              </a:extLst>
            </p:cNvPr>
            <p:cNvSpPr txBox="1"/>
            <p:nvPr/>
          </p:nvSpPr>
          <p:spPr>
            <a:xfrm>
              <a:off x="5181399" y="1715088"/>
              <a:ext cx="543936" cy="464190"/>
            </a:xfrm>
            <a:prstGeom prst="rect">
              <a:avLst/>
            </a:prstGeom>
            <a:noFill/>
          </p:spPr>
          <p:txBody>
            <a:bodyPr wrap="square" lIns="54610" tIns="54610" rIns="54610" bIns="5461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1400" dirty="0">
                  <a:solidFill>
                    <a:srgbClr val="FF0000"/>
                  </a:solidFill>
                  <a:latin typeface="+mj-lt"/>
                </a:rPr>
                <a:t>$</a:t>
              </a:r>
            </a:p>
          </p:txBody>
        </p:sp>
      </p:grpSp>
      <p:sp>
        <p:nvSpPr>
          <p:cNvPr id="74" name="Oval 4">
            <a:extLst>
              <a:ext uri="{FF2B5EF4-FFF2-40B4-BE49-F238E27FC236}">
                <a16:creationId xmlns:a16="http://schemas.microsoft.com/office/drawing/2014/main" id="{E6469550-8653-4E4A-9B97-2D9538FC09E1}"/>
              </a:ext>
            </a:extLst>
          </p:cNvPr>
          <p:cNvSpPr/>
          <p:nvPr/>
        </p:nvSpPr>
        <p:spPr>
          <a:xfrm>
            <a:off x="274452" y="3350282"/>
            <a:ext cx="213056" cy="188954"/>
          </a:xfrm>
          <a:prstGeom prst="ellipse">
            <a:avLst/>
          </a:prstGeom>
          <a:solidFill>
            <a:srgbClr val="43B02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A" sz="800" dirty="0">
                <a:solidFill>
                  <a:schemeClr val="bg1"/>
                </a:solidFill>
              </a:rPr>
              <a:t>S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75" name="Oval 4">
            <a:extLst>
              <a:ext uri="{FF2B5EF4-FFF2-40B4-BE49-F238E27FC236}">
                <a16:creationId xmlns:a16="http://schemas.microsoft.com/office/drawing/2014/main" id="{5C93732A-4F68-479C-9AA3-B23C6991CD3B}"/>
              </a:ext>
            </a:extLst>
          </p:cNvPr>
          <p:cNvSpPr/>
          <p:nvPr/>
        </p:nvSpPr>
        <p:spPr>
          <a:xfrm>
            <a:off x="619511" y="3350282"/>
            <a:ext cx="213056" cy="188954"/>
          </a:xfrm>
          <a:prstGeom prst="ellipse">
            <a:avLst/>
          </a:prstGeom>
          <a:solidFill>
            <a:srgbClr val="43B02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A" sz="800">
                <a:solidFill>
                  <a:schemeClr val="bg1"/>
                </a:solidFill>
              </a:rPr>
              <a:t>B</a:t>
            </a:r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76" name="Oval 4">
            <a:extLst>
              <a:ext uri="{FF2B5EF4-FFF2-40B4-BE49-F238E27FC236}">
                <a16:creationId xmlns:a16="http://schemas.microsoft.com/office/drawing/2014/main" id="{E89F3694-7CB7-490F-8518-2CF1C542C06A}"/>
              </a:ext>
            </a:extLst>
          </p:cNvPr>
          <p:cNvSpPr/>
          <p:nvPr/>
        </p:nvSpPr>
        <p:spPr>
          <a:xfrm>
            <a:off x="959403" y="3344396"/>
            <a:ext cx="213056" cy="188954"/>
          </a:xfrm>
          <a:prstGeom prst="ellipse">
            <a:avLst/>
          </a:prstGeom>
          <a:solidFill>
            <a:srgbClr val="43B02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A" sz="800">
                <a:solidFill>
                  <a:schemeClr val="bg1"/>
                </a:solidFill>
              </a:rPr>
              <a:t>R</a:t>
            </a:r>
            <a:endParaRPr lang="en-US" sz="800">
              <a:solidFill>
                <a:schemeClr val="bg1"/>
              </a:solidFill>
            </a:endParaRP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B63CD5A-7162-44AA-9297-28A22376FE5A}"/>
              </a:ext>
            </a:extLst>
          </p:cNvPr>
          <p:cNvGrpSpPr/>
          <p:nvPr/>
        </p:nvGrpSpPr>
        <p:grpSpPr>
          <a:xfrm>
            <a:off x="5359638" y="3723757"/>
            <a:ext cx="6769144" cy="555499"/>
            <a:chOff x="1096604" y="1623779"/>
            <a:chExt cx="4636447" cy="555499"/>
          </a:xfrm>
        </p:grpSpPr>
        <p:sp>
          <p:nvSpPr>
            <p:cNvPr id="78" name="Rectangle: Rounded Corners 77">
              <a:extLst>
                <a:ext uri="{FF2B5EF4-FFF2-40B4-BE49-F238E27FC236}">
                  <a16:creationId xmlns:a16="http://schemas.microsoft.com/office/drawing/2014/main" id="{119F77F1-36E5-4E31-91EB-2CF5EFE99E91}"/>
                </a:ext>
              </a:extLst>
            </p:cNvPr>
            <p:cNvSpPr/>
            <p:nvPr/>
          </p:nvSpPr>
          <p:spPr>
            <a:xfrm>
              <a:off x="1096604" y="1623779"/>
              <a:ext cx="4636447" cy="544169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US" sz="1500" err="1">
                <a:solidFill>
                  <a:schemeClr val="bg1"/>
                </a:solidFill>
              </a:endParaRP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F2F594A2-0C07-4B42-A99D-59A0B4BBCF02}"/>
                </a:ext>
              </a:extLst>
            </p:cNvPr>
            <p:cNvSpPr txBox="1"/>
            <p:nvPr/>
          </p:nvSpPr>
          <p:spPr>
            <a:xfrm>
              <a:off x="1169017" y="1637140"/>
              <a:ext cx="1508744" cy="312644"/>
            </a:xfrm>
            <a:prstGeom prst="rect">
              <a:avLst/>
            </a:prstGeom>
            <a:noFill/>
          </p:spPr>
          <p:txBody>
            <a:bodyPr wrap="square" lIns="54610" tIns="54610" rIns="54610" bIns="54610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900" b="1">
                  <a:solidFill>
                    <a:schemeClr val="bg1"/>
                  </a:solidFill>
                </a:rPr>
                <a:t>MMIR</a:t>
              </a:r>
            </a:p>
          </p:txBody>
        </p:sp>
        <p:sp>
          <p:nvSpPr>
            <p:cNvPr id="80" name="Oval 4">
              <a:extLst>
                <a:ext uri="{FF2B5EF4-FFF2-40B4-BE49-F238E27FC236}">
                  <a16:creationId xmlns:a16="http://schemas.microsoft.com/office/drawing/2014/main" id="{72E281FB-4B67-43EA-A052-1EFCA28309DF}"/>
                </a:ext>
              </a:extLst>
            </p:cNvPr>
            <p:cNvSpPr/>
            <p:nvPr/>
          </p:nvSpPr>
          <p:spPr>
            <a:xfrm>
              <a:off x="5178739" y="1648597"/>
              <a:ext cx="356710" cy="48352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00">
                <a:solidFill>
                  <a:schemeClr val="tx1"/>
                </a:solidFill>
              </a:endParaRP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AAAACCA6-A910-4A73-AD22-FCD0B95D2EA9}"/>
                </a:ext>
              </a:extLst>
            </p:cNvPr>
            <p:cNvSpPr txBox="1"/>
            <p:nvPr/>
          </p:nvSpPr>
          <p:spPr>
            <a:xfrm>
              <a:off x="5153849" y="1715088"/>
              <a:ext cx="399938" cy="464190"/>
            </a:xfrm>
            <a:prstGeom prst="rect">
              <a:avLst/>
            </a:prstGeom>
            <a:noFill/>
          </p:spPr>
          <p:txBody>
            <a:bodyPr wrap="square" lIns="54610" tIns="54610" rIns="54610" bIns="5461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1400">
                  <a:solidFill>
                    <a:srgbClr val="FF0000"/>
                  </a:solidFill>
                  <a:latin typeface="+mj-lt"/>
                </a:rPr>
                <a:t>$</a:t>
              </a:r>
            </a:p>
          </p:txBody>
        </p:sp>
      </p:grpSp>
      <p:sp>
        <p:nvSpPr>
          <p:cNvPr id="82" name="Oval 4">
            <a:extLst>
              <a:ext uri="{FF2B5EF4-FFF2-40B4-BE49-F238E27FC236}">
                <a16:creationId xmlns:a16="http://schemas.microsoft.com/office/drawing/2014/main" id="{2D8AA5D6-1532-4F27-9F8E-1C1E362BA5A0}"/>
              </a:ext>
            </a:extLst>
          </p:cNvPr>
          <p:cNvSpPr/>
          <p:nvPr/>
        </p:nvSpPr>
        <p:spPr>
          <a:xfrm>
            <a:off x="5512564" y="4006116"/>
            <a:ext cx="213056" cy="188954"/>
          </a:xfrm>
          <a:prstGeom prst="ellipse">
            <a:avLst/>
          </a:prstGeom>
          <a:solidFill>
            <a:srgbClr val="43B02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A" sz="800" dirty="0">
                <a:solidFill>
                  <a:schemeClr val="bg1"/>
                </a:solidFill>
              </a:rPr>
              <a:t>S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83" name="Oval 4">
            <a:extLst>
              <a:ext uri="{FF2B5EF4-FFF2-40B4-BE49-F238E27FC236}">
                <a16:creationId xmlns:a16="http://schemas.microsoft.com/office/drawing/2014/main" id="{4077742B-C401-4E3C-AEFA-A584B5EEF295}"/>
              </a:ext>
            </a:extLst>
          </p:cNvPr>
          <p:cNvSpPr/>
          <p:nvPr/>
        </p:nvSpPr>
        <p:spPr>
          <a:xfrm>
            <a:off x="5857623" y="4006116"/>
            <a:ext cx="213056" cy="188954"/>
          </a:xfrm>
          <a:prstGeom prst="ellipse">
            <a:avLst/>
          </a:prstGeom>
          <a:solidFill>
            <a:srgbClr val="43B02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A" sz="800">
                <a:solidFill>
                  <a:schemeClr val="bg1"/>
                </a:solidFill>
              </a:rPr>
              <a:t>B</a:t>
            </a:r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84" name="Oval 4">
            <a:extLst>
              <a:ext uri="{FF2B5EF4-FFF2-40B4-BE49-F238E27FC236}">
                <a16:creationId xmlns:a16="http://schemas.microsoft.com/office/drawing/2014/main" id="{29F26E45-B310-45D3-883F-41FC85FE1343}"/>
              </a:ext>
            </a:extLst>
          </p:cNvPr>
          <p:cNvSpPr/>
          <p:nvPr/>
        </p:nvSpPr>
        <p:spPr>
          <a:xfrm>
            <a:off x="6197515" y="4000230"/>
            <a:ext cx="213056" cy="188954"/>
          </a:xfrm>
          <a:prstGeom prst="ellipse">
            <a:avLst/>
          </a:prstGeom>
          <a:solidFill>
            <a:srgbClr val="43B02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A" sz="800">
                <a:solidFill>
                  <a:schemeClr val="bg1"/>
                </a:solidFill>
              </a:rPr>
              <a:t>R</a:t>
            </a:r>
            <a:endParaRPr lang="en-US" sz="800">
              <a:solidFill>
                <a:schemeClr val="bg1"/>
              </a:solidFill>
            </a:endParaRP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145C81CB-E3FE-4B48-8E82-A29529AF2F66}"/>
              </a:ext>
            </a:extLst>
          </p:cNvPr>
          <p:cNvGrpSpPr/>
          <p:nvPr/>
        </p:nvGrpSpPr>
        <p:grpSpPr>
          <a:xfrm>
            <a:off x="5388749" y="4461784"/>
            <a:ext cx="6300255" cy="555499"/>
            <a:chOff x="1096604" y="1623779"/>
            <a:chExt cx="4636447" cy="555499"/>
          </a:xfrm>
        </p:grpSpPr>
        <p:sp>
          <p:nvSpPr>
            <p:cNvPr id="86" name="Rectangle: Rounded Corners 85">
              <a:extLst>
                <a:ext uri="{FF2B5EF4-FFF2-40B4-BE49-F238E27FC236}">
                  <a16:creationId xmlns:a16="http://schemas.microsoft.com/office/drawing/2014/main" id="{6BA95CB7-B13A-4C18-8F6F-FC2005C46CB4}"/>
                </a:ext>
              </a:extLst>
            </p:cNvPr>
            <p:cNvSpPr/>
            <p:nvPr/>
          </p:nvSpPr>
          <p:spPr>
            <a:xfrm>
              <a:off x="1096604" y="1623779"/>
              <a:ext cx="4636447" cy="544169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US" sz="1500" err="1">
                <a:solidFill>
                  <a:schemeClr val="bg1"/>
                </a:solidFill>
              </a:endParaRP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84BD8832-2A3F-4F98-9EE0-91CA6974846F}"/>
                </a:ext>
              </a:extLst>
            </p:cNvPr>
            <p:cNvSpPr txBox="1"/>
            <p:nvPr/>
          </p:nvSpPr>
          <p:spPr>
            <a:xfrm>
              <a:off x="1169017" y="1637140"/>
              <a:ext cx="1508744" cy="312644"/>
            </a:xfrm>
            <a:prstGeom prst="rect">
              <a:avLst/>
            </a:prstGeom>
            <a:noFill/>
          </p:spPr>
          <p:txBody>
            <a:bodyPr wrap="square" lIns="54610" tIns="54610" rIns="54610" bIns="54610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900" b="1" dirty="0">
                  <a:solidFill>
                    <a:schemeClr val="bg1"/>
                  </a:solidFill>
                </a:rPr>
                <a:t>SABIC</a:t>
              </a:r>
            </a:p>
          </p:txBody>
        </p:sp>
        <p:sp>
          <p:nvSpPr>
            <p:cNvPr id="88" name="Oval 4">
              <a:extLst>
                <a:ext uri="{FF2B5EF4-FFF2-40B4-BE49-F238E27FC236}">
                  <a16:creationId xmlns:a16="http://schemas.microsoft.com/office/drawing/2014/main" id="{BBC61414-9106-4387-9E1B-004CDCF5E378}"/>
                </a:ext>
              </a:extLst>
            </p:cNvPr>
            <p:cNvSpPr/>
            <p:nvPr/>
          </p:nvSpPr>
          <p:spPr>
            <a:xfrm>
              <a:off x="5214071" y="1648597"/>
              <a:ext cx="485144" cy="48352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00">
                <a:solidFill>
                  <a:schemeClr val="tx1"/>
                </a:solidFill>
              </a:endParaRP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AB386749-B49B-41A3-B78B-C0E1EDF2A8B1}"/>
                </a:ext>
              </a:extLst>
            </p:cNvPr>
            <p:cNvSpPr txBox="1"/>
            <p:nvPr/>
          </p:nvSpPr>
          <p:spPr>
            <a:xfrm>
              <a:off x="5181399" y="1715088"/>
              <a:ext cx="543936" cy="464190"/>
            </a:xfrm>
            <a:prstGeom prst="rect">
              <a:avLst/>
            </a:prstGeom>
            <a:noFill/>
          </p:spPr>
          <p:txBody>
            <a:bodyPr wrap="square" lIns="54610" tIns="54610" rIns="54610" bIns="5461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1400" dirty="0">
                  <a:solidFill>
                    <a:srgbClr val="FF0000"/>
                  </a:solidFill>
                  <a:latin typeface="+mj-lt"/>
                </a:rPr>
                <a:t>$</a:t>
              </a:r>
            </a:p>
          </p:txBody>
        </p:sp>
      </p:grpSp>
      <p:sp>
        <p:nvSpPr>
          <p:cNvPr id="90" name="Oval 4">
            <a:extLst>
              <a:ext uri="{FF2B5EF4-FFF2-40B4-BE49-F238E27FC236}">
                <a16:creationId xmlns:a16="http://schemas.microsoft.com/office/drawing/2014/main" id="{7BA9AD87-EA5D-419D-9E0F-917EFE5C5173}"/>
              </a:ext>
            </a:extLst>
          </p:cNvPr>
          <p:cNvSpPr/>
          <p:nvPr/>
        </p:nvSpPr>
        <p:spPr>
          <a:xfrm>
            <a:off x="5582772" y="4754414"/>
            <a:ext cx="213056" cy="188954"/>
          </a:xfrm>
          <a:prstGeom prst="ellipse">
            <a:avLst/>
          </a:prstGeom>
          <a:solidFill>
            <a:srgbClr val="43B02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A" sz="800" dirty="0">
                <a:solidFill>
                  <a:schemeClr val="bg1"/>
                </a:solidFill>
              </a:rPr>
              <a:t>S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91" name="Oval 4">
            <a:extLst>
              <a:ext uri="{FF2B5EF4-FFF2-40B4-BE49-F238E27FC236}">
                <a16:creationId xmlns:a16="http://schemas.microsoft.com/office/drawing/2014/main" id="{17ECC715-4BA9-4107-8151-E9146E447359}"/>
              </a:ext>
            </a:extLst>
          </p:cNvPr>
          <p:cNvSpPr/>
          <p:nvPr/>
        </p:nvSpPr>
        <p:spPr>
          <a:xfrm>
            <a:off x="5927831" y="4754414"/>
            <a:ext cx="213056" cy="188954"/>
          </a:xfrm>
          <a:prstGeom prst="ellipse">
            <a:avLst/>
          </a:prstGeom>
          <a:solidFill>
            <a:srgbClr val="43B02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A" sz="800">
                <a:solidFill>
                  <a:schemeClr val="bg1"/>
                </a:solidFill>
              </a:rPr>
              <a:t>B</a:t>
            </a:r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92" name="Oval 4">
            <a:extLst>
              <a:ext uri="{FF2B5EF4-FFF2-40B4-BE49-F238E27FC236}">
                <a16:creationId xmlns:a16="http://schemas.microsoft.com/office/drawing/2014/main" id="{D1F052BE-AC19-4254-B009-6C55F3AD57E4}"/>
              </a:ext>
            </a:extLst>
          </p:cNvPr>
          <p:cNvSpPr/>
          <p:nvPr/>
        </p:nvSpPr>
        <p:spPr>
          <a:xfrm>
            <a:off x="6267723" y="4748528"/>
            <a:ext cx="213056" cy="188954"/>
          </a:xfrm>
          <a:prstGeom prst="ellipse">
            <a:avLst/>
          </a:prstGeom>
          <a:solidFill>
            <a:srgbClr val="43B02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A" sz="800">
                <a:solidFill>
                  <a:schemeClr val="bg1"/>
                </a:solidFill>
              </a:rPr>
              <a:t>R</a:t>
            </a:r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93" name="Rectangle: Rounded Corners 92">
            <a:extLst>
              <a:ext uri="{FF2B5EF4-FFF2-40B4-BE49-F238E27FC236}">
                <a16:creationId xmlns:a16="http://schemas.microsoft.com/office/drawing/2014/main" id="{9FB23ABE-260F-46C4-8DD4-9327CD947ABA}"/>
              </a:ext>
            </a:extLst>
          </p:cNvPr>
          <p:cNvSpPr/>
          <p:nvPr/>
        </p:nvSpPr>
        <p:spPr>
          <a:xfrm>
            <a:off x="0" y="4675832"/>
            <a:ext cx="1985461" cy="544169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endParaRPr lang="en-US" sz="1500" dirty="0">
              <a:solidFill>
                <a:schemeClr val="bg1"/>
              </a:solidFill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C456D566-A0C5-4857-8AAB-6DB61CEB5AAF}"/>
              </a:ext>
            </a:extLst>
          </p:cNvPr>
          <p:cNvSpPr txBox="1"/>
          <p:nvPr/>
        </p:nvSpPr>
        <p:spPr>
          <a:xfrm>
            <a:off x="194238" y="4720016"/>
            <a:ext cx="2050163" cy="31264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900" b="1" dirty="0">
                <a:solidFill>
                  <a:schemeClr val="bg1"/>
                </a:solidFill>
              </a:rPr>
              <a:t>HSBC</a:t>
            </a:r>
          </a:p>
        </p:txBody>
      </p:sp>
      <p:sp>
        <p:nvSpPr>
          <p:cNvPr id="100" name="Oval 4">
            <a:extLst>
              <a:ext uri="{FF2B5EF4-FFF2-40B4-BE49-F238E27FC236}">
                <a16:creationId xmlns:a16="http://schemas.microsoft.com/office/drawing/2014/main" id="{19168326-940E-4BB6-8C5A-B0F2563D70CB}"/>
              </a:ext>
            </a:extLst>
          </p:cNvPr>
          <p:cNvSpPr/>
          <p:nvPr/>
        </p:nvSpPr>
        <p:spPr>
          <a:xfrm>
            <a:off x="1453869" y="4726339"/>
            <a:ext cx="485144" cy="48352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00">
              <a:solidFill>
                <a:schemeClr val="tx1"/>
              </a:solidFill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678B1273-D93C-4EC8-A96D-5DD6BFD58B88}"/>
              </a:ext>
            </a:extLst>
          </p:cNvPr>
          <p:cNvSpPr txBox="1"/>
          <p:nvPr/>
        </p:nvSpPr>
        <p:spPr>
          <a:xfrm>
            <a:off x="1452019" y="4762008"/>
            <a:ext cx="543936" cy="228012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400" dirty="0">
                <a:solidFill>
                  <a:srgbClr val="FF0000"/>
                </a:solidFill>
                <a:latin typeface="+mj-lt"/>
              </a:rPr>
              <a:t>$ </a:t>
            </a:r>
          </a:p>
        </p:txBody>
      </p:sp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F1D6B21A-FA59-4649-9BC4-A550B2CBA289}"/>
              </a:ext>
            </a:extLst>
          </p:cNvPr>
          <p:cNvSpPr/>
          <p:nvPr/>
        </p:nvSpPr>
        <p:spPr>
          <a:xfrm rot="5400000">
            <a:off x="11754591" y="3913956"/>
            <a:ext cx="476774" cy="159514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0F59DD-824E-4D21-9328-F243A0BDCEFF}"/>
              </a:ext>
            </a:extLst>
          </p:cNvPr>
          <p:cNvGrpSpPr/>
          <p:nvPr/>
        </p:nvGrpSpPr>
        <p:grpSpPr>
          <a:xfrm>
            <a:off x="1452019" y="4117833"/>
            <a:ext cx="3355451" cy="544169"/>
            <a:chOff x="1096604" y="1623779"/>
            <a:chExt cx="4636447" cy="555499"/>
          </a:xfrm>
        </p:grpSpPr>
        <p:sp>
          <p:nvSpPr>
            <p:cNvPr id="109" name="Rectangle: Rounded Corners 108">
              <a:extLst>
                <a:ext uri="{FF2B5EF4-FFF2-40B4-BE49-F238E27FC236}">
                  <a16:creationId xmlns:a16="http://schemas.microsoft.com/office/drawing/2014/main" id="{A2FE8E55-1138-4533-A74D-17066D6F913F}"/>
                </a:ext>
              </a:extLst>
            </p:cNvPr>
            <p:cNvSpPr/>
            <p:nvPr/>
          </p:nvSpPr>
          <p:spPr>
            <a:xfrm>
              <a:off x="1096604" y="1623779"/>
              <a:ext cx="4636447" cy="544169"/>
            </a:xfrm>
            <a:prstGeom prst="roundRect">
              <a:avLst>
                <a:gd name="adj" fmla="val 50000"/>
              </a:avLst>
            </a:prstGeom>
            <a:solidFill>
              <a:srgbClr val="EAAA00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US" sz="1500" err="1">
                <a:solidFill>
                  <a:schemeClr val="bg1"/>
                </a:solidFill>
              </a:endParaRP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F892521E-2E0A-4418-8885-269B060E12F3}"/>
                </a:ext>
              </a:extLst>
            </p:cNvPr>
            <p:cNvSpPr txBox="1"/>
            <p:nvPr/>
          </p:nvSpPr>
          <p:spPr>
            <a:xfrm>
              <a:off x="1169015" y="1637141"/>
              <a:ext cx="4138326" cy="292386"/>
            </a:xfrm>
            <a:prstGeom prst="rect">
              <a:avLst/>
            </a:prstGeom>
            <a:noFill/>
          </p:spPr>
          <p:txBody>
            <a:bodyPr wrap="square" lIns="54610" tIns="54610" rIns="54610" bIns="54610" rtlCol="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900" b="1" dirty="0">
                  <a:solidFill>
                    <a:schemeClr val="bg1"/>
                  </a:solidFill>
                </a:rPr>
                <a:t>STC Corporate Analytics &amp; Data (CAD) Sector Audit</a:t>
              </a:r>
            </a:p>
          </p:txBody>
        </p:sp>
        <p:sp>
          <p:nvSpPr>
            <p:cNvPr id="111" name="Oval 4">
              <a:extLst>
                <a:ext uri="{FF2B5EF4-FFF2-40B4-BE49-F238E27FC236}">
                  <a16:creationId xmlns:a16="http://schemas.microsoft.com/office/drawing/2014/main" id="{828C7487-B7F0-4C80-8373-081097B96C5B}"/>
                </a:ext>
              </a:extLst>
            </p:cNvPr>
            <p:cNvSpPr/>
            <p:nvPr/>
          </p:nvSpPr>
          <p:spPr>
            <a:xfrm>
              <a:off x="5214071" y="1648597"/>
              <a:ext cx="485144" cy="48352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00">
                <a:solidFill>
                  <a:schemeClr val="tx1"/>
                </a:solidFill>
              </a:endParaRP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5440B7E4-91B0-4699-8539-674EC5222B30}"/>
                </a:ext>
              </a:extLst>
            </p:cNvPr>
            <p:cNvSpPr txBox="1"/>
            <p:nvPr/>
          </p:nvSpPr>
          <p:spPr>
            <a:xfrm>
              <a:off x="5181399" y="1715088"/>
              <a:ext cx="543936" cy="464190"/>
            </a:xfrm>
            <a:prstGeom prst="rect">
              <a:avLst/>
            </a:prstGeom>
            <a:noFill/>
          </p:spPr>
          <p:txBody>
            <a:bodyPr wrap="square" lIns="54610" tIns="54610" rIns="54610" bIns="5461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1400" dirty="0">
                  <a:solidFill>
                    <a:srgbClr val="FF0000"/>
                  </a:solidFill>
                  <a:latin typeface="+mj-lt"/>
                </a:rPr>
                <a:t>$</a:t>
              </a:r>
            </a:p>
          </p:txBody>
        </p:sp>
      </p:grpSp>
      <p:sp>
        <p:nvSpPr>
          <p:cNvPr id="113" name="Oval 4">
            <a:extLst>
              <a:ext uri="{FF2B5EF4-FFF2-40B4-BE49-F238E27FC236}">
                <a16:creationId xmlns:a16="http://schemas.microsoft.com/office/drawing/2014/main" id="{59712CBA-C66C-46F6-92B8-2B21CC350CBA}"/>
              </a:ext>
            </a:extLst>
          </p:cNvPr>
          <p:cNvSpPr/>
          <p:nvPr/>
        </p:nvSpPr>
        <p:spPr>
          <a:xfrm>
            <a:off x="1639200" y="4396532"/>
            <a:ext cx="213056" cy="188954"/>
          </a:xfrm>
          <a:prstGeom prst="ellipse">
            <a:avLst/>
          </a:prstGeom>
          <a:solidFill>
            <a:srgbClr val="43B02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A" sz="800" dirty="0">
                <a:solidFill>
                  <a:schemeClr val="bg1"/>
                </a:solidFill>
              </a:rPr>
              <a:t>S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14" name="Oval 4">
            <a:extLst>
              <a:ext uri="{FF2B5EF4-FFF2-40B4-BE49-F238E27FC236}">
                <a16:creationId xmlns:a16="http://schemas.microsoft.com/office/drawing/2014/main" id="{547CD178-9FA3-457E-9977-20364EE3AFEC}"/>
              </a:ext>
            </a:extLst>
          </p:cNvPr>
          <p:cNvSpPr/>
          <p:nvPr/>
        </p:nvSpPr>
        <p:spPr>
          <a:xfrm>
            <a:off x="1984259" y="4396532"/>
            <a:ext cx="213056" cy="188954"/>
          </a:xfrm>
          <a:prstGeom prst="ellipse">
            <a:avLst/>
          </a:prstGeom>
          <a:solidFill>
            <a:srgbClr val="43B02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A" sz="800">
                <a:solidFill>
                  <a:schemeClr val="bg1"/>
                </a:solidFill>
              </a:rPr>
              <a:t>B</a:t>
            </a:r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115" name="Oval 4">
            <a:extLst>
              <a:ext uri="{FF2B5EF4-FFF2-40B4-BE49-F238E27FC236}">
                <a16:creationId xmlns:a16="http://schemas.microsoft.com/office/drawing/2014/main" id="{66132DDF-2B69-4F0F-9651-4A9B18E19C31}"/>
              </a:ext>
            </a:extLst>
          </p:cNvPr>
          <p:cNvSpPr/>
          <p:nvPr/>
        </p:nvSpPr>
        <p:spPr>
          <a:xfrm>
            <a:off x="2324151" y="4390646"/>
            <a:ext cx="213056" cy="188954"/>
          </a:xfrm>
          <a:prstGeom prst="ellipse">
            <a:avLst/>
          </a:prstGeom>
          <a:solidFill>
            <a:srgbClr val="43B02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A" sz="800">
                <a:solidFill>
                  <a:schemeClr val="bg1"/>
                </a:solidFill>
              </a:rPr>
              <a:t>R</a:t>
            </a:r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116" name="Oval 4">
            <a:extLst>
              <a:ext uri="{FF2B5EF4-FFF2-40B4-BE49-F238E27FC236}">
                <a16:creationId xmlns:a16="http://schemas.microsoft.com/office/drawing/2014/main" id="{326A3D4C-8C9C-4963-8F29-CB1B74C54B10}"/>
              </a:ext>
            </a:extLst>
          </p:cNvPr>
          <p:cNvSpPr/>
          <p:nvPr/>
        </p:nvSpPr>
        <p:spPr>
          <a:xfrm>
            <a:off x="178557" y="4970173"/>
            <a:ext cx="213056" cy="188954"/>
          </a:xfrm>
          <a:prstGeom prst="ellipse">
            <a:avLst/>
          </a:prstGeom>
          <a:solidFill>
            <a:srgbClr val="43B02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A" sz="800" dirty="0">
                <a:solidFill>
                  <a:schemeClr val="bg1"/>
                </a:solidFill>
              </a:rPr>
              <a:t>S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17" name="Oval 4">
            <a:extLst>
              <a:ext uri="{FF2B5EF4-FFF2-40B4-BE49-F238E27FC236}">
                <a16:creationId xmlns:a16="http://schemas.microsoft.com/office/drawing/2014/main" id="{91A12BD8-A43A-43A1-960B-E1E5FA713366}"/>
              </a:ext>
            </a:extLst>
          </p:cNvPr>
          <p:cNvSpPr/>
          <p:nvPr/>
        </p:nvSpPr>
        <p:spPr>
          <a:xfrm>
            <a:off x="523616" y="4970173"/>
            <a:ext cx="213056" cy="188954"/>
          </a:xfrm>
          <a:prstGeom prst="ellipse">
            <a:avLst/>
          </a:prstGeom>
          <a:solidFill>
            <a:srgbClr val="43B02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A" sz="800">
                <a:solidFill>
                  <a:schemeClr val="bg1"/>
                </a:solidFill>
              </a:rPr>
              <a:t>B</a:t>
            </a:r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118" name="Oval 4">
            <a:extLst>
              <a:ext uri="{FF2B5EF4-FFF2-40B4-BE49-F238E27FC236}">
                <a16:creationId xmlns:a16="http://schemas.microsoft.com/office/drawing/2014/main" id="{6F6DD550-69B6-48FF-BB0A-7314D3C5C6B2}"/>
              </a:ext>
            </a:extLst>
          </p:cNvPr>
          <p:cNvSpPr/>
          <p:nvPr/>
        </p:nvSpPr>
        <p:spPr>
          <a:xfrm>
            <a:off x="863508" y="4964287"/>
            <a:ext cx="213056" cy="188954"/>
          </a:xfrm>
          <a:prstGeom prst="ellipse">
            <a:avLst/>
          </a:prstGeom>
          <a:solidFill>
            <a:srgbClr val="43B02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A" sz="800">
                <a:solidFill>
                  <a:schemeClr val="bg1"/>
                </a:solidFill>
              </a:rPr>
              <a:t>R</a:t>
            </a:r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119" name="Rectangle: Rounded Corners 118">
            <a:extLst>
              <a:ext uri="{FF2B5EF4-FFF2-40B4-BE49-F238E27FC236}">
                <a16:creationId xmlns:a16="http://schemas.microsoft.com/office/drawing/2014/main" id="{E2EA31F7-D4C2-4138-957D-A7E416E5D333}"/>
              </a:ext>
            </a:extLst>
          </p:cNvPr>
          <p:cNvSpPr/>
          <p:nvPr/>
        </p:nvSpPr>
        <p:spPr>
          <a:xfrm>
            <a:off x="18838" y="5393312"/>
            <a:ext cx="5660004" cy="544169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endParaRPr lang="en-US" sz="1500" dirty="0">
              <a:solidFill>
                <a:schemeClr val="bg1"/>
              </a:solidFill>
            </a:endParaRP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8A02FCDD-0CA5-4332-91F9-EB5D548F4677}"/>
              </a:ext>
            </a:extLst>
          </p:cNvPr>
          <p:cNvSpPr txBox="1"/>
          <p:nvPr/>
        </p:nvSpPr>
        <p:spPr>
          <a:xfrm>
            <a:off x="213076" y="5437496"/>
            <a:ext cx="2050163" cy="31264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900" b="1" dirty="0">
                <a:solidFill>
                  <a:schemeClr val="bg1"/>
                </a:solidFill>
              </a:rPr>
              <a:t>CITC DG</a:t>
            </a:r>
          </a:p>
        </p:txBody>
      </p:sp>
      <p:sp>
        <p:nvSpPr>
          <p:cNvPr id="121" name="Oval 4">
            <a:extLst>
              <a:ext uri="{FF2B5EF4-FFF2-40B4-BE49-F238E27FC236}">
                <a16:creationId xmlns:a16="http://schemas.microsoft.com/office/drawing/2014/main" id="{4C5398C9-EFA8-44CE-A0AC-EA34E2722FEC}"/>
              </a:ext>
            </a:extLst>
          </p:cNvPr>
          <p:cNvSpPr/>
          <p:nvPr/>
        </p:nvSpPr>
        <p:spPr>
          <a:xfrm>
            <a:off x="5140573" y="5443819"/>
            <a:ext cx="485144" cy="48352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00">
              <a:solidFill>
                <a:schemeClr val="tx1"/>
              </a:solidFill>
            </a:endParaRP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DB0A4EDD-C235-4C02-874C-616E750810A8}"/>
              </a:ext>
            </a:extLst>
          </p:cNvPr>
          <p:cNvSpPr txBox="1"/>
          <p:nvPr/>
        </p:nvSpPr>
        <p:spPr>
          <a:xfrm>
            <a:off x="5138723" y="5479488"/>
            <a:ext cx="543936" cy="228012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400" dirty="0">
                <a:solidFill>
                  <a:srgbClr val="FF0000"/>
                </a:solidFill>
                <a:latin typeface="+mj-lt"/>
              </a:rPr>
              <a:t>$ </a:t>
            </a:r>
          </a:p>
        </p:txBody>
      </p:sp>
      <p:sp>
        <p:nvSpPr>
          <p:cNvPr id="123" name="Oval 4">
            <a:extLst>
              <a:ext uri="{FF2B5EF4-FFF2-40B4-BE49-F238E27FC236}">
                <a16:creationId xmlns:a16="http://schemas.microsoft.com/office/drawing/2014/main" id="{83927B67-5E09-47D3-B538-D9E244C28396}"/>
              </a:ext>
            </a:extLst>
          </p:cNvPr>
          <p:cNvSpPr/>
          <p:nvPr/>
        </p:nvSpPr>
        <p:spPr>
          <a:xfrm>
            <a:off x="197395" y="5687653"/>
            <a:ext cx="213056" cy="188954"/>
          </a:xfrm>
          <a:prstGeom prst="ellipse">
            <a:avLst/>
          </a:prstGeom>
          <a:solidFill>
            <a:srgbClr val="43B02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A" sz="800" dirty="0">
                <a:solidFill>
                  <a:schemeClr val="bg1"/>
                </a:solidFill>
              </a:rPr>
              <a:t>S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38" name="Oval 4">
            <a:extLst>
              <a:ext uri="{FF2B5EF4-FFF2-40B4-BE49-F238E27FC236}">
                <a16:creationId xmlns:a16="http://schemas.microsoft.com/office/drawing/2014/main" id="{94BA2392-E61F-4EDC-AAEA-8FC800CC177E}"/>
              </a:ext>
            </a:extLst>
          </p:cNvPr>
          <p:cNvSpPr/>
          <p:nvPr/>
        </p:nvSpPr>
        <p:spPr>
          <a:xfrm>
            <a:off x="542454" y="5687653"/>
            <a:ext cx="213056" cy="188954"/>
          </a:xfrm>
          <a:prstGeom prst="ellipse">
            <a:avLst/>
          </a:prstGeom>
          <a:solidFill>
            <a:srgbClr val="43B02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A" sz="800">
                <a:solidFill>
                  <a:schemeClr val="bg1"/>
                </a:solidFill>
              </a:rPr>
              <a:t>B</a:t>
            </a:r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147" name="Oval 4">
            <a:extLst>
              <a:ext uri="{FF2B5EF4-FFF2-40B4-BE49-F238E27FC236}">
                <a16:creationId xmlns:a16="http://schemas.microsoft.com/office/drawing/2014/main" id="{44B25C8F-E1BC-4E29-A026-23FD24F1A629}"/>
              </a:ext>
            </a:extLst>
          </p:cNvPr>
          <p:cNvSpPr/>
          <p:nvPr/>
        </p:nvSpPr>
        <p:spPr>
          <a:xfrm>
            <a:off x="882346" y="5681767"/>
            <a:ext cx="213056" cy="188954"/>
          </a:xfrm>
          <a:prstGeom prst="ellipse">
            <a:avLst/>
          </a:prstGeom>
          <a:solidFill>
            <a:srgbClr val="43B02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A" sz="800">
                <a:solidFill>
                  <a:schemeClr val="bg1"/>
                </a:solidFill>
              </a:rPr>
              <a:t>R</a:t>
            </a:r>
            <a:endParaRPr lang="en-US" sz="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929549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686" y="242421"/>
            <a:ext cx="10185600" cy="518400"/>
          </a:xfrm>
        </p:spPr>
        <p:txBody>
          <a:bodyPr/>
          <a:lstStyle/>
          <a:p>
            <a:r>
              <a:rPr lang="en-AU"/>
              <a:t>Appendix A – Risk Register</a:t>
            </a:r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987533"/>
              </p:ext>
            </p:extLst>
          </p:nvPr>
        </p:nvGraphicFramePr>
        <p:xfrm>
          <a:off x="2276394" y="1488628"/>
          <a:ext cx="7639206" cy="2611109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4309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3391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2784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09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94554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2011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Arial"/>
                          <a:ea typeface="Times New Roman" panose="02020603050405020304" pitchFamily="18" charset="0"/>
                          <a:cs typeface="Arial"/>
                        </a:rPr>
                        <a:t>No.</a:t>
                      </a:r>
                    </a:p>
                  </a:txBody>
                  <a:tcPr marL="54610" marR="54610" marT="54610" marB="54610" anchor="ctr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/>
                          <a:ea typeface="Times New Roman" panose="02020603050405020304" pitchFamily="18" charset="0"/>
                          <a:cs typeface="Arial"/>
                        </a:rPr>
                        <a:t>Risk Description</a:t>
                      </a:r>
                    </a:p>
                  </a:txBody>
                  <a:tcPr marL="54610" marR="54610" marT="54610" marB="54610" anchor="ctr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/>
                          <a:ea typeface="Times New Roman" panose="02020603050405020304" pitchFamily="18" charset="0"/>
                          <a:cs typeface="Arial"/>
                        </a:rPr>
                        <a:t>Probability (H/M/L)</a:t>
                      </a:r>
                    </a:p>
                  </a:txBody>
                  <a:tcPr marL="54610" marR="54610" marT="54610" marB="54610" anchor="ctr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/>
                          <a:ea typeface="Times New Roman" panose="02020603050405020304" pitchFamily="18" charset="0"/>
                          <a:cs typeface="Arial"/>
                        </a:rPr>
                        <a:t>Effect (H/M/L)</a:t>
                      </a:r>
                    </a:p>
                  </a:txBody>
                  <a:tcPr marL="54610" marR="54610" marT="54610" marB="54610" anchor="ctr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/>
                          <a:ea typeface="Times New Roman" panose="02020603050405020304" pitchFamily="18" charset="0"/>
                          <a:cs typeface="Arial"/>
                        </a:rPr>
                        <a:t>Planned Mitigation</a:t>
                      </a:r>
                    </a:p>
                  </a:txBody>
                  <a:tcPr marL="54610" marR="54610" marT="54610" marB="54610" anchor="ctr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252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338D"/>
                          </a:solidFill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T="45711" marB="45711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0" i="0" u="none" strike="noStrike" cap="none" normalizeH="0" baseline="0" noProof="0" dirty="0">
                          <a:ln>
                            <a:noFill/>
                          </a:ln>
                          <a:effectLst/>
                        </a:rPr>
                        <a:t>CITC - Client may not pay KPMG's full invoice amount</a:t>
                      </a: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338D"/>
                          </a:solidFill>
                          <a:effectLst/>
                          <a:latin typeface="Arial"/>
                        </a:rPr>
                        <a:t>M</a:t>
                      </a:r>
                      <a:endParaRPr kumimoji="0" lang="en-US" sz="1000" b="0" i="0" u="none" strike="noStrike" cap="none" normalizeH="0" baseline="0">
                        <a:ln>
                          <a:noFill/>
                        </a:ln>
                        <a:solidFill>
                          <a:srgbClr val="00338D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338D"/>
                          </a:solidFill>
                          <a:effectLst/>
                          <a:latin typeface="Arial"/>
                        </a:rPr>
                        <a:t>M</a:t>
                      </a:r>
                      <a:endParaRPr kumimoji="0" lang="en-US" sz="1000" b="0" i="0" u="none" strike="noStrike" cap="none" normalizeH="0" baseline="0">
                        <a:ln>
                          <a:noFill/>
                        </a:ln>
                        <a:solidFill>
                          <a:srgbClr val="00338D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</a:pPr>
                      <a:r>
                        <a:rPr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338D"/>
                          </a:solidFill>
                          <a:effectLst/>
                          <a:latin typeface="Arial"/>
                        </a:rPr>
                        <a:t>Strategic discussion and negotiation with the client</a:t>
                      </a: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338D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252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338D"/>
                          </a:solidFill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T="45711" marB="45711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000" kern="1200" dirty="0" err="1">
                          <a:solidFill>
                            <a:prstClr val="black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’Aden</a:t>
                      </a:r>
                      <a:r>
                        <a:rPr lang="en-US" sz="1000" kern="1200" dirty="0">
                          <a:solidFill>
                            <a:prstClr val="black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- The project is under-resourced from the client side and more budget to KPMG is required to get more resources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338D"/>
                          </a:solidFill>
                          <a:effectLst/>
                          <a:latin typeface="Arial" charset="0"/>
                        </a:rPr>
                        <a:t>M</a:t>
                      </a: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338D"/>
                          </a:solidFill>
                          <a:effectLst/>
                          <a:latin typeface="Arial" charset="0"/>
                        </a:rPr>
                        <a:t>M</a:t>
                      </a: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338D"/>
                          </a:solidFill>
                          <a:effectLst/>
                          <a:latin typeface="Arial" charset="0"/>
                        </a:rPr>
                        <a:t>Leadership to push for budget increase</a:t>
                      </a: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252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338D"/>
                          </a:solidFill>
                          <a:effectLst/>
                          <a:latin typeface="Arial"/>
                        </a:rPr>
                        <a:t>3</a:t>
                      </a:r>
                    </a:p>
                  </a:txBody>
                  <a:tcPr marT="45711" marB="45711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prstClr val="black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Delay on invoice sign-off</a:t>
                      </a:r>
                    </a:p>
                  </a:txBody>
                  <a:tcPr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338D"/>
                          </a:solidFill>
                          <a:effectLst/>
                          <a:latin typeface="Arial" charset="0"/>
                        </a:rPr>
                        <a:t>M</a:t>
                      </a: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338D"/>
                          </a:solidFill>
                          <a:effectLst/>
                          <a:latin typeface="Arial" charset="0"/>
                        </a:rPr>
                        <a:t>M</a:t>
                      </a: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338D"/>
                          </a:solidFill>
                          <a:effectLst/>
                          <a:latin typeface="Arial" charset="0"/>
                        </a:rPr>
                        <a:t>Follow up with client</a:t>
                      </a: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252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338D"/>
                          </a:solidFill>
                          <a:effectLst/>
                          <a:latin typeface="Arial"/>
                        </a:rPr>
                        <a:t>4</a:t>
                      </a:r>
                    </a:p>
                  </a:txBody>
                  <a:tcPr marT="45711" marB="45711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  <a:defRPr/>
                      </a:pPr>
                      <a:endParaRPr lang="en-US" sz="1000" kern="1200" dirty="0">
                        <a:solidFill>
                          <a:prstClr val="black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DBF3FC08-A381-4141-94ED-D5A89FDFA5E2}"/>
              </a:ext>
            </a:extLst>
          </p:cNvPr>
          <p:cNvSpPr/>
          <p:nvPr/>
        </p:nvSpPr>
        <p:spPr>
          <a:xfrm>
            <a:off x="3195547" y="6231898"/>
            <a:ext cx="5830029" cy="3494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393677A-A855-48E9-BDC5-BFD393BE1F2F}"/>
              </a:ext>
            </a:extLst>
          </p:cNvPr>
          <p:cNvSpPr/>
          <p:nvPr/>
        </p:nvSpPr>
        <p:spPr>
          <a:xfrm>
            <a:off x="8456879" y="128810"/>
            <a:ext cx="2034455" cy="5364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862619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686" y="242421"/>
            <a:ext cx="10185600" cy="518400"/>
          </a:xfrm>
        </p:spPr>
        <p:txBody>
          <a:bodyPr/>
          <a:lstStyle/>
          <a:p>
            <a:r>
              <a:rPr lang="en-AU"/>
              <a:t>Appendix B – Issues Log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E9864E-4162-449E-9D54-DED5B98EB16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081549"/>
              </p:ext>
            </p:extLst>
          </p:nvPr>
        </p:nvGraphicFramePr>
        <p:xfrm>
          <a:off x="2276394" y="1488628"/>
          <a:ext cx="7639206" cy="3326327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10495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278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7405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6838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9678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2261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2011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Issue Description</a:t>
                      </a:r>
                    </a:p>
                  </a:txBody>
                  <a:tcPr marL="54610" marR="54610" marT="54610" marB="54610" anchor="ctr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ate Raised</a:t>
                      </a:r>
                    </a:p>
                  </a:txBody>
                  <a:tcPr marL="54610" marR="54610" marT="54610" marB="54610" anchor="ctr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Owner</a:t>
                      </a:r>
                    </a:p>
                  </a:txBody>
                  <a:tcPr marL="54610" marR="54610" marT="54610" marB="54610" anchor="ctr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greed Action</a:t>
                      </a:r>
                    </a:p>
                  </a:txBody>
                  <a:tcPr marL="54610" marR="54610" marT="54610" marB="54610" anchor="ctr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ction</a:t>
                      </a:r>
                      <a:r>
                        <a:rPr lang="en-US" sz="1200" baseline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Status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4610" marR="54610" marT="54610" marB="54610" anchor="ctr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ate Closed </a:t>
                      </a:r>
                    </a:p>
                  </a:txBody>
                  <a:tcPr marL="54610" marR="54610" marT="54610" marB="54610" anchor="ctr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252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CITC - </a:t>
                      </a: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Client is not satisfied with the awareness material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8 June </a:t>
                      </a: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Faris</a:t>
                      </a: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o be finalized with project sponsor</a:t>
                      </a: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N/A</a:t>
                      </a: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N/A</a:t>
                      </a: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252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prstClr val="black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CO -It's unclear KPMG KSA interest in pursuing phase 3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9 June</a:t>
                      </a: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aad</a:t>
                      </a: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o be discussed with project sponsor</a:t>
                      </a: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N/A</a:t>
                      </a: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N/A</a:t>
                      </a: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252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252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6167243-2A4E-48FE-8154-A0E084AF1640}"/>
              </a:ext>
            </a:extLst>
          </p:cNvPr>
          <p:cNvSpPr/>
          <p:nvPr/>
        </p:nvSpPr>
        <p:spPr>
          <a:xfrm>
            <a:off x="3195547" y="6231898"/>
            <a:ext cx="5830029" cy="3494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38A2BD9-37B3-428F-924C-E0BF6324DA07}"/>
              </a:ext>
            </a:extLst>
          </p:cNvPr>
          <p:cNvSpPr/>
          <p:nvPr/>
        </p:nvSpPr>
        <p:spPr>
          <a:xfrm>
            <a:off x="8456879" y="128810"/>
            <a:ext cx="2034455" cy="5364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417816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Appendix C – Action Register </a:t>
            </a:r>
            <a:endParaRPr lang="en-US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4805998"/>
              </p:ext>
            </p:extLst>
          </p:nvPr>
        </p:nvGraphicFramePr>
        <p:xfrm>
          <a:off x="2276395" y="1488627"/>
          <a:ext cx="7639211" cy="2309476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7148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148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1486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1486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1486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5039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933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1486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1486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14865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9056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520115">
                <a:tc gridSpan="1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NZ" sz="1200" b="1" u="none" strike="noStrike">
                          <a:effectLst/>
                        </a:rPr>
                        <a:t>Action Item Register</a:t>
                      </a:r>
                      <a:endParaRPr lang="en-NZ" sz="12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4610" marR="54610" marT="54610" marB="54610" anchor="ctr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4610" marR="54610" marT="54610" marB="54610" anchor="ctr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4610" marR="54610" marT="54610" marB="54610" anchor="ctr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4610" marR="54610" marT="54610" marB="54610" anchor="ctr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4610" marR="54610" marT="54610" marB="54610" anchor="ctr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4610" marR="54610" marT="54610" marB="54610" anchor="ctr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4610" marR="54610" marT="54610" marB="54610" anchor="ctr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4610" marR="54610" marT="54610" marB="54610" anchor="ctr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4610" marR="54610" marT="54610" marB="54610" anchor="ctr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4610" marR="54610" marT="54610" marB="54610" anchor="ctr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4610" marR="54610" marT="54610" marB="54610" anchor="ctr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 gridSpan="1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NZ" sz="1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4610" marR="54610" marT="54610" marB="54610" anchor="ctr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2524">
                <a:tc>
                  <a:txBody>
                    <a:bodyPr/>
                    <a:lstStyle/>
                    <a:p>
                      <a:pPr algn="ctr" fontAlgn="t"/>
                      <a:r>
                        <a:rPr lang="en-NZ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No.</a:t>
                      </a:r>
                      <a:endParaRPr lang="en-NZ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89" marR="5689" marT="5689" marB="0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NZ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Action item</a:t>
                      </a:r>
                      <a:endParaRPr lang="en-NZ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89" marR="5689" marT="5689" marB="0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NZ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Description</a:t>
                      </a:r>
                      <a:endParaRPr lang="en-NZ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89" marR="5689" marT="5689" marB="0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NZ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Status / ongoing activities</a:t>
                      </a:r>
                      <a:endParaRPr lang="en-NZ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89" marR="5689" marT="5689" marB="0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NZ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Sub-project</a:t>
                      </a:r>
                      <a:endParaRPr lang="en-NZ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89" marR="5689" marT="5689" marB="0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NZ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Owner / responsibility</a:t>
                      </a:r>
                      <a:endParaRPr lang="en-NZ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89" marR="5689" marT="5689" marB="0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NZ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Priority</a:t>
                      </a:r>
                      <a:endParaRPr lang="en-NZ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89" marR="5689" marT="5689" marB="0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NZ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Date identified</a:t>
                      </a:r>
                      <a:endParaRPr lang="en-NZ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89" marR="5689" marT="5689" marB="0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NZ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Due date</a:t>
                      </a:r>
                      <a:endParaRPr lang="en-NZ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89" marR="5689" marT="5689" marB="0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NZ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Date closed</a:t>
                      </a:r>
                      <a:endParaRPr lang="en-NZ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89" marR="5689" marT="5689" marB="0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NZ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Status</a:t>
                      </a:r>
                      <a:endParaRPr lang="en-NZ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689" marR="5689" marT="5689" marB="0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252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900" b="0" i="0" u="none" strike="noStrike" cap="none" normalizeH="0" baseline="0">
                        <a:ln>
                          <a:noFill/>
                        </a:ln>
                        <a:solidFill>
                          <a:srgbClr val="00338D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900" b="0" i="0" u="none" strike="noStrike" cap="none" normalizeH="0" baseline="0">
                        <a:ln>
                          <a:noFill/>
                        </a:ln>
                        <a:solidFill>
                          <a:srgbClr val="00338D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900" b="0" i="0" u="none" strike="noStrike" cap="none" normalizeH="0" baseline="0">
                        <a:ln>
                          <a:noFill/>
                        </a:ln>
                        <a:solidFill>
                          <a:srgbClr val="00338D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900" b="0" i="0" u="none" strike="noStrike" cap="none" normalizeH="0" baseline="0">
                        <a:ln>
                          <a:noFill/>
                        </a:ln>
                        <a:solidFill>
                          <a:srgbClr val="00338D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900" b="0" i="0" u="none" strike="noStrike" kern="1200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900" b="0" i="0" u="none" strike="noStrike" cap="none" normalizeH="0" baseline="0">
                        <a:ln>
                          <a:noFill/>
                        </a:ln>
                        <a:solidFill>
                          <a:srgbClr val="00338D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900" b="0" i="0" u="none" strike="noStrike" cap="none" normalizeH="0" baseline="0">
                        <a:ln>
                          <a:noFill/>
                        </a:ln>
                        <a:solidFill>
                          <a:srgbClr val="00338D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900" b="0" i="0" u="none" strike="noStrike" cap="none" normalizeH="0" baseline="0">
                        <a:ln>
                          <a:noFill/>
                        </a:ln>
                        <a:solidFill>
                          <a:srgbClr val="00338D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900" b="0" i="0" u="none" strike="noStrike" cap="none" normalizeH="0" baseline="0">
                        <a:ln>
                          <a:noFill/>
                        </a:ln>
                        <a:solidFill>
                          <a:srgbClr val="00338D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900" b="0" i="0" u="none" strike="noStrike" cap="none" normalizeH="0" baseline="0">
                        <a:ln>
                          <a:noFill/>
                        </a:ln>
                        <a:solidFill>
                          <a:srgbClr val="00338D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900" b="0" i="0" u="none" strike="noStrike" cap="none" normalizeH="0" baseline="0">
                        <a:ln>
                          <a:noFill/>
                        </a:ln>
                        <a:solidFill>
                          <a:srgbClr val="00338D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252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900" b="0" i="0" u="none" strike="noStrike" cap="none" normalizeH="0" baseline="0">
                        <a:ln>
                          <a:noFill/>
                        </a:ln>
                        <a:solidFill>
                          <a:srgbClr val="00338D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900" b="0" i="0" u="none" strike="noStrike" cap="none" normalizeH="0" baseline="0">
                        <a:ln>
                          <a:noFill/>
                        </a:ln>
                        <a:solidFill>
                          <a:srgbClr val="00338D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900" b="0" i="0" u="none" strike="noStrike" cap="none" normalizeH="0" baseline="0">
                        <a:ln>
                          <a:noFill/>
                        </a:ln>
                        <a:solidFill>
                          <a:srgbClr val="00338D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900" b="0" i="0" u="none" strike="noStrike" cap="none" normalizeH="0" baseline="0">
                        <a:ln>
                          <a:noFill/>
                        </a:ln>
                        <a:solidFill>
                          <a:srgbClr val="00338D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900" b="0" i="0" u="none" strike="noStrike" cap="none" normalizeH="0" baseline="0">
                        <a:ln>
                          <a:noFill/>
                        </a:ln>
                        <a:solidFill>
                          <a:srgbClr val="00338D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900" b="0" i="0" u="none" strike="noStrike" cap="none" normalizeH="0" baseline="0">
                        <a:ln>
                          <a:noFill/>
                        </a:ln>
                        <a:solidFill>
                          <a:srgbClr val="00338D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900" b="0" i="0" u="none" strike="noStrike" cap="none" normalizeH="0" baseline="0">
                        <a:ln>
                          <a:noFill/>
                        </a:ln>
                        <a:solidFill>
                          <a:srgbClr val="00338D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900" b="0" i="0" u="none" strike="noStrike" cap="none" normalizeH="0" baseline="0">
                        <a:ln>
                          <a:noFill/>
                        </a:ln>
                        <a:solidFill>
                          <a:srgbClr val="00338D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900" b="0" i="0" u="none" strike="noStrike" cap="none" normalizeH="0" baseline="0">
                        <a:ln>
                          <a:noFill/>
                        </a:ln>
                        <a:solidFill>
                          <a:srgbClr val="00338D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900" b="0" i="0" u="none" strike="noStrike" cap="none" normalizeH="0" baseline="0">
                        <a:ln>
                          <a:noFill/>
                        </a:ln>
                        <a:solidFill>
                          <a:srgbClr val="00338D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252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900" b="0" i="0" u="none" strike="noStrike" cap="none" normalizeH="0" baseline="0">
                        <a:ln>
                          <a:noFill/>
                        </a:ln>
                        <a:solidFill>
                          <a:srgbClr val="00338D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900" b="0" i="0" u="none" strike="noStrike" cap="none" normalizeH="0" baseline="0">
                        <a:ln>
                          <a:noFill/>
                        </a:ln>
                        <a:solidFill>
                          <a:srgbClr val="00338D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900" b="0" i="0" u="none" strike="noStrike" cap="none" normalizeH="0" baseline="0">
                        <a:ln>
                          <a:noFill/>
                        </a:ln>
                        <a:solidFill>
                          <a:srgbClr val="00338D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900" b="0" i="0" u="none" strike="noStrike" cap="none" normalizeH="0" baseline="0">
                        <a:ln>
                          <a:noFill/>
                        </a:ln>
                        <a:solidFill>
                          <a:srgbClr val="00338D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4367C5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T="45711" marB="45711" anchor="ctr" horzOverflow="overflow">
                    <a:lnL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A1768196-4783-49DB-AA1C-5E54DF371C7F}"/>
              </a:ext>
            </a:extLst>
          </p:cNvPr>
          <p:cNvSpPr/>
          <p:nvPr/>
        </p:nvSpPr>
        <p:spPr>
          <a:xfrm>
            <a:off x="3195547" y="6231898"/>
            <a:ext cx="5830029" cy="3494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5976788-9E37-424C-9B10-7ADC88415229}"/>
              </a:ext>
            </a:extLst>
          </p:cNvPr>
          <p:cNvSpPr/>
          <p:nvPr/>
        </p:nvSpPr>
        <p:spPr>
          <a:xfrm>
            <a:off x="8456879" y="128810"/>
            <a:ext cx="2034455" cy="5364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00872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66950" y="2228851"/>
            <a:ext cx="6286500" cy="1269578"/>
          </a:xfrm>
        </p:spPr>
        <p:txBody>
          <a:bodyPr/>
          <a:lstStyle/>
          <a:p>
            <a:r>
              <a:rPr lang="en-US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38411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C9E6A68-60DD-465A-AE39-A8D85DD027A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087" y="772584"/>
            <a:ext cx="10666628" cy="6940550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E2A5CB8D-9C30-499F-9612-0B3072D7EA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686" y="242421"/>
            <a:ext cx="10185600" cy="518400"/>
          </a:xfrm>
        </p:spPr>
        <p:txBody>
          <a:bodyPr/>
          <a:lstStyle/>
          <a:p>
            <a:r>
              <a:rPr lang="en-AU"/>
              <a:t>Resource Utilization 2022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4F4841F4-23A3-459C-B1C9-75BCDEDB2405}"/>
              </a:ext>
            </a:extLst>
          </p:cNvPr>
          <p:cNvSpPr/>
          <p:nvPr/>
        </p:nvSpPr>
        <p:spPr>
          <a:xfrm>
            <a:off x="8456879" y="128810"/>
            <a:ext cx="2034455" cy="5364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4F5CB26E-EDB7-4749-875D-AF83F6B250D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0991896"/>
              </p:ext>
            </p:extLst>
          </p:nvPr>
        </p:nvGraphicFramePr>
        <p:xfrm>
          <a:off x="1522776" y="2278743"/>
          <a:ext cx="8753337" cy="39478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5848400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10457CE-FFDA-4040-B30D-479FBD0CE87D}"/>
              </a:ext>
            </a:extLst>
          </p:cNvPr>
          <p:cNvSpPr/>
          <p:nvPr/>
        </p:nvSpPr>
        <p:spPr>
          <a:xfrm>
            <a:off x="7272489" y="874491"/>
            <a:ext cx="4244390" cy="5148938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72000" tIns="72000" rIns="72000" bIns="72000" rtlCol="0" anchor="t" anchorCtr="0">
            <a:noAutofit/>
          </a:bodyPr>
          <a:lstStyle/>
          <a:p>
            <a:pPr marL="171450" indent="-171450" defTabSz="581456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400" kern="0">
              <a:solidFill>
                <a:schemeClr val="bg2">
                  <a:lumMod val="10000"/>
                </a:schemeClr>
              </a:solidFill>
              <a:ea typeface="+mj-ea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E2A5CB8D-9C30-499F-9612-0B3072D7EA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686" y="242421"/>
            <a:ext cx="10185600" cy="518400"/>
          </a:xfrm>
        </p:spPr>
        <p:txBody>
          <a:bodyPr/>
          <a:lstStyle/>
          <a:p>
            <a:r>
              <a:rPr lang="en-AU"/>
              <a:t>Financial Dashboard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4F4841F4-23A3-459C-B1C9-75BCDEDB2405}"/>
              </a:ext>
            </a:extLst>
          </p:cNvPr>
          <p:cNvSpPr/>
          <p:nvPr/>
        </p:nvSpPr>
        <p:spPr>
          <a:xfrm>
            <a:off x="8456879" y="128810"/>
            <a:ext cx="2034455" cy="5364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4F5CB26E-EDB7-4749-875D-AF83F6B250D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6259396"/>
              </p:ext>
            </p:extLst>
          </p:nvPr>
        </p:nvGraphicFramePr>
        <p:xfrm>
          <a:off x="203200" y="1262743"/>
          <a:ext cx="7069289" cy="44558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9A64815D-F465-49EB-A39E-4D7FAC835F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1500282"/>
              </p:ext>
            </p:extLst>
          </p:nvPr>
        </p:nvGraphicFramePr>
        <p:xfrm>
          <a:off x="7836710" y="1047547"/>
          <a:ext cx="3115948" cy="43107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3117AA82-A074-4D19-A313-271E070DEE68}"/>
              </a:ext>
            </a:extLst>
          </p:cNvPr>
          <p:cNvSpPr/>
          <p:nvPr/>
        </p:nvSpPr>
        <p:spPr>
          <a:xfrm>
            <a:off x="3180985" y="6266127"/>
            <a:ext cx="5830029" cy="3494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95364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EC1E1A90-F690-4FF5-85C5-E7CC9F2913D5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 rot="5400000">
            <a:off x="3751853" y="-1192070"/>
            <a:ext cx="5043715" cy="9049831"/>
          </a:xfrm>
          <a:prstGeom prst="roundRect">
            <a:avLst>
              <a:gd name="adj" fmla="val 3545"/>
            </a:avLst>
          </a:prstGeom>
          <a:gradFill>
            <a:gsLst>
              <a:gs pos="0">
                <a:schemeClr val="accent6"/>
              </a:gs>
              <a:gs pos="48000">
                <a:schemeClr val="accent1">
                  <a:lumMod val="7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0"/>
          </a:gradFill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E2A5CB8D-9C30-499F-9612-0B3072D7EA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686" y="242421"/>
            <a:ext cx="10185600" cy="518400"/>
          </a:xfrm>
        </p:spPr>
        <p:txBody>
          <a:bodyPr/>
          <a:lstStyle/>
          <a:p>
            <a:r>
              <a:rPr lang="en-AU"/>
              <a:t>DLH Invoices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4F4841F4-23A3-459C-B1C9-75BCDEDB2405}"/>
              </a:ext>
            </a:extLst>
          </p:cNvPr>
          <p:cNvSpPr/>
          <p:nvPr/>
        </p:nvSpPr>
        <p:spPr>
          <a:xfrm>
            <a:off x="8456879" y="128810"/>
            <a:ext cx="2034455" cy="5364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62A00C6F-3E75-4122-AD6D-B6F0C6FB41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6651626"/>
              </p:ext>
            </p:extLst>
          </p:nvPr>
        </p:nvGraphicFramePr>
        <p:xfrm>
          <a:off x="2054002" y="1774125"/>
          <a:ext cx="8437331" cy="39651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4548">
                  <a:extLst>
                    <a:ext uri="{9D8B030D-6E8A-4147-A177-3AD203B41FA5}">
                      <a16:colId xmlns:a16="http://schemas.microsoft.com/office/drawing/2014/main" val="683961414"/>
                    </a:ext>
                  </a:extLst>
                </a:gridCol>
                <a:gridCol w="1285875">
                  <a:extLst>
                    <a:ext uri="{9D8B030D-6E8A-4147-A177-3AD203B41FA5}">
                      <a16:colId xmlns:a16="http://schemas.microsoft.com/office/drawing/2014/main" val="3334115074"/>
                    </a:ext>
                  </a:extLst>
                </a:gridCol>
                <a:gridCol w="1047750">
                  <a:extLst>
                    <a:ext uri="{9D8B030D-6E8A-4147-A177-3AD203B41FA5}">
                      <a16:colId xmlns:a16="http://schemas.microsoft.com/office/drawing/2014/main" val="1879031478"/>
                    </a:ext>
                  </a:extLst>
                </a:gridCol>
                <a:gridCol w="1175835">
                  <a:extLst>
                    <a:ext uri="{9D8B030D-6E8A-4147-A177-3AD203B41FA5}">
                      <a16:colId xmlns:a16="http://schemas.microsoft.com/office/drawing/2014/main" val="2458194784"/>
                    </a:ext>
                  </a:extLst>
                </a:gridCol>
                <a:gridCol w="1057706">
                  <a:extLst>
                    <a:ext uri="{9D8B030D-6E8A-4147-A177-3AD203B41FA5}">
                      <a16:colId xmlns:a16="http://schemas.microsoft.com/office/drawing/2014/main" val="2851952231"/>
                    </a:ext>
                  </a:extLst>
                </a:gridCol>
                <a:gridCol w="960445">
                  <a:extLst>
                    <a:ext uri="{9D8B030D-6E8A-4147-A177-3AD203B41FA5}">
                      <a16:colId xmlns:a16="http://schemas.microsoft.com/office/drawing/2014/main" val="74403946"/>
                    </a:ext>
                  </a:extLst>
                </a:gridCol>
                <a:gridCol w="1325172">
                  <a:extLst>
                    <a:ext uri="{9D8B030D-6E8A-4147-A177-3AD203B41FA5}">
                      <a16:colId xmlns:a16="http://schemas.microsoft.com/office/drawing/2014/main" val="2669222146"/>
                    </a:ext>
                  </a:extLst>
                </a:gridCol>
              </a:tblGrid>
              <a:tr h="349950">
                <a:tc>
                  <a:txBody>
                    <a:bodyPr/>
                    <a:lstStyle/>
                    <a:p>
                      <a:r>
                        <a:rPr lang="en-US" sz="1000"/>
                        <a:t>Invoice</a:t>
                      </a:r>
                    </a:p>
                  </a:txBody>
                  <a:tcPr anchor="ctr"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Manager</a:t>
                      </a:r>
                    </a:p>
                  </a:txBody>
                  <a:tcPr anchor="ctr"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Amount</a:t>
                      </a:r>
                    </a:p>
                  </a:txBody>
                  <a:tcPr anchor="ctr"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Due</a:t>
                      </a:r>
                    </a:p>
                  </a:txBody>
                  <a:tcPr anchor="ctr"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Project</a:t>
                      </a:r>
                    </a:p>
                  </a:txBody>
                  <a:tcPr anchor="ctr"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Status</a:t>
                      </a:r>
                    </a:p>
                  </a:txBody>
                  <a:tcPr anchor="ctr"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Comments</a:t>
                      </a:r>
                    </a:p>
                  </a:txBody>
                  <a:tcPr anchor="ctr"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4097030668"/>
                  </a:ext>
                </a:extLst>
              </a:tr>
              <a:tr h="451895">
                <a:tc>
                  <a:txBody>
                    <a:bodyPr/>
                    <a:lstStyle/>
                    <a:p>
                      <a:r>
                        <a:rPr lang="en-US" sz="1000" b="1"/>
                        <a:t>Payment 1 (Payment Description)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Ahmad Abdullah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err="1"/>
                        <a:t>Xxxxx</a:t>
                      </a:r>
                      <a:r>
                        <a:rPr lang="en-US" sz="1000"/>
                        <a:t>$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mm\2022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Project XYZ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>
                          <a:solidFill>
                            <a:schemeClr val="bg1"/>
                          </a:solidFill>
                        </a:rPr>
                        <a:t>Invoiced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1147378"/>
                  </a:ext>
                </a:extLst>
              </a:tr>
              <a:tr h="45189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/>
                        <a:t>Payment 2 (Payment Description)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/>
                        <a:t>Abdullah Ahmad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err="1"/>
                        <a:t>Xxxxxx</a:t>
                      </a:r>
                      <a:r>
                        <a:rPr lang="en-US" sz="1000"/>
                        <a:t>$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/>
                        <a:t>mm\2022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/>
                        <a:t>Project XYZ</a:t>
                      </a:r>
                    </a:p>
                    <a:p>
                      <a:endParaRPr lang="en-US" sz="10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err="1">
                          <a:solidFill>
                            <a:schemeClr val="bg1"/>
                          </a:solidFill>
                        </a:rPr>
                        <a:t>Eetmad</a:t>
                      </a:r>
                      <a:r>
                        <a:rPr lang="en-US" sz="900" b="1">
                          <a:solidFill>
                            <a:schemeClr val="bg1"/>
                          </a:solidFill>
                        </a:rPr>
                        <a:t> KPMG upload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841842"/>
                  </a:ext>
                </a:extLst>
              </a:tr>
              <a:tr h="45189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/>
                        <a:t>Payment 3 (Payment Description)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/>
                        <a:t>Omar Saad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err="1"/>
                        <a:t>Xxxxxx</a:t>
                      </a:r>
                      <a:r>
                        <a:rPr lang="en-US" sz="1000"/>
                        <a:t>$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/>
                        <a:t>mm\2022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/>
                        <a:t>Project XYZ</a:t>
                      </a:r>
                    </a:p>
                    <a:p>
                      <a:endParaRPr lang="en-US" sz="10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>
                          <a:solidFill>
                            <a:schemeClr val="bg1"/>
                          </a:solidFill>
                        </a:rPr>
                        <a:t>Pending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204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Required Attention  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0102162"/>
                  </a:ext>
                </a:extLst>
              </a:tr>
              <a:tr h="45189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/>
                        <a:t>Payment 4 (Payment Description)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/>
                        <a:t>Mohammad </a:t>
                      </a:r>
                      <a:r>
                        <a:rPr lang="en-US" sz="1000" err="1"/>
                        <a:t>Saed</a:t>
                      </a:r>
                      <a:endParaRPr lang="en-US" sz="10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err="1"/>
                        <a:t>Xxxxxx</a:t>
                      </a:r>
                      <a:r>
                        <a:rPr lang="en-US" sz="1000"/>
                        <a:t>$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/>
                        <a:t>mm\2022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/>
                        <a:t>Project XYZ</a:t>
                      </a:r>
                    </a:p>
                    <a:p>
                      <a:endParaRPr lang="en-US" sz="10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>
                          <a:solidFill>
                            <a:schemeClr val="bg1"/>
                          </a:solidFill>
                        </a:rPr>
                        <a:t>Collected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2598132"/>
                  </a:ext>
                </a:extLst>
              </a:tr>
              <a:tr h="45189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/>
                        <a:t>Payment 5 (Payment Description)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Ahmad Abdullah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err="1"/>
                        <a:t>Xxxxxx</a:t>
                      </a:r>
                      <a:r>
                        <a:rPr lang="en-US" sz="1000"/>
                        <a:t>$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/>
                        <a:t>mm\2022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/>
                        <a:t>Project XYZ</a:t>
                      </a:r>
                    </a:p>
                    <a:p>
                      <a:endParaRPr lang="en-US" sz="10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>
                          <a:solidFill>
                            <a:schemeClr val="bg1"/>
                          </a:solidFill>
                        </a:rPr>
                        <a:t>Invoiced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2937980"/>
                  </a:ext>
                </a:extLst>
              </a:tr>
              <a:tr h="45189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/>
                        <a:t>Payment 6 (Payment Description)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/>
                        <a:t>Abdullah Ahmad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err="1"/>
                        <a:t>Xxxxxx</a:t>
                      </a:r>
                      <a:r>
                        <a:rPr lang="en-US" sz="1000"/>
                        <a:t>$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/>
                        <a:t>mm\2022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/>
                        <a:t>Project XYZ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err="1">
                          <a:solidFill>
                            <a:schemeClr val="bg1"/>
                          </a:solidFill>
                        </a:rPr>
                        <a:t>Eetmad</a:t>
                      </a:r>
                      <a:r>
                        <a:rPr lang="en-US" sz="900" b="1">
                          <a:solidFill>
                            <a:schemeClr val="bg1"/>
                          </a:solidFill>
                        </a:rPr>
                        <a:t> Client upload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7936820"/>
                  </a:ext>
                </a:extLst>
              </a:tr>
              <a:tr h="45189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/>
                        <a:t>Payment 7 (Payment Description)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/>
                        <a:t>Omar Saad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err="1"/>
                        <a:t>Xxxxxx</a:t>
                      </a:r>
                      <a:r>
                        <a:rPr lang="en-US" sz="1000"/>
                        <a:t>$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/>
                        <a:t>mm\2022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/>
                        <a:t>Project XYZ</a:t>
                      </a:r>
                    </a:p>
                    <a:p>
                      <a:endParaRPr lang="en-US" sz="10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>
                          <a:solidFill>
                            <a:schemeClr val="bg1"/>
                          </a:solidFill>
                        </a:rPr>
                        <a:t>Pending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204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/>
                        <a:t>Required Attention  </a:t>
                      </a:r>
                    </a:p>
                    <a:p>
                      <a:endParaRPr lang="en-US" sz="10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3004940"/>
                  </a:ext>
                </a:extLst>
              </a:tr>
              <a:tr h="45189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/>
                        <a:t>Payment 8 (Payment Description)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/>
                        <a:t>Mohammad </a:t>
                      </a:r>
                      <a:r>
                        <a:rPr lang="en-US" sz="1000" err="1"/>
                        <a:t>Saed</a:t>
                      </a:r>
                      <a:endParaRPr lang="en-US" sz="10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err="1"/>
                        <a:t>Xxxxxx</a:t>
                      </a:r>
                      <a:r>
                        <a:rPr lang="en-US" sz="1000"/>
                        <a:t>$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/>
                        <a:t>mm\2022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/>
                        <a:t>Project XYZ</a:t>
                      </a:r>
                    </a:p>
                    <a:p>
                      <a:endParaRPr lang="en-US" sz="10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>
                          <a:solidFill>
                            <a:schemeClr val="bg1"/>
                          </a:solidFill>
                        </a:rPr>
                        <a:t>Collected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8696374"/>
                  </a:ext>
                </a:extLst>
              </a:tr>
            </a:tbl>
          </a:graphicData>
        </a:graphic>
      </p:graphicFrame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DCFF154-D28E-4D3A-8488-9B55523355B1}"/>
              </a:ext>
            </a:extLst>
          </p:cNvPr>
          <p:cNvSpPr/>
          <p:nvPr/>
        </p:nvSpPr>
        <p:spPr>
          <a:xfrm>
            <a:off x="2074285" y="1097052"/>
            <a:ext cx="1478797" cy="518400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Total: </a:t>
            </a:r>
            <a:r>
              <a:rPr lang="en-US">
                <a:solidFill>
                  <a:schemeClr val="bg1"/>
                </a:solidFill>
              </a:rPr>
              <a:t>17.5$  M 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C7CBB5D-5B2E-4CD2-8C1E-4B33FFFF626F}"/>
              </a:ext>
            </a:extLst>
          </p:cNvPr>
          <p:cNvSpPr/>
          <p:nvPr/>
        </p:nvSpPr>
        <p:spPr>
          <a:xfrm>
            <a:off x="3689996" y="1097071"/>
            <a:ext cx="1407588" cy="518381"/>
          </a:xfrm>
          <a:prstGeom prst="roundRect">
            <a:avLst/>
          </a:prstGeom>
          <a:solidFill>
            <a:srgbClr val="43B0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Invoiced: 8.5$  M 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8F0461AD-CC24-48F3-816A-A107C84E2052}"/>
              </a:ext>
            </a:extLst>
          </p:cNvPr>
          <p:cNvSpPr/>
          <p:nvPr/>
        </p:nvSpPr>
        <p:spPr>
          <a:xfrm>
            <a:off x="5234499" y="1097070"/>
            <a:ext cx="1519274" cy="518381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ollected: 17.5$  M 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F9C90E23-75E2-46BB-9C0E-CDE064742DC6}"/>
              </a:ext>
            </a:extLst>
          </p:cNvPr>
          <p:cNvSpPr/>
          <p:nvPr/>
        </p:nvSpPr>
        <p:spPr>
          <a:xfrm>
            <a:off x="6937605" y="1097072"/>
            <a:ext cx="1519274" cy="518381"/>
          </a:xfrm>
          <a:prstGeom prst="roundRect">
            <a:avLst/>
          </a:prstGeom>
          <a:solidFill>
            <a:srgbClr val="F68D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1200" err="1">
                <a:solidFill>
                  <a:schemeClr val="bg1"/>
                </a:solidFill>
              </a:rPr>
              <a:t>Etmad</a:t>
            </a:r>
            <a:r>
              <a:rPr lang="en-US" sz="1200">
                <a:solidFill>
                  <a:schemeClr val="bg1"/>
                </a:solidFill>
              </a:rPr>
              <a:t>: 17.5$  M 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9C4E724B-B608-4D65-BCD2-03F2AF1AC336}"/>
              </a:ext>
            </a:extLst>
          </p:cNvPr>
          <p:cNvSpPr/>
          <p:nvPr/>
        </p:nvSpPr>
        <p:spPr>
          <a:xfrm>
            <a:off x="8659202" y="1097072"/>
            <a:ext cx="1478797" cy="518381"/>
          </a:xfrm>
          <a:prstGeom prst="roundRect">
            <a:avLst/>
          </a:prstGeom>
          <a:solidFill>
            <a:srgbClr val="BC20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Pending: 17.5$  M </a:t>
            </a:r>
          </a:p>
        </p:txBody>
      </p:sp>
    </p:spTree>
    <p:extLst>
      <p:ext uri="{BB962C8B-B14F-4D97-AF65-F5344CB8AC3E}">
        <p14:creationId xmlns:p14="http://schemas.microsoft.com/office/powerpoint/2010/main" val="41278944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Slide" r:id="rId5" imgW="293" imgH="274" progId="TCLayout.ActiveDocument.1">
                  <p:embed/>
                </p:oleObj>
              </mc:Choice>
              <mc:Fallback>
                <p:oleObj name="think-cell Slide" r:id="rId5" imgW="293" imgH="274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2" name="Rectangle 381"/>
          <p:cNvSpPr/>
          <p:nvPr/>
        </p:nvSpPr>
        <p:spPr>
          <a:xfrm>
            <a:off x="154597" y="4305118"/>
            <a:ext cx="3182519" cy="23750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defTabSz="1058286"/>
            <a:endParaRPr lang="en-US" sz="1500" err="1">
              <a:solidFill>
                <a:prstClr val="white"/>
              </a:solidFill>
              <a:latin typeface="Arial"/>
            </a:endParaRPr>
          </a:p>
        </p:txBody>
      </p:sp>
      <p:sp>
        <p:nvSpPr>
          <p:cNvPr id="431" name="Title 5"/>
          <p:cNvSpPr txBox="1">
            <a:spLocks/>
          </p:cNvSpPr>
          <p:nvPr/>
        </p:nvSpPr>
        <p:spPr>
          <a:xfrm>
            <a:off x="0" y="-4772"/>
            <a:ext cx="12192000" cy="1081733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61427" y="266394"/>
            <a:ext cx="8154804" cy="416216"/>
          </a:xfrm>
          <a:noFill/>
        </p:spPr>
        <p:txBody>
          <a:bodyPr anchor="t"/>
          <a:lstStyle/>
          <a:p>
            <a:pPr algn="l"/>
            <a:r>
              <a:rPr lang="en-US" sz="4889">
                <a:solidFill>
                  <a:schemeClr val="bg1"/>
                </a:solidFill>
              </a:rPr>
              <a:t>CITC Project Health</a:t>
            </a:r>
          </a:p>
        </p:txBody>
      </p:sp>
      <p:sp>
        <p:nvSpPr>
          <p:cNvPr id="235" name="Title 5"/>
          <p:cNvSpPr txBox="1">
            <a:spLocks/>
          </p:cNvSpPr>
          <p:nvPr/>
        </p:nvSpPr>
        <p:spPr>
          <a:xfrm>
            <a:off x="3" y="-4772"/>
            <a:ext cx="60959" cy="1081733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cxnSp>
        <p:nvCxnSpPr>
          <p:cNvPr id="237" name="Straight Connector 236"/>
          <p:cNvCxnSpPr>
            <a:cxnSpLocks/>
          </p:cNvCxnSpPr>
          <p:nvPr/>
        </p:nvCxnSpPr>
        <p:spPr>
          <a:xfrm>
            <a:off x="308631" y="4305118"/>
            <a:ext cx="0" cy="231920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4" name="Round Same Side Corner Rectangle 243"/>
          <p:cNvSpPr/>
          <p:nvPr/>
        </p:nvSpPr>
        <p:spPr>
          <a:xfrm>
            <a:off x="154597" y="4289365"/>
            <a:ext cx="3182519" cy="331382"/>
          </a:xfrm>
          <a:prstGeom prst="round2Same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</p:spPr>
        <p:txBody>
          <a:bodyPr wrap="square" lIns="121920" tIns="0" bIns="60960" anchor="ctr">
            <a:noAutofit/>
          </a:bodyPr>
          <a:lstStyle/>
          <a:p>
            <a:pPr defTabSz="1058286"/>
            <a:r>
              <a:rPr lang="en-US" sz="1400" b="1">
                <a:solidFill>
                  <a:prstClr val="white"/>
                </a:solidFill>
                <a:latin typeface="Arial"/>
                <a:cs typeface="DIN Next LT Arabic"/>
              </a:rPr>
              <a:t>Other Key updates &amp; notes</a:t>
            </a:r>
          </a:p>
        </p:txBody>
      </p:sp>
      <p:sp>
        <p:nvSpPr>
          <p:cNvPr id="247" name="Rectangle 246"/>
          <p:cNvSpPr/>
          <p:nvPr/>
        </p:nvSpPr>
        <p:spPr>
          <a:xfrm>
            <a:off x="340381" y="4633350"/>
            <a:ext cx="3013378" cy="10326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90498" indent="-190498">
              <a:buFont typeface="Arial" panose="020B0604020202020204" pitchFamily="34" charset="0"/>
              <a:buChar char="•"/>
            </a:pPr>
            <a:r>
              <a:rPr lang="en-US" sz="1222" dirty="0"/>
              <a:t>Note: Client is not satisfied with the awareness material</a:t>
            </a:r>
          </a:p>
          <a:p>
            <a:pPr marL="190498" indent="-190498">
              <a:buFont typeface="Arial" panose="020B0604020202020204" pitchFamily="34" charset="0"/>
              <a:buChar char="•"/>
            </a:pPr>
            <a:r>
              <a:rPr lang="en-US" sz="1222" dirty="0"/>
              <a:t>Note: Team is still waiting for stakeholder comments</a:t>
            </a:r>
          </a:p>
          <a:p>
            <a:pPr marL="190498" indent="-190498">
              <a:buFont typeface="Arial" panose="020B0604020202020204" pitchFamily="34" charset="0"/>
              <a:buChar char="•"/>
            </a:pPr>
            <a:r>
              <a:rPr lang="en-US" sz="1222" dirty="0"/>
              <a:t>Note: Risks need to be reviewed</a:t>
            </a:r>
          </a:p>
        </p:txBody>
      </p:sp>
      <p:grpSp>
        <p:nvGrpSpPr>
          <p:cNvPr id="383" name="Group 382"/>
          <p:cNvGrpSpPr/>
          <p:nvPr/>
        </p:nvGrpSpPr>
        <p:grpSpPr>
          <a:xfrm>
            <a:off x="172640" y="6624523"/>
            <a:ext cx="3164476" cy="104129"/>
            <a:chOff x="170119" y="2637607"/>
            <a:chExt cx="2373357" cy="130724"/>
          </a:xfrm>
        </p:grpSpPr>
        <p:sp>
          <p:nvSpPr>
            <p:cNvPr id="384" name="Right Triangle 383"/>
            <p:cNvSpPr/>
            <p:nvPr/>
          </p:nvSpPr>
          <p:spPr>
            <a:xfrm flipH="1" flipV="1">
              <a:off x="173559" y="2637607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85" name="Right Triangle 384"/>
            <p:cNvSpPr/>
            <p:nvPr/>
          </p:nvSpPr>
          <p:spPr>
            <a:xfrm flipV="1">
              <a:off x="170119" y="2637607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</p:grpSp>
      <p:sp>
        <p:nvSpPr>
          <p:cNvPr id="388" name="Rectangle 387"/>
          <p:cNvSpPr/>
          <p:nvPr/>
        </p:nvSpPr>
        <p:spPr>
          <a:xfrm>
            <a:off x="7518400" y="2655532"/>
            <a:ext cx="4579204" cy="26302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defTabSz="1058286"/>
            <a:endParaRPr lang="en-US" sz="1500" err="1">
              <a:solidFill>
                <a:prstClr val="white"/>
              </a:solidFill>
              <a:latin typeface="Arial"/>
            </a:endParaRPr>
          </a:p>
        </p:txBody>
      </p:sp>
      <p:grpSp>
        <p:nvGrpSpPr>
          <p:cNvPr id="389" name="Group 388"/>
          <p:cNvGrpSpPr/>
          <p:nvPr/>
        </p:nvGrpSpPr>
        <p:grpSpPr>
          <a:xfrm>
            <a:off x="7527930" y="6612634"/>
            <a:ext cx="4558976" cy="135134"/>
            <a:chOff x="170119" y="2402504"/>
            <a:chExt cx="2373357" cy="130725"/>
          </a:xfrm>
        </p:grpSpPr>
        <p:sp>
          <p:nvSpPr>
            <p:cNvPr id="390" name="Right Triangle 389"/>
            <p:cNvSpPr/>
            <p:nvPr/>
          </p:nvSpPr>
          <p:spPr>
            <a:xfrm flipH="1" flipV="1">
              <a:off x="173559" y="2402505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91" name="Right Triangle 390"/>
            <p:cNvSpPr/>
            <p:nvPr/>
          </p:nvSpPr>
          <p:spPr>
            <a:xfrm flipV="1">
              <a:off x="170119" y="2402504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</p:grpSp>
      <p:sp>
        <p:nvSpPr>
          <p:cNvPr id="582" name="Rectangle 581"/>
          <p:cNvSpPr/>
          <p:nvPr/>
        </p:nvSpPr>
        <p:spPr>
          <a:xfrm>
            <a:off x="7518400" y="3993261"/>
            <a:ext cx="4579204" cy="7858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</p:spPr>
        <p:txBody>
          <a:bodyPr wrap="square" lIns="121920" tIns="0" bIns="60960" anchor="ctr">
            <a:noAutofit/>
          </a:bodyPr>
          <a:lstStyle/>
          <a:p>
            <a:pPr algn="ctr" defTabSz="1058286"/>
            <a:endParaRPr lang="en-US" sz="1400" b="1" err="1">
              <a:solidFill>
                <a:prstClr val="white"/>
              </a:solidFill>
              <a:latin typeface="Arial"/>
              <a:cs typeface="DIN Next LT Arabic"/>
            </a:endParaRPr>
          </a:p>
        </p:txBody>
      </p:sp>
      <p:sp>
        <p:nvSpPr>
          <p:cNvPr id="403" name="Freeform 402"/>
          <p:cNvSpPr>
            <a:spLocks/>
          </p:cNvSpPr>
          <p:nvPr/>
        </p:nvSpPr>
        <p:spPr bwMode="auto">
          <a:xfrm>
            <a:off x="7647207" y="3629794"/>
            <a:ext cx="293866" cy="302299"/>
          </a:xfrm>
          <a:custGeom>
            <a:avLst/>
            <a:gdLst>
              <a:gd name="connsiteX0" fmla="*/ 189015 w 931448"/>
              <a:gd name="connsiteY0" fmla="*/ 777 h 970477"/>
              <a:gd name="connsiteX1" fmla="*/ 194858 w 931448"/>
              <a:gd name="connsiteY1" fmla="*/ 8026 h 970477"/>
              <a:gd name="connsiteX2" fmla="*/ 255296 w 931448"/>
              <a:gd name="connsiteY2" fmla="*/ 26885 h 970477"/>
              <a:gd name="connsiteX3" fmla="*/ 451720 w 931448"/>
              <a:gd name="connsiteY3" fmla="*/ 57059 h 970477"/>
              <a:gd name="connsiteX4" fmla="*/ 648144 w 931448"/>
              <a:gd name="connsiteY4" fmla="*/ 155125 h 970477"/>
              <a:gd name="connsiteX5" fmla="*/ 931448 w 931448"/>
              <a:gd name="connsiteY5" fmla="*/ 158897 h 970477"/>
              <a:gd name="connsiteX6" fmla="*/ 878565 w 931448"/>
              <a:gd name="connsiteY6" fmla="*/ 471953 h 970477"/>
              <a:gd name="connsiteX7" fmla="*/ 871010 w 931448"/>
              <a:gd name="connsiteY7" fmla="*/ 498355 h 970477"/>
              <a:gd name="connsiteX8" fmla="*/ 708582 w 931448"/>
              <a:gd name="connsiteY8" fmla="*/ 622823 h 970477"/>
              <a:gd name="connsiteX9" fmla="*/ 512158 w 931448"/>
              <a:gd name="connsiteY9" fmla="*/ 554932 h 970477"/>
              <a:gd name="connsiteX10" fmla="*/ 334621 w 931448"/>
              <a:gd name="connsiteY10" fmla="*/ 468181 h 970477"/>
              <a:gd name="connsiteX11" fmla="*/ 240187 w 931448"/>
              <a:gd name="connsiteY11" fmla="*/ 453094 h 970477"/>
              <a:gd name="connsiteX12" fmla="*/ 111756 w 931448"/>
              <a:gd name="connsiteY12" fmla="*/ 562475 h 970477"/>
              <a:gd name="connsiteX13" fmla="*/ 39114 w 931448"/>
              <a:gd name="connsiteY13" fmla="*/ 970477 h 970477"/>
              <a:gd name="connsiteX14" fmla="*/ 0 w 931448"/>
              <a:gd name="connsiteY14" fmla="*/ 938205 h 970477"/>
              <a:gd name="connsiteX15" fmla="*/ 149529 w 931448"/>
              <a:gd name="connsiteY15" fmla="*/ 79690 h 970477"/>
              <a:gd name="connsiteX16" fmla="*/ 160862 w 931448"/>
              <a:gd name="connsiteY16" fmla="*/ 19341 h 970477"/>
              <a:gd name="connsiteX17" fmla="*/ 189015 w 931448"/>
              <a:gd name="connsiteY17" fmla="*/ 777 h 9704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931448" h="970477">
                <a:moveTo>
                  <a:pt x="189015" y="777"/>
                </a:moveTo>
                <a:cubicBezTo>
                  <a:pt x="191789" y="1897"/>
                  <a:pt x="193914" y="4254"/>
                  <a:pt x="194858" y="8026"/>
                </a:cubicBezTo>
                <a:cubicBezTo>
                  <a:pt x="206190" y="57059"/>
                  <a:pt x="232632" y="30657"/>
                  <a:pt x="255296" y="26885"/>
                </a:cubicBezTo>
                <a:cubicBezTo>
                  <a:pt x="323289" y="15570"/>
                  <a:pt x="391282" y="26885"/>
                  <a:pt x="451720" y="57059"/>
                </a:cubicBezTo>
                <a:cubicBezTo>
                  <a:pt x="519713" y="87233"/>
                  <a:pt x="583929" y="124951"/>
                  <a:pt x="648144" y="155125"/>
                </a:cubicBezTo>
                <a:cubicBezTo>
                  <a:pt x="738802" y="196614"/>
                  <a:pt x="829459" y="211701"/>
                  <a:pt x="931448" y="158897"/>
                </a:cubicBezTo>
                <a:cubicBezTo>
                  <a:pt x="912561" y="268278"/>
                  <a:pt x="893674" y="370115"/>
                  <a:pt x="878565" y="471953"/>
                </a:cubicBezTo>
                <a:cubicBezTo>
                  <a:pt x="874787" y="479496"/>
                  <a:pt x="874787" y="490812"/>
                  <a:pt x="871010" y="498355"/>
                </a:cubicBezTo>
                <a:cubicBezTo>
                  <a:pt x="855900" y="600193"/>
                  <a:pt x="814349" y="630367"/>
                  <a:pt x="708582" y="622823"/>
                </a:cubicBezTo>
                <a:cubicBezTo>
                  <a:pt x="640589" y="615280"/>
                  <a:pt x="576374" y="588877"/>
                  <a:pt x="512158" y="554932"/>
                </a:cubicBezTo>
                <a:cubicBezTo>
                  <a:pt x="455498" y="524757"/>
                  <a:pt x="398837" y="490812"/>
                  <a:pt x="334621" y="468181"/>
                </a:cubicBezTo>
                <a:cubicBezTo>
                  <a:pt x="304402" y="460637"/>
                  <a:pt x="274183" y="453094"/>
                  <a:pt x="240187" y="453094"/>
                </a:cubicBezTo>
                <a:cubicBezTo>
                  <a:pt x="145752" y="449322"/>
                  <a:pt x="126865" y="464409"/>
                  <a:pt x="111756" y="562475"/>
                </a:cubicBezTo>
                <a:lnTo>
                  <a:pt x="39114" y="970477"/>
                </a:lnTo>
                <a:lnTo>
                  <a:pt x="0" y="938205"/>
                </a:lnTo>
                <a:lnTo>
                  <a:pt x="149529" y="79690"/>
                </a:lnTo>
                <a:cubicBezTo>
                  <a:pt x="153307" y="60831"/>
                  <a:pt x="153307" y="38200"/>
                  <a:pt x="160862" y="19341"/>
                </a:cubicBezTo>
                <a:cubicBezTo>
                  <a:pt x="166528" y="5198"/>
                  <a:pt x="180693" y="-2582"/>
                  <a:pt x="189015" y="777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Autofit/>
          </a:bodyPr>
          <a:lstStyle/>
          <a:p>
            <a:pPr defTabSz="914391"/>
            <a:endParaRPr lang="en-US" sz="2533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5" name="Freeform 404"/>
          <p:cNvSpPr>
            <a:spLocks/>
          </p:cNvSpPr>
          <p:nvPr/>
        </p:nvSpPr>
        <p:spPr bwMode="auto">
          <a:xfrm flipH="1">
            <a:off x="11685154" y="3703426"/>
            <a:ext cx="293869" cy="302299"/>
          </a:xfrm>
          <a:custGeom>
            <a:avLst/>
            <a:gdLst>
              <a:gd name="connsiteX0" fmla="*/ 189015 w 931448"/>
              <a:gd name="connsiteY0" fmla="*/ 777 h 970477"/>
              <a:gd name="connsiteX1" fmla="*/ 194858 w 931448"/>
              <a:gd name="connsiteY1" fmla="*/ 8026 h 970477"/>
              <a:gd name="connsiteX2" fmla="*/ 255296 w 931448"/>
              <a:gd name="connsiteY2" fmla="*/ 26885 h 970477"/>
              <a:gd name="connsiteX3" fmla="*/ 451720 w 931448"/>
              <a:gd name="connsiteY3" fmla="*/ 57059 h 970477"/>
              <a:gd name="connsiteX4" fmla="*/ 648144 w 931448"/>
              <a:gd name="connsiteY4" fmla="*/ 155125 h 970477"/>
              <a:gd name="connsiteX5" fmla="*/ 931448 w 931448"/>
              <a:gd name="connsiteY5" fmla="*/ 158897 h 970477"/>
              <a:gd name="connsiteX6" fmla="*/ 878565 w 931448"/>
              <a:gd name="connsiteY6" fmla="*/ 471953 h 970477"/>
              <a:gd name="connsiteX7" fmla="*/ 871010 w 931448"/>
              <a:gd name="connsiteY7" fmla="*/ 498355 h 970477"/>
              <a:gd name="connsiteX8" fmla="*/ 708582 w 931448"/>
              <a:gd name="connsiteY8" fmla="*/ 622823 h 970477"/>
              <a:gd name="connsiteX9" fmla="*/ 512158 w 931448"/>
              <a:gd name="connsiteY9" fmla="*/ 554932 h 970477"/>
              <a:gd name="connsiteX10" fmla="*/ 334621 w 931448"/>
              <a:gd name="connsiteY10" fmla="*/ 468181 h 970477"/>
              <a:gd name="connsiteX11" fmla="*/ 240187 w 931448"/>
              <a:gd name="connsiteY11" fmla="*/ 453094 h 970477"/>
              <a:gd name="connsiteX12" fmla="*/ 111756 w 931448"/>
              <a:gd name="connsiteY12" fmla="*/ 562475 h 970477"/>
              <a:gd name="connsiteX13" fmla="*/ 39114 w 931448"/>
              <a:gd name="connsiteY13" fmla="*/ 970477 h 970477"/>
              <a:gd name="connsiteX14" fmla="*/ 0 w 931448"/>
              <a:gd name="connsiteY14" fmla="*/ 938205 h 970477"/>
              <a:gd name="connsiteX15" fmla="*/ 149529 w 931448"/>
              <a:gd name="connsiteY15" fmla="*/ 79690 h 970477"/>
              <a:gd name="connsiteX16" fmla="*/ 160862 w 931448"/>
              <a:gd name="connsiteY16" fmla="*/ 19341 h 970477"/>
              <a:gd name="connsiteX17" fmla="*/ 189015 w 931448"/>
              <a:gd name="connsiteY17" fmla="*/ 777 h 9704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931448" h="970477">
                <a:moveTo>
                  <a:pt x="189015" y="777"/>
                </a:moveTo>
                <a:cubicBezTo>
                  <a:pt x="191789" y="1897"/>
                  <a:pt x="193914" y="4254"/>
                  <a:pt x="194858" y="8026"/>
                </a:cubicBezTo>
                <a:cubicBezTo>
                  <a:pt x="206190" y="57059"/>
                  <a:pt x="232632" y="30657"/>
                  <a:pt x="255296" y="26885"/>
                </a:cubicBezTo>
                <a:cubicBezTo>
                  <a:pt x="323289" y="15570"/>
                  <a:pt x="391282" y="26885"/>
                  <a:pt x="451720" y="57059"/>
                </a:cubicBezTo>
                <a:cubicBezTo>
                  <a:pt x="519713" y="87233"/>
                  <a:pt x="583929" y="124951"/>
                  <a:pt x="648144" y="155125"/>
                </a:cubicBezTo>
                <a:cubicBezTo>
                  <a:pt x="738802" y="196614"/>
                  <a:pt x="829459" y="211701"/>
                  <a:pt x="931448" y="158897"/>
                </a:cubicBezTo>
                <a:cubicBezTo>
                  <a:pt x="912561" y="268278"/>
                  <a:pt x="893674" y="370115"/>
                  <a:pt x="878565" y="471953"/>
                </a:cubicBezTo>
                <a:cubicBezTo>
                  <a:pt x="874787" y="479496"/>
                  <a:pt x="874787" y="490812"/>
                  <a:pt x="871010" y="498355"/>
                </a:cubicBezTo>
                <a:cubicBezTo>
                  <a:pt x="855900" y="600193"/>
                  <a:pt x="814349" y="630367"/>
                  <a:pt x="708582" y="622823"/>
                </a:cubicBezTo>
                <a:cubicBezTo>
                  <a:pt x="640589" y="615280"/>
                  <a:pt x="576374" y="588877"/>
                  <a:pt x="512158" y="554932"/>
                </a:cubicBezTo>
                <a:cubicBezTo>
                  <a:pt x="455498" y="524757"/>
                  <a:pt x="398837" y="490812"/>
                  <a:pt x="334621" y="468181"/>
                </a:cubicBezTo>
                <a:cubicBezTo>
                  <a:pt x="304402" y="460637"/>
                  <a:pt x="274183" y="453094"/>
                  <a:pt x="240187" y="453094"/>
                </a:cubicBezTo>
                <a:cubicBezTo>
                  <a:pt x="145752" y="449322"/>
                  <a:pt x="126865" y="464409"/>
                  <a:pt x="111756" y="562475"/>
                </a:cubicBezTo>
                <a:lnTo>
                  <a:pt x="39114" y="970477"/>
                </a:lnTo>
                <a:lnTo>
                  <a:pt x="0" y="938205"/>
                </a:lnTo>
                <a:lnTo>
                  <a:pt x="149529" y="79690"/>
                </a:lnTo>
                <a:cubicBezTo>
                  <a:pt x="153307" y="60831"/>
                  <a:pt x="153307" y="38200"/>
                  <a:pt x="160862" y="19341"/>
                </a:cubicBezTo>
                <a:cubicBezTo>
                  <a:pt x="166528" y="5198"/>
                  <a:pt x="180693" y="-2582"/>
                  <a:pt x="189015" y="777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Autofit/>
          </a:bodyPr>
          <a:lstStyle/>
          <a:p>
            <a:pPr defTabSz="914391"/>
            <a:endParaRPr lang="en-US" sz="2533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10591584" y="3450103"/>
            <a:ext cx="95070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127"/>
            <a:r>
              <a:rPr lang="en-US" sz="1200">
                <a:solidFill>
                  <a:prstClr val="white">
                    <a:lumMod val="50000"/>
                  </a:prstClr>
                </a:solidFill>
                <a:latin typeface="Arial"/>
                <a:cs typeface="Arial" panose="020B0604020202020204" pitchFamily="34" charset="0"/>
              </a:rPr>
              <a:t>END DATE</a:t>
            </a:r>
          </a:p>
        </p:txBody>
      </p:sp>
      <p:sp>
        <p:nvSpPr>
          <p:cNvPr id="406" name="Rectangle 405"/>
          <p:cNvSpPr/>
          <p:nvPr/>
        </p:nvSpPr>
        <p:spPr>
          <a:xfrm>
            <a:off x="10581190" y="3687170"/>
            <a:ext cx="86594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127"/>
            <a:r>
              <a:rPr lang="en-US" sz="1200" b="1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May 2022</a:t>
            </a:r>
          </a:p>
        </p:txBody>
      </p:sp>
      <p:sp>
        <p:nvSpPr>
          <p:cNvPr id="408" name="Rectangle 407"/>
          <p:cNvSpPr/>
          <p:nvPr/>
        </p:nvSpPr>
        <p:spPr>
          <a:xfrm>
            <a:off x="7941073" y="3450103"/>
            <a:ext cx="111492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127"/>
            <a:r>
              <a:rPr lang="en-US" sz="1200">
                <a:solidFill>
                  <a:prstClr val="white">
                    <a:lumMod val="50000"/>
                  </a:prstClr>
                </a:solidFill>
                <a:latin typeface="Arial"/>
                <a:cs typeface="Arial" panose="020B0604020202020204" pitchFamily="34" charset="0"/>
              </a:rPr>
              <a:t>START DATE</a:t>
            </a:r>
          </a:p>
        </p:txBody>
      </p:sp>
      <p:sp>
        <p:nvSpPr>
          <p:cNvPr id="409" name="Rectangle 408"/>
          <p:cNvSpPr/>
          <p:nvPr/>
        </p:nvSpPr>
        <p:spPr>
          <a:xfrm>
            <a:off x="7898340" y="3687170"/>
            <a:ext cx="85792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127"/>
            <a:r>
              <a:rPr lang="en-US" sz="1200" b="1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Nov 2021</a:t>
            </a:r>
          </a:p>
        </p:txBody>
      </p:sp>
      <p:sp>
        <p:nvSpPr>
          <p:cNvPr id="410" name="Round Same Side Corner Rectangle 409"/>
          <p:cNvSpPr/>
          <p:nvPr/>
        </p:nvSpPr>
        <p:spPr>
          <a:xfrm>
            <a:off x="7592024" y="4294033"/>
            <a:ext cx="4443494" cy="290140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chemeClr val="tx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</a:gradFill>
          <a:ln>
            <a:solidFill>
              <a:schemeClr val="accent3"/>
            </a:solidFill>
          </a:ln>
        </p:spPr>
        <p:txBody>
          <a:bodyPr wrap="square" lIns="121920">
            <a:noAutofit/>
          </a:bodyPr>
          <a:lstStyle/>
          <a:p>
            <a:pPr defTabSz="1058286"/>
            <a:endParaRPr lang="en-US" sz="1400" b="1">
              <a:solidFill>
                <a:prstClr val="white"/>
              </a:solidFill>
              <a:latin typeface="Arial"/>
              <a:cs typeface="DIN Next LT Arabic"/>
            </a:endParaRPr>
          </a:p>
        </p:txBody>
      </p:sp>
      <p:graphicFrame>
        <p:nvGraphicFramePr>
          <p:cNvPr id="44" name="Table 43"/>
          <p:cNvGraphicFramePr>
            <a:graphicFrameLocks noGrp="1"/>
          </p:cNvGraphicFramePr>
          <p:nvPr/>
        </p:nvGraphicFramePr>
        <p:xfrm>
          <a:off x="7595578" y="4312867"/>
          <a:ext cx="4439944" cy="2773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42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71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71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77333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Apr</a:t>
                      </a:r>
                    </a:p>
                  </a:txBody>
                  <a:tcPr marL="18000" marR="18000" marT="54000" marB="54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May</a:t>
                      </a:r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Jun</a:t>
                      </a:r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Jul.</a:t>
                      </a:r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Aug</a:t>
                      </a:r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Sep</a:t>
                      </a:r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100" b="1"/>
                        <a:t>Oct</a:t>
                      </a:r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427" name="Table 426"/>
          <p:cNvGraphicFramePr>
            <a:graphicFrameLocks noGrp="1"/>
          </p:cNvGraphicFramePr>
          <p:nvPr/>
        </p:nvGraphicFramePr>
        <p:xfrm>
          <a:off x="7595578" y="4583797"/>
          <a:ext cx="4439944" cy="17735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42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71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71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3427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1773579">
                <a:tc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600"/>
                        </a:spcBef>
                      </a:pPr>
                      <a:endParaRPr lang="en-US" sz="1100" b="1"/>
                    </a:p>
                  </a:txBody>
                  <a:tcPr marL="18000" marR="18000" marT="54000" marB="54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16" name="Rounded Rectangle 415"/>
          <p:cNvSpPr/>
          <p:nvPr/>
        </p:nvSpPr>
        <p:spPr>
          <a:xfrm>
            <a:off x="7853699" y="4683626"/>
            <a:ext cx="1038687" cy="18442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 w="10172">
            <a:noFill/>
          </a:ln>
        </p:spPr>
        <p:txBody>
          <a:bodyPr wrap="square" lIns="121920" tIns="121920" rIns="121920" bIns="121920" rtlCol="0" anchor="ctr"/>
          <a:lstStyle/>
          <a:p>
            <a:pPr algn="ctr" defTabSz="1219176"/>
            <a:r>
              <a:rPr lang="en-US" sz="889" b="1">
                <a:solidFill>
                  <a:schemeClr val="bg1"/>
                </a:solidFill>
                <a:latin typeface="Arial"/>
                <a:ea typeface="Univers for KPMG Light" charset="0"/>
                <a:cs typeface="Univers for KPMG Light" charset="0"/>
              </a:rPr>
              <a:t>Activity 1</a:t>
            </a:r>
          </a:p>
        </p:txBody>
      </p:sp>
      <p:sp>
        <p:nvSpPr>
          <p:cNvPr id="418" name="Rounded Rectangle 417"/>
          <p:cNvSpPr/>
          <p:nvPr/>
        </p:nvSpPr>
        <p:spPr>
          <a:xfrm>
            <a:off x="8712458" y="5082583"/>
            <a:ext cx="939542" cy="18442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0172">
            <a:noFill/>
          </a:ln>
        </p:spPr>
        <p:txBody>
          <a:bodyPr wrap="square" lIns="121920" tIns="121920" rIns="121920" bIns="121920" rtlCol="0" anchor="ctr"/>
          <a:lstStyle/>
          <a:p>
            <a:pPr algn="ctr" defTabSz="1219176">
              <a:defRPr/>
            </a:pPr>
            <a:r>
              <a:rPr lang="en-US" sz="889" b="1">
                <a:solidFill>
                  <a:schemeClr val="bg1"/>
                </a:solidFill>
                <a:latin typeface="Arial"/>
                <a:ea typeface="Univers for KPMG Light" charset="0"/>
                <a:cs typeface="Univers for KPMG Light" charset="0"/>
              </a:rPr>
              <a:t>Activity 2</a:t>
            </a:r>
          </a:p>
        </p:txBody>
      </p:sp>
      <p:sp>
        <p:nvSpPr>
          <p:cNvPr id="420" name="Rounded Rectangle 419"/>
          <p:cNvSpPr/>
          <p:nvPr/>
        </p:nvSpPr>
        <p:spPr>
          <a:xfrm>
            <a:off x="9067706" y="5422530"/>
            <a:ext cx="1884777" cy="18442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10172">
            <a:noFill/>
          </a:ln>
        </p:spPr>
        <p:txBody>
          <a:bodyPr wrap="square" lIns="121920" tIns="121920" rIns="121920" bIns="121920" rtlCol="0" anchor="ctr"/>
          <a:lstStyle/>
          <a:p>
            <a:pPr algn="ctr" defTabSz="1219176">
              <a:defRPr/>
            </a:pPr>
            <a:r>
              <a:rPr lang="en-US" sz="889" b="1">
                <a:solidFill>
                  <a:schemeClr val="bg1"/>
                </a:solidFill>
                <a:latin typeface="Arial"/>
                <a:ea typeface="Univers for KPMG Light" charset="0"/>
                <a:cs typeface="Univers for KPMG Light" charset="0"/>
              </a:rPr>
              <a:t>Activity 3</a:t>
            </a:r>
          </a:p>
        </p:txBody>
      </p:sp>
      <p:grpSp>
        <p:nvGrpSpPr>
          <p:cNvPr id="132" name="Group 131"/>
          <p:cNvGrpSpPr/>
          <p:nvPr/>
        </p:nvGrpSpPr>
        <p:grpSpPr>
          <a:xfrm>
            <a:off x="7527930" y="3097452"/>
            <a:ext cx="4558976" cy="135133"/>
            <a:chOff x="5645947" y="4054307"/>
            <a:chExt cx="3419232" cy="146922"/>
          </a:xfrm>
        </p:grpSpPr>
        <p:sp>
          <p:nvSpPr>
            <p:cNvPr id="435" name="Right Triangle 434"/>
            <p:cNvSpPr/>
            <p:nvPr/>
          </p:nvSpPr>
          <p:spPr>
            <a:xfrm flipH="1" flipV="1">
              <a:off x="5650903" y="4054307"/>
              <a:ext cx="3414276" cy="146922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436" name="Right Triangle 435"/>
            <p:cNvSpPr/>
            <p:nvPr/>
          </p:nvSpPr>
          <p:spPr>
            <a:xfrm flipV="1">
              <a:off x="5645947" y="4054307"/>
              <a:ext cx="3414276" cy="146922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</p:grpSp>
      <p:sp>
        <p:nvSpPr>
          <p:cNvPr id="437" name="Rectangle 436"/>
          <p:cNvSpPr/>
          <p:nvPr/>
        </p:nvSpPr>
        <p:spPr>
          <a:xfrm>
            <a:off x="7518400" y="1127265"/>
            <a:ext cx="4579204" cy="13745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defTabSz="1058286"/>
            <a:endParaRPr lang="en-US" sz="1500" err="1">
              <a:solidFill>
                <a:prstClr val="white"/>
              </a:solidFill>
              <a:latin typeface="Arial"/>
            </a:endParaRPr>
          </a:p>
        </p:txBody>
      </p:sp>
      <p:sp>
        <p:nvSpPr>
          <p:cNvPr id="439" name="Rectangle 438"/>
          <p:cNvSpPr/>
          <p:nvPr/>
        </p:nvSpPr>
        <p:spPr>
          <a:xfrm>
            <a:off x="7829747" y="1158904"/>
            <a:ext cx="1335622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27"/>
            <a:r>
              <a:rPr lang="en-US" sz="1333" b="1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Project Health</a:t>
            </a:r>
          </a:p>
        </p:txBody>
      </p:sp>
      <p:sp>
        <p:nvSpPr>
          <p:cNvPr id="440" name="Rectangle 439"/>
          <p:cNvSpPr/>
          <p:nvPr/>
        </p:nvSpPr>
        <p:spPr>
          <a:xfrm>
            <a:off x="10403346" y="1158904"/>
            <a:ext cx="925253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27"/>
            <a:r>
              <a:rPr lang="en-US" sz="1333" b="1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Progress</a:t>
            </a:r>
          </a:p>
        </p:txBody>
      </p:sp>
      <p:cxnSp>
        <p:nvCxnSpPr>
          <p:cNvPr id="444" name="Straight Connector 443"/>
          <p:cNvCxnSpPr/>
          <p:nvPr/>
        </p:nvCxnSpPr>
        <p:spPr>
          <a:xfrm>
            <a:off x="10152800" y="2452170"/>
            <a:ext cx="1426344" cy="0"/>
          </a:xfrm>
          <a:prstGeom prst="line">
            <a:avLst/>
          </a:prstGeom>
          <a:ln w="3175">
            <a:solidFill>
              <a:schemeClr val="bg1">
                <a:alpha val="2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7" name="Oval 446"/>
          <p:cNvSpPr/>
          <p:nvPr/>
        </p:nvSpPr>
        <p:spPr>
          <a:xfrm>
            <a:off x="10190609" y="1699559"/>
            <a:ext cx="1264898" cy="1264896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91"/>
            <a:endParaRPr lang="en-IN" sz="2154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57" name="Straight Connector 56"/>
          <p:cNvCxnSpPr/>
          <p:nvPr/>
        </p:nvCxnSpPr>
        <p:spPr>
          <a:xfrm>
            <a:off x="7661463" y="1451278"/>
            <a:ext cx="167219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8" name="Straight Connector 447"/>
          <p:cNvCxnSpPr/>
          <p:nvPr/>
        </p:nvCxnSpPr>
        <p:spPr>
          <a:xfrm>
            <a:off x="9910209" y="1451278"/>
            <a:ext cx="197021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0" name="Group 449"/>
          <p:cNvGrpSpPr/>
          <p:nvPr/>
        </p:nvGrpSpPr>
        <p:grpSpPr>
          <a:xfrm>
            <a:off x="8249017" y="1724075"/>
            <a:ext cx="605435" cy="944212"/>
            <a:chOff x="722757" y="906549"/>
            <a:chExt cx="553599" cy="863372"/>
          </a:xfrm>
        </p:grpSpPr>
        <p:grpSp>
          <p:nvGrpSpPr>
            <p:cNvPr id="451" name="Group 450"/>
            <p:cNvGrpSpPr/>
            <p:nvPr/>
          </p:nvGrpSpPr>
          <p:grpSpPr>
            <a:xfrm>
              <a:off x="722757" y="906549"/>
              <a:ext cx="553599" cy="863372"/>
              <a:chOff x="5997254" y="2460747"/>
              <a:chExt cx="1616607" cy="2521202"/>
            </a:xfrm>
          </p:grpSpPr>
          <p:sp>
            <p:nvSpPr>
              <p:cNvPr id="470" name="Rectangle 469"/>
              <p:cNvSpPr/>
              <p:nvPr/>
            </p:nvSpPr>
            <p:spPr>
              <a:xfrm>
                <a:off x="6718885" y="4188898"/>
                <a:ext cx="177760" cy="793051"/>
              </a:xfrm>
              <a:prstGeom prst="rect">
                <a:avLst/>
              </a:prstGeom>
              <a:gradFill>
                <a:gsLst>
                  <a:gs pos="0">
                    <a:sysClr val="windowText" lastClr="000000">
                      <a:lumMod val="75000"/>
                      <a:lumOff val="25000"/>
                      <a:shade val="30000"/>
                      <a:satMod val="115000"/>
                    </a:sysClr>
                  </a:gs>
                  <a:gs pos="50000">
                    <a:sysClr val="window" lastClr="FFFFFF"/>
                  </a:gs>
                  <a:gs pos="100000">
                    <a:sysClr val="windowText" lastClr="000000">
                      <a:lumMod val="75000"/>
                      <a:lumOff val="25000"/>
                      <a:shade val="100000"/>
                      <a:satMod val="115000"/>
                    </a:sysClr>
                  </a:gs>
                </a:gsLst>
                <a:lin ang="0" scaled="0"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060737">
                  <a:defRPr/>
                </a:pPr>
                <a:endParaRPr lang="en-US" sz="2088" kern="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471" name="Freeform 26"/>
              <p:cNvSpPr>
                <a:spLocks noEditPoints="1"/>
              </p:cNvSpPr>
              <p:nvPr/>
            </p:nvSpPr>
            <p:spPr bwMode="auto">
              <a:xfrm>
                <a:off x="5997254" y="2460747"/>
                <a:ext cx="1616607" cy="1618702"/>
              </a:xfrm>
              <a:custGeom>
                <a:avLst/>
                <a:gdLst>
                  <a:gd name="T0" fmla="*/ 323 w 326"/>
                  <a:gd name="T1" fmla="*/ 157 h 326"/>
                  <a:gd name="T2" fmla="*/ 169 w 326"/>
                  <a:gd name="T3" fmla="*/ 2 h 326"/>
                  <a:gd name="T4" fmla="*/ 163 w 326"/>
                  <a:gd name="T5" fmla="*/ 0 h 326"/>
                  <a:gd name="T6" fmla="*/ 157 w 326"/>
                  <a:gd name="T7" fmla="*/ 2 h 326"/>
                  <a:gd name="T8" fmla="*/ 3 w 326"/>
                  <a:gd name="T9" fmla="*/ 157 h 326"/>
                  <a:gd name="T10" fmla="*/ 0 w 326"/>
                  <a:gd name="T11" fmla="*/ 163 h 326"/>
                  <a:gd name="T12" fmla="*/ 3 w 326"/>
                  <a:gd name="T13" fmla="*/ 169 h 326"/>
                  <a:gd name="T14" fmla="*/ 157 w 326"/>
                  <a:gd name="T15" fmla="*/ 323 h 326"/>
                  <a:gd name="T16" fmla="*/ 163 w 326"/>
                  <a:gd name="T17" fmla="*/ 326 h 326"/>
                  <a:gd name="T18" fmla="*/ 169 w 326"/>
                  <a:gd name="T19" fmla="*/ 323 h 326"/>
                  <a:gd name="T20" fmla="*/ 323 w 326"/>
                  <a:gd name="T21" fmla="*/ 169 h 326"/>
                  <a:gd name="T22" fmla="*/ 326 w 326"/>
                  <a:gd name="T23" fmla="*/ 163 h 326"/>
                  <a:gd name="T24" fmla="*/ 323 w 326"/>
                  <a:gd name="T25" fmla="*/ 157 h 326"/>
                  <a:gd name="T26" fmla="*/ 306 w 326"/>
                  <a:gd name="T27" fmla="*/ 168 h 326"/>
                  <a:gd name="T28" fmla="*/ 168 w 326"/>
                  <a:gd name="T29" fmla="*/ 306 h 326"/>
                  <a:gd name="T30" fmla="*/ 163 w 326"/>
                  <a:gd name="T31" fmla="*/ 308 h 326"/>
                  <a:gd name="T32" fmla="*/ 157 w 326"/>
                  <a:gd name="T33" fmla="*/ 306 h 326"/>
                  <a:gd name="T34" fmla="*/ 20 w 326"/>
                  <a:gd name="T35" fmla="*/ 168 h 326"/>
                  <a:gd name="T36" fmla="*/ 17 w 326"/>
                  <a:gd name="T37" fmla="*/ 163 h 326"/>
                  <a:gd name="T38" fmla="*/ 20 w 326"/>
                  <a:gd name="T39" fmla="*/ 157 h 326"/>
                  <a:gd name="T40" fmla="*/ 157 w 326"/>
                  <a:gd name="T41" fmla="*/ 19 h 326"/>
                  <a:gd name="T42" fmla="*/ 163 w 326"/>
                  <a:gd name="T43" fmla="*/ 17 h 326"/>
                  <a:gd name="T44" fmla="*/ 168 w 326"/>
                  <a:gd name="T45" fmla="*/ 19 h 326"/>
                  <a:gd name="T46" fmla="*/ 306 w 326"/>
                  <a:gd name="T47" fmla="*/ 157 h 326"/>
                  <a:gd name="T48" fmla="*/ 309 w 326"/>
                  <a:gd name="T49" fmla="*/ 163 h 326"/>
                  <a:gd name="T50" fmla="*/ 306 w 326"/>
                  <a:gd name="T51" fmla="*/ 168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6" h="326">
                    <a:moveTo>
                      <a:pt x="323" y="157"/>
                    </a:moveTo>
                    <a:cubicBezTo>
                      <a:pt x="169" y="2"/>
                      <a:pt x="169" y="2"/>
                      <a:pt x="169" y="2"/>
                    </a:cubicBezTo>
                    <a:cubicBezTo>
                      <a:pt x="167" y="0"/>
                      <a:pt x="164" y="0"/>
                      <a:pt x="163" y="0"/>
                    </a:cubicBezTo>
                    <a:cubicBezTo>
                      <a:pt x="162" y="0"/>
                      <a:pt x="159" y="0"/>
                      <a:pt x="157" y="2"/>
                    </a:cubicBezTo>
                    <a:cubicBezTo>
                      <a:pt x="3" y="157"/>
                      <a:pt x="3" y="157"/>
                      <a:pt x="3" y="157"/>
                    </a:cubicBezTo>
                    <a:cubicBezTo>
                      <a:pt x="1" y="158"/>
                      <a:pt x="0" y="160"/>
                      <a:pt x="0" y="163"/>
                    </a:cubicBezTo>
                    <a:cubicBezTo>
                      <a:pt x="0" y="165"/>
                      <a:pt x="1" y="167"/>
                      <a:pt x="3" y="169"/>
                    </a:cubicBezTo>
                    <a:cubicBezTo>
                      <a:pt x="157" y="323"/>
                      <a:pt x="157" y="323"/>
                      <a:pt x="157" y="323"/>
                    </a:cubicBezTo>
                    <a:cubicBezTo>
                      <a:pt x="159" y="325"/>
                      <a:pt x="162" y="326"/>
                      <a:pt x="163" y="326"/>
                    </a:cubicBezTo>
                    <a:cubicBezTo>
                      <a:pt x="164" y="326"/>
                      <a:pt x="167" y="325"/>
                      <a:pt x="169" y="323"/>
                    </a:cubicBezTo>
                    <a:cubicBezTo>
                      <a:pt x="323" y="169"/>
                      <a:pt x="323" y="169"/>
                      <a:pt x="323" y="169"/>
                    </a:cubicBezTo>
                    <a:cubicBezTo>
                      <a:pt x="325" y="167"/>
                      <a:pt x="326" y="164"/>
                      <a:pt x="326" y="163"/>
                    </a:cubicBezTo>
                    <a:cubicBezTo>
                      <a:pt x="326" y="161"/>
                      <a:pt x="325" y="159"/>
                      <a:pt x="323" y="157"/>
                    </a:cubicBezTo>
                    <a:close/>
                    <a:moveTo>
                      <a:pt x="306" y="168"/>
                    </a:moveTo>
                    <a:cubicBezTo>
                      <a:pt x="168" y="306"/>
                      <a:pt x="168" y="306"/>
                      <a:pt x="168" y="306"/>
                    </a:cubicBezTo>
                    <a:cubicBezTo>
                      <a:pt x="167" y="308"/>
                      <a:pt x="164" y="308"/>
                      <a:pt x="163" y="308"/>
                    </a:cubicBezTo>
                    <a:cubicBezTo>
                      <a:pt x="162" y="308"/>
                      <a:pt x="159" y="308"/>
                      <a:pt x="157" y="306"/>
                    </a:cubicBezTo>
                    <a:cubicBezTo>
                      <a:pt x="20" y="168"/>
                      <a:pt x="20" y="168"/>
                      <a:pt x="20" y="168"/>
                    </a:cubicBezTo>
                    <a:cubicBezTo>
                      <a:pt x="18" y="167"/>
                      <a:pt x="17" y="165"/>
                      <a:pt x="17" y="163"/>
                    </a:cubicBezTo>
                    <a:cubicBezTo>
                      <a:pt x="17" y="161"/>
                      <a:pt x="18" y="159"/>
                      <a:pt x="20" y="157"/>
                    </a:cubicBezTo>
                    <a:cubicBezTo>
                      <a:pt x="157" y="19"/>
                      <a:pt x="157" y="19"/>
                      <a:pt x="157" y="19"/>
                    </a:cubicBezTo>
                    <a:cubicBezTo>
                      <a:pt x="159" y="17"/>
                      <a:pt x="162" y="17"/>
                      <a:pt x="163" y="17"/>
                    </a:cubicBezTo>
                    <a:cubicBezTo>
                      <a:pt x="164" y="17"/>
                      <a:pt x="167" y="17"/>
                      <a:pt x="168" y="19"/>
                    </a:cubicBezTo>
                    <a:cubicBezTo>
                      <a:pt x="306" y="157"/>
                      <a:pt x="306" y="157"/>
                      <a:pt x="306" y="157"/>
                    </a:cubicBezTo>
                    <a:cubicBezTo>
                      <a:pt x="308" y="159"/>
                      <a:pt x="309" y="161"/>
                      <a:pt x="309" y="163"/>
                    </a:cubicBezTo>
                    <a:cubicBezTo>
                      <a:pt x="309" y="164"/>
                      <a:pt x="308" y="166"/>
                      <a:pt x="306" y="16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106072" tIns="53034" rIns="106072" bIns="53034" numCol="1" anchor="t" anchorCtr="0" compatLnSpc="1">
                <a:prstTxWarp prst="textNoShape">
                  <a:avLst/>
                </a:prstTxWarp>
              </a:bodyPr>
              <a:lstStyle/>
              <a:p>
                <a:pPr defTabSz="1060737">
                  <a:defRPr/>
                </a:pPr>
                <a:endParaRPr lang="en-US" sz="2088" kern="0">
                  <a:solidFill>
                    <a:prstClr val="black"/>
                  </a:solidFill>
                  <a:latin typeface="Arial"/>
                </a:endParaRPr>
              </a:p>
            </p:txBody>
          </p:sp>
        </p:grpSp>
        <p:grpSp>
          <p:nvGrpSpPr>
            <p:cNvPr id="452" name="Group 37"/>
            <p:cNvGrpSpPr/>
            <p:nvPr/>
          </p:nvGrpSpPr>
          <p:grpSpPr>
            <a:xfrm>
              <a:off x="758944" y="928520"/>
              <a:ext cx="476130" cy="740410"/>
              <a:chOff x="1903412" y="1676400"/>
              <a:chExt cx="1776606" cy="2835299"/>
            </a:xfrm>
          </p:grpSpPr>
          <p:sp>
            <p:nvSpPr>
              <p:cNvPr id="453" name="Freeform 7"/>
              <p:cNvSpPr>
                <a:spLocks/>
              </p:cNvSpPr>
              <p:nvPr/>
            </p:nvSpPr>
            <p:spPr bwMode="auto">
              <a:xfrm>
                <a:off x="2239650" y="1690031"/>
                <a:ext cx="1114733" cy="2809552"/>
              </a:xfrm>
              <a:custGeom>
                <a:avLst/>
                <a:gdLst/>
                <a:ahLst/>
                <a:cxnLst>
                  <a:cxn ang="0">
                    <a:pos x="79" y="0"/>
                  </a:cxn>
                  <a:cxn ang="0">
                    <a:pos x="657" y="0"/>
                  </a:cxn>
                  <a:cxn ang="0">
                    <a:pos x="675" y="2"/>
                  </a:cxn>
                  <a:cxn ang="0">
                    <a:pos x="691" y="8"/>
                  </a:cxn>
                  <a:cxn ang="0">
                    <a:pos x="706" y="17"/>
                  </a:cxn>
                  <a:cxn ang="0">
                    <a:pos x="718" y="29"/>
                  </a:cxn>
                  <a:cxn ang="0">
                    <a:pos x="728" y="44"/>
                  </a:cxn>
                  <a:cxn ang="0">
                    <a:pos x="733" y="60"/>
                  </a:cxn>
                  <a:cxn ang="0">
                    <a:pos x="736" y="79"/>
                  </a:cxn>
                  <a:cxn ang="0">
                    <a:pos x="736" y="1776"/>
                  </a:cxn>
                  <a:cxn ang="0">
                    <a:pos x="733" y="1794"/>
                  </a:cxn>
                  <a:cxn ang="0">
                    <a:pos x="728" y="1811"/>
                  </a:cxn>
                  <a:cxn ang="0">
                    <a:pos x="718" y="1825"/>
                  </a:cxn>
                  <a:cxn ang="0">
                    <a:pos x="706" y="1838"/>
                  </a:cxn>
                  <a:cxn ang="0">
                    <a:pos x="691" y="1847"/>
                  </a:cxn>
                  <a:cxn ang="0">
                    <a:pos x="675" y="1853"/>
                  </a:cxn>
                  <a:cxn ang="0">
                    <a:pos x="657" y="1855"/>
                  </a:cxn>
                  <a:cxn ang="0">
                    <a:pos x="79" y="1855"/>
                  </a:cxn>
                  <a:cxn ang="0">
                    <a:pos x="61" y="1853"/>
                  </a:cxn>
                  <a:cxn ang="0">
                    <a:pos x="44" y="1847"/>
                  </a:cxn>
                  <a:cxn ang="0">
                    <a:pos x="30" y="1838"/>
                  </a:cxn>
                  <a:cxn ang="0">
                    <a:pos x="17" y="1825"/>
                  </a:cxn>
                  <a:cxn ang="0">
                    <a:pos x="8" y="1811"/>
                  </a:cxn>
                  <a:cxn ang="0">
                    <a:pos x="2" y="1794"/>
                  </a:cxn>
                  <a:cxn ang="0">
                    <a:pos x="0" y="1776"/>
                  </a:cxn>
                  <a:cxn ang="0">
                    <a:pos x="0" y="79"/>
                  </a:cxn>
                  <a:cxn ang="0">
                    <a:pos x="2" y="60"/>
                  </a:cxn>
                  <a:cxn ang="0">
                    <a:pos x="8" y="44"/>
                  </a:cxn>
                  <a:cxn ang="0">
                    <a:pos x="17" y="29"/>
                  </a:cxn>
                  <a:cxn ang="0">
                    <a:pos x="30" y="17"/>
                  </a:cxn>
                  <a:cxn ang="0">
                    <a:pos x="44" y="8"/>
                  </a:cxn>
                  <a:cxn ang="0">
                    <a:pos x="61" y="2"/>
                  </a:cxn>
                  <a:cxn ang="0">
                    <a:pos x="79" y="0"/>
                  </a:cxn>
                </a:cxnLst>
                <a:rect l="0" t="0" r="r" b="b"/>
                <a:pathLst>
                  <a:path w="736" h="1855">
                    <a:moveTo>
                      <a:pt x="79" y="0"/>
                    </a:moveTo>
                    <a:lnTo>
                      <a:pt x="657" y="0"/>
                    </a:lnTo>
                    <a:lnTo>
                      <a:pt x="675" y="2"/>
                    </a:lnTo>
                    <a:lnTo>
                      <a:pt x="691" y="8"/>
                    </a:lnTo>
                    <a:lnTo>
                      <a:pt x="706" y="17"/>
                    </a:lnTo>
                    <a:lnTo>
                      <a:pt x="718" y="29"/>
                    </a:lnTo>
                    <a:lnTo>
                      <a:pt x="728" y="44"/>
                    </a:lnTo>
                    <a:lnTo>
                      <a:pt x="733" y="60"/>
                    </a:lnTo>
                    <a:lnTo>
                      <a:pt x="736" y="79"/>
                    </a:lnTo>
                    <a:lnTo>
                      <a:pt x="736" y="1776"/>
                    </a:lnTo>
                    <a:lnTo>
                      <a:pt x="733" y="1794"/>
                    </a:lnTo>
                    <a:lnTo>
                      <a:pt x="728" y="1811"/>
                    </a:lnTo>
                    <a:lnTo>
                      <a:pt x="718" y="1825"/>
                    </a:lnTo>
                    <a:lnTo>
                      <a:pt x="706" y="1838"/>
                    </a:lnTo>
                    <a:lnTo>
                      <a:pt x="691" y="1847"/>
                    </a:lnTo>
                    <a:lnTo>
                      <a:pt x="675" y="1853"/>
                    </a:lnTo>
                    <a:lnTo>
                      <a:pt x="657" y="1855"/>
                    </a:lnTo>
                    <a:lnTo>
                      <a:pt x="79" y="1855"/>
                    </a:lnTo>
                    <a:lnTo>
                      <a:pt x="61" y="1853"/>
                    </a:lnTo>
                    <a:lnTo>
                      <a:pt x="44" y="1847"/>
                    </a:lnTo>
                    <a:lnTo>
                      <a:pt x="30" y="1838"/>
                    </a:lnTo>
                    <a:lnTo>
                      <a:pt x="17" y="1825"/>
                    </a:lnTo>
                    <a:lnTo>
                      <a:pt x="8" y="1811"/>
                    </a:lnTo>
                    <a:lnTo>
                      <a:pt x="2" y="1794"/>
                    </a:lnTo>
                    <a:lnTo>
                      <a:pt x="0" y="1776"/>
                    </a:lnTo>
                    <a:lnTo>
                      <a:pt x="0" y="79"/>
                    </a:lnTo>
                    <a:lnTo>
                      <a:pt x="2" y="60"/>
                    </a:lnTo>
                    <a:lnTo>
                      <a:pt x="8" y="44"/>
                    </a:lnTo>
                    <a:lnTo>
                      <a:pt x="17" y="29"/>
                    </a:lnTo>
                    <a:lnTo>
                      <a:pt x="30" y="17"/>
                    </a:lnTo>
                    <a:lnTo>
                      <a:pt x="44" y="8"/>
                    </a:lnTo>
                    <a:lnTo>
                      <a:pt x="61" y="2"/>
                    </a:lnTo>
                    <a:lnTo>
                      <a:pt x="79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95000"/>
                      <a:lumOff val="5000"/>
                    </a:schemeClr>
                  </a:gs>
                  <a:gs pos="100000">
                    <a:schemeClr val="tx1">
                      <a:lumMod val="75000"/>
                      <a:lumOff val="2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4" name="Freeform 8"/>
              <p:cNvSpPr>
                <a:spLocks noEditPoints="1"/>
              </p:cNvSpPr>
              <p:nvPr/>
            </p:nvSpPr>
            <p:spPr bwMode="auto">
              <a:xfrm>
                <a:off x="2226018" y="1676400"/>
                <a:ext cx="1140482" cy="2835299"/>
              </a:xfrm>
              <a:custGeom>
                <a:avLst/>
                <a:gdLst/>
                <a:ahLst/>
                <a:cxnLst>
                  <a:cxn ang="0">
                    <a:pos x="72" y="19"/>
                  </a:cxn>
                  <a:cxn ang="0">
                    <a:pos x="44" y="33"/>
                  </a:cxn>
                  <a:cxn ang="0">
                    <a:pos x="25" y="56"/>
                  </a:cxn>
                  <a:cxn ang="0">
                    <a:pos x="18" y="88"/>
                  </a:cxn>
                  <a:cxn ang="0">
                    <a:pos x="20" y="1801"/>
                  </a:cxn>
                  <a:cxn ang="0">
                    <a:pos x="33" y="1829"/>
                  </a:cxn>
                  <a:cxn ang="0">
                    <a:pos x="57" y="1848"/>
                  </a:cxn>
                  <a:cxn ang="0">
                    <a:pos x="88" y="1855"/>
                  </a:cxn>
                  <a:cxn ang="0">
                    <a:pos x="682" y="1853"/>
                  </a:cxn>
                  <a:cxn ang="0">
                    <a:pos x="709" y="1840"/>
                  </a:cxn>
                  <a:cxn ang="0">
                    <a:pos x="729" y="1816"/>
                  </a:cxn>
                  <a:cxn ang="0">
                    <a:pos x="735" y="1785"/>
                  </a:cxn>
                  <a:cxn ang="0">
                    <a:pos x="734" y="72"/>
                  </a:cxn>
                  <a:cxn ang="0">
                    <a:pos x="720" y="44"/>
                  </a:cxn>
                  <a:cxn ang="0">
                    <a:pos x="697" y="25"/>
                  </a:cxn>
                  <a:cxn ang="0">
                    <a:pos x="666" y="18"/>
                  </a:cxn>
                  <a:cxn ang="0">
                    <a:pos x="88" y="0"/>
                  </a:cxn>
                  <a:cxn ang="0">
                    <a:pos x="686" y="3"/>
                  </a:cxn>
                  <a:cxn ang="0">
                    <a:pos x="720" y="19"/>
                  </a:cxn>
                  <a:cxn ang="0">
                    <a:pos x="744" y="49"/>
                  </a:cxn>
                  <a:cxn ang="0">
                    <a:pos x="753" y="88"/>
                  </a:cxn>
                  <a:cxn ang="0">
                    <a:pos x="751" y="1805"/>
                  </a:cxn>
                  <a:cxn ang="0">
                    <a:pos x="734" y="1840"/>
                  </a:cxn>
                  <a:cxn ang="0">
                    <a:pos x="704" y="1863"/>
                  </a:cxn>
                  <a:cxn ang="0">
                    <a:pos x="666" y="1872"/>
                  </a:cxn>
                  <a:cxn ang="0">
                    <a:pos x="68" y="1870"/>
                  </a:cxn>
                  <a:cxn ang="0">
                    <a:pos x="33" y="1853"/>
                  </a:cxn>
                  <a:cxn ang="0">
                    <a:pos x="10" y="1824"/>
                  </a:cxn>
                  <a:cxn ang="0">
                    <a:pos x="0" y="1785"/>
                  </a:cxn>
                  <a:cxn ang="0">
                    <a:pos x="3" y="67"/>
                  </a:cxn>
                  <a:cxn ang="0">
                    <a:pos x="20" y="33"/>
                  </a:cxn>
                  <a:cxn ang="0">
                    <a:pos x="50" y="9"/>
                  </a:cxn>
                  <a:cxn ang="0">
                    <a:pos x="88" y="0"/>
                  </a:cxn>
                </a:cxnLst>
                <a:rect l="0" t="0" r="r" b="b"/>
                <a:pathLst>
                  <a:path w="753" h="1872">
                    <a:moveTo>
                      <a:pt x="88" y="18"/>
                    </a:moveTo>
                    <a:lnTo>
                      <a:pt x="72" y="19"/>
                    </a:lnTo>
                    <a:lnTo>
                      <a:pt x="57" y="25"/>
                    </a:lnTo>
                    <a:lnTo>
                      <a:pt x="44" y="33"/>
                    </a:lnTo>
                    <a:lnTo>
                      <a:pt x="33" y="44"/>
                    </a:lnTo>
                    <a:lnTo>
                      <a:pt x="25" y="56"/>
                    </a:lnTo>
                    <a:lnTo>
                      <a:pt x="20" y="72"/>
                    </a:lnTo>
                    <a:lnTo>
                      <a:pt x="18" y="88"/>
                    </a:lnTo>
                    <a:lnTo>
                      <a:pt x="18" y="1785"/>
                    </a:lnTo>
                    <a:lnTo>
                      <a:pt x="20" y="1801"/>
                    </a:lnTo>
                    <a:lnTo>
                      <a:pt x="25" y="1816"/>
                    </a:lnTo>
                    <a:lnTo>
                      <a:pt x="33" y="1829"/>
                    </a:lnTo>
                    <a:lnTo>
                      <a:pt x="44" y="1840"/>
                    </a:lnTo>
                    <a:lnTo>
                      <a:pt x="57" y="1848"/>
                    </a:lnTo>
                    <a:lnTo>
                      <a:pt x="72" y="1853"/>
                    </a:lnTo>
                    <a:lnTo>
                      <a:pt x="88" y="1855"/>
                    </a:lnTo>
                    <a:lnTo>
                      <a:pt x="666" y="1855"/>
                    </a:lnTo>
                    <a:lnTo>
                      <a:pt x="682" y="1853"/>
                    </a:lnTo>
                    <a:lnTo>
                      <a:pt x="697" y="1848"/>
                    </a:lnTo>
                    <a:lnTo>
                      <a:pt x="709" y="1840"/>
                    </a:lnTo>
                    <a:lnTo>
                      <a:pt x="720" y="1829"/>
                    </a:lnTo>
                    <a:lnTo>
                      <a:pt x="729" y="1816"/>
                    </a:lnTo>
                    <a:lnTo>
                      <a:pt x="734" y="1801"/>
                    </a:lnTo>
                    <a:lnTo>
                      <a:pt x="735" y="1785"/>
                    </a:lnTo>
                    <a:lnTo>
                      <a:pt x="735" y="88"/>
                    </a:lnTo>
                    <a:lnTo>
                      <a:pt x="734" y="72"/>
                    </a:lnTo>
                    <a:lnTo>
                      <a:pt x="729" y="56"/>
                    </a:lnTo>
                    <a:lnTo>
                      <a:pt x="720" y="44"/>
                    </a:lnTo>
                    <a:lnTo>
                      <a:pt x="709" y="33"/>
                    </a:lnTo>
                    <a:lnTo>
                      <a:pt x="697" y="25"/>
                    </a:lnTo>
                    <a:lnTo>
                      <a:pt x="682" y="19"/>
                    </a:lnTo>
                    <a:lnTo>
                      <a:pt x="666" y="18"/>
                    </a:lnTo>
                    <a:lnTo>
                      <a:pt x="88" y="18"/>
                    </a:lnTo>
                    <a:close/>
                    <a:moveTo>
                      <a:pt x="88" y="0"/>
                    </a:moveTo>
                    <a:lnTo>
                      <a:pt x="666" y="0"/>
                    </a:lnTo>
                    <a:lnTo>
                      <a:pt x="686" y="3"/>
                    </a:lnTo>
                    <a:lnTo>
                      <a:pt x="704" y="9"/>
                    </a:lnTo>
                    <a:lnTo>
                      <a:pt x="720" y="19"/>
                    </a:lnTo>
                    <a:lnTo>
                      <a:pt x="734" y="33"/>
                    </a:lnTo>
                    <a:lnTo>
                      <a:pt x="744" y="49"/>
                    </a:lnTo>
                    <a:lnTo>
                      <a:pt x="751" y="67"/>
                    </a:lnTo>
                    <a:lnTo>
                      <a:pt x="753" y="88"/>
                    </a:lnTo>
                    <a:lnTo>
                      <a:pt x="753" y="1785"/>
                    </a:lnTo>
                    <a:lnTo>
                      <a:pt x="751" y="1805"/>
                    </a:lnTo>
                    <a:lnTo>
                      <a:pt x="744" y="1824"/>
                    </a:lnTo>
                    <a:lnTo>
                      <a:pt x="734" y="1840"/>
                    </a:lnTo>
                    <a:lnTo>
                      <a:pt x="720" y="1853"/>
                    </a:lnTo>
                    <a:lnTo>
                      <a:pt x="704" y="1863"/>
                    </a:lnTo>
                    <a:lnTo>
                      <a:pt x="686" y="1870"/>
                    </a:lnTo>
                    <a:lnTo>
                      <a:pt x="666" y="1872"/>
                    </a:lnTo>
                    <a:lnTo>
                      <a:pt x="88" y="1872"/>
                    </a:lnTo>
                    <a:lnTo>
                      <a:pt x="68" y="1870"/>
                    </a:lnTo>
                    <a:lnTo>
                      <a:pt x="50" y="1863"/>
                    </a:lnTo>
                    <a:lnTo>
                      <a:pt x="33" y="1853"/>
                    </a:lnTo>
                    <a:lnTo>
                      <a:pt x="20" y="1840"/>
                    </a:lnTo>
                    <a:lnTo>
                      <a:pt x="10" y="1824"/>
                    </a:lnTo>
                    <a:lnTo>
                      <a:pt x="3" y="1805"/>
                    </a:lnTo>
                    <a:lnTo>
                      <a:pt x="0" y="1785"/>
                    </a:lnTo>
                    <a:lnTo>
                      <a:pt x="0" y="88"/>
                    </a:lnTo>
                    <a:lnTo>
                      <a:pt x="3" y="67"/>
                    </a:lnTo>
                    <a:lnTo>
                      <a:pt x="10" y="49"/>
                    </a:lnTo>
                    <a:lnTo>
                      <a:pt x="20" y="33"/>
                    </a:lnTo>
                    <a:lnTo>
                      <a:pt x="33" y="19"/>
                    </a:lnTo>
                    <a:lnTo>
                      <a:pt x="50" y="9"/>
                    </a:lnTo>
                    <a:lnTo>
                      <a:pt x="68" y="3"/>
                    </a:lnTo>
                    <a:lnTo>
                      <a:pt x="88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  <a:shade val="30000"/>
                      <a:satMod val="115000"/>
                    </a:schemeClr>
                  </a:gs>
                  <a:gs pos="50000">
                    <a:schemeClr val="tx1">
                      <a:lumMod val="75000"/>
                      <a:lumOff val="25000"/>
                      <a:shade val="67500"/>
                      <a:satMod val="115000"/>
                    </a:schemeClr>
                  </a:gs>
                  <a:gs pos="100000">
                    <a:schemeClr val="tx1">
                      <a:lumMod val="75000"/>
                      <a:lumOff val="2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5" name="Freeform 24"/>
              <p:cNvSpPr>
                <a:spLocks/>
              </p:cNvSpPr>
              <p:nvPr/>
            </p:nvSpPr>
            <p:spPr bwMode="auto">
              <a:xfrm>
                <a:off x="1903412" y="1853606"/>
                <a:ext cx="322607" cy="75880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3" y="0"/>
                  </a:cxn>
                  <a:cxn ang="0">
                    <a:pos x="213" y="501"/>
                  </a:cxn>
                  <a:cxn ang="0">
                    <a:pos x="163" y="501"/>
                  </a:cxn>
                  <a:cxn ang="0">
                    <a:pos x="163" y="250"/>
                  </a:cxn>
                  <a:cxn ang="0">
                    <a:pos x="0" y="0"/>
                  </a:cxn>
                </a:cxnLst>
                <a:rect l="0" t="0" r="r" b="b"/>
                <a:pathLst>
                  <a:path w="213" h="501">
                    <a:moveTo>
                      <a:pt x="0" y="0"/>
                    </a:moveTo>
                    <a:lnTo>
                      <a:pt x="213" y="0"/>
                    </a:lnTo>
                    <a:lnTo>
                      <a:pt x="213" y="501"/>
                    </a:lnTo>
                    <a:lnTo>
                      <a:pt x="163" y="501"/>
                    </a:lnTo>
                    <a:lnTo>
                      <a:pt x="163" y="25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6" name="Freeform 25"/>
              <p:cNvSpPr>
                <a:spLocks/>
              </p:cNvSpPr>
              <p:nvPr/>
            </p:nvSpPr>
            <p:spPr bwMode="auto">
              <a:xfrm>
                <a:off x="1903412" y="2724491"/>
                <a:ext cx="322607" cy="75880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3" y="0"/>
                  </a:cxn>
                  <a:cxn ang="0">
                    <a:pos x="213" y="501"/>
                  </a:cxn>
                  <a:cxn ang="0">
                    <a:pos x="163" y="501"/>
                  </a:cxn>
                  <a:cxn ang="0">
                    <a:pos x="163" y="250"/>
                  </a:cxn>
                  <a:cxn ang="0">
                    <a:pos x="0" y="0"/>
                  </a:cxn>
                </a:cxnLst>
                <a:rect l="0" t="0" r="r" b="b"/>
                <a:pathLst>
                  <a:path w="213" h="501">
                    <a:moveTo>
                      <a:pt x="0" y="0"/>
                    </a:moveTo>
                    <a:lnTo>
                      <a:pt x="213" y="0"/>
                    </a:lnTo>
                    <a:lnTo>
                      <a:pt x="213" y="501"/>
                    </a:lnTo>
                    <a:lnTo>
                      <a:pt x="163" y="501"/>
                    </a:lnTo>
                    <a:lnTo>
                      <a:pt x="163" y="25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7" name="Freeform 26"/>
              <p:cNvSpPr>
                <a:spLocks/>
              </p:cNvSpPr>
              <p:nvPr/>
            </p:nvSpPr>
            <p:spPr bwMode="auto">
              <a:xfrm>
                <a:off x="1903412" y="3554483"/>
                <a:ext cx="322607" cy="75729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3" y="0"/>
                  </a:cxn>
                  <a:cxn ang="0">
                    <a:pos x="213" y="500"/>
                  </a:cxn>
                  <a:cxn ang="0">
                    <a:pos x="163" y="500"/>
                  </a:cxn>
                  <a:cxn ang="0">
                    <a:pos x="163" y="250"/>
                  </a:cxn>
                  <a:cxn ang="0">
                    <a:pos x="0" y="0"/>
                  </a:cxn>
                </a:cxnLst>
                <a:rect l="0" t="0" r="r" b="b"/>
                <a:pathLst>
                  <a:path w="213" h="500">
                    <a:moveTo>
                      <a:pt x="0" y="0"/>
                    </a:moveTo>
                    <a:lnTo>
                      <a:pt x="213" y="0"/>
                    </a:lnTo>
                    <a:lnTo>
                      <a:pt x="213" y="500"/>
                    </a:lnTo>
                    <a:lnTo>
                      <a:pt x="163" y="500"/>
                    </a:lnTo>
                    <a:lnTo>
                      <a:pt x="163" y="25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8" name="Freeform 27"/>
              <p:cNvSpPr>
                <a:spLocks/>
              </p:cNvSpPr>
              <p:nvPr/>
            </p:nvSpPr>
            <p:spPr bwMode="auto">
              <a:xfrm>
                <a:off x="3358926" y="1853606"/>
                <a:ext cx="321092" cy="75880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2" y="0"/>
                  </a:cxn>
                  <a:cxn ang="0">
                    <a:pos x="50" y="250"/>
                  </a:cxn>
                  <a:cxn ang="0">
                    <a:pos x="50" y="501"/>
                  </a:cxn>
                  <a:cxn ang="0">
                    <a:pos x="0" y="501"/>
                  </a:cxn>
                  <a:cxn ang="0">
                    <a:pos x="0" y="0"/>
                  </a:cxn>
                </a:cxnLst>
                <a:rect l="0" t="0" r="r" b="b"/>
                <a:pathLst>
                  <a:path w="212" h="501">
                    <a:moveTo>
                      <a:pt x="0" y="0"/>
                    </a:moveTo>
                    <a:lnTo>
                      <a:pt x="212" y="0"/>
                    </a:lnTo>
                    <a:lnTo>
                      <a:pt x="50" y="250"/>
                    </a:lnTo>
                    <a:lnTo>
                      <a:pt x="50" y="501"/>
                    </a:lnTo>
                    <a:lnTo>
                      <a:pt x="0" y="501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59" name="Freeform 28"/>
              <p:cNvSpPr>
                <a:spLocks/>
              </p:cNvSpPr>
              <p:nvPr/>
            </p:nvSpPr>
            <p:spPr bwMode="auto">
              <a:xfrm>
                <a:off x="3358926" y="2724491"/>
                <a:ext cx="321092" cy="75880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2" y="0"/>
                  </a:cxn>
                  <a:cxn ang="0">
                    <a:pos x="50" y="250"/>
                  </a:cxn>
                  <a:cxn ang="0">
                    <a:pos x="50" y="501"/>
                  </a:cxn>
                  <a:cxn ang="0">
                    <a:pos x="0" y="501"/>
                  </a:cxn>
                  <a:cxn ang="0">
                    <a:pos x="0" y="0"/>
                  </a:cxn>
                </a:cxnLst>
                <a:rect l="0" t="0" r="r" b="b"/>
                <a:pathLst>
                  <a:path w="212" h="501">
                    <a:moveTo>
                      <a:pt x="0" y="0"/>
                    </a:moveTo>
                    <a:lnTo>
                      <a:pt x="212" y="0"/>
                    </a:lnTo>
                    <a:lnTo>
                      <a:pt x="50" y="250"/>
                    </a:lnTo>
                    <a:lnTo>
                      <a:pt x="50" y="501"/>
                    </a:lnTo>
                    <a:lnTo>
                      <a:pt x="0" y="501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460" name="Freeform 29"/>
              <p:cNvSpPr>
                <a:spLocks/>
              </p:cNvSpPr>
              <p:nvPr/>
            </p:nvSpPr>
            <p:spPr bwMode="auto">
              <a:xfrm>
                <a:off x="3358926" y="3554483"/>
                <a:ext cx="321092" cy="75729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2" y="0"/>
                  </a:cxn>
                  <a:cxn ang="0">
                    <a:pos x="50" y="250"/>
                  </a:cxn>
                  <a:cxn ang="0">
                    <a:pos x="50" y="500"/>
                  </a:cxn>
                  <a:cxn ang="0">
                    <a:pos x="0" y="500"/>
                  </a:cxn>
                  <a:cxn ang="0">
                    <a:pos x="0" y="0"/>
                  </a:cxn>
                </a:cxnLst>
                <a:rect l="0" t="0" r="r" b="b"/>
                <a:pathLst>
                  <a:path w="212" h="500">
                    <a:moveTo>
                      <a:pt x="0" y="0"/>
                    </a:moveTo>
                    <a:lnTo>
                      <a:pt x="212" y="0"/>
                    </a:lnTo>
                    <a:lnTo>
                      <a:pt x="50" y="250"/>
                    </a:lnTo>
                    <a:lnTo>
                      <a:pt x="50" y="500"/>
                    </a:lnTo>
                    <a:lnTo>
                      <a:pt x="0" y="50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8302" tIns="64151" rIns="128302" bIns="64151" numCol="1" anchor="t" anchorCtr="0" compatLnSpc="1">
                <a:prstTxWarp prst="textNoShape">
                  <a:avLst/>
                </a:prstTxWarp>
              </a:bodyPr>
              <a:lstStyle/>
              <a:p>
                <a:pPr defTabSz="1710448"/>
                <a:endParaRPr lang="en-US" sz="3368">
                  <a:solidFill>
                    <a:prstClr val="black"/>
                  </a:solidFill>
                  <a:latin typeface="Arial"/>
                </a:endParaRPr>
              </a:p>
            </p:txBody>
          </p:sp>
          <p:grpSp>
            <p:nvGrpSpPr>
              <p:cNvPr id="461" name="Group 33"/>
              <p:cNvGrpSpPr/>
              <p:nvPr/>
            </p:nvGrpSpPr>
            <p:grpSpPr>
              <a:xfrm>
                <a:off x="2442604" y="1894500"/>
                <a:ext cx="708825" cy="707311"/>
                <a:chOff x="5722938" y="1676401"/>
                <a:chExt cx="742950" cy="741363"/>
              </a:xfrm>
              <a:effectLst>
                <a:outerShdw blurRad="38100" dist="63500" dir="2700000" algn="tl" rotWithShape="0">
                  <a:prstClr val="black">
                    <a:alpha val="99000"/>
                  </a:prstClr>
                </a:outerShdw>
              </a:effectLst>
            </p:grpSpPr>
            <p:sp>
              <p:nvSpPr>
                <p:cNvPr id="468" name="Freeform 17"/>
                <p:cNvSpPr>
                  <a:spLocks/>
                </p:cNvSpPr>
                <p:nvPr/>
              </p:nvSpPr>
              <p:spPr bwMode="auto">
                <a:xfrm>
                  <a:off x="5722938" y="1676401"/>
                  <a:ext cx="742950" cy="741363"/>
                </a:xfrm>
                <a:custGeom>
                  <a:avLst/>
                  <a:gdLst/>
                  <a:ahLst/>
                  <a:cxnLst>
                    <a:cxn ang="0">
                      <a:pos x="234" y="0"/>
                    </a:cxn>
                    <a:cxn ang="0">
                      <a:pos x="266" y="2"/>
                    </a:cxn>
                    <a:cxn ang="0">
                      <a:pos x="296" y="8"/>
                    </a:cxn>
                    <a:cxn ang="0">
                      <a:pos x="325" y="18"/>
                    </a:cxn>
                    <a:cxn ang="0">
                      <a:pos x="352" y="32"/>
                    </a:cxn>
                    <a:cxn ang="0">
                      <a:pos x="377" y="48"/>
                    </a:cxn>
                    <a:cxn ang="0">
                      <a:pos x="400" y="68"/>
                    </a:cxn>
                    <a:cxn ang="0">
                      <a:pos x="420" y="90"/>
                    </a:cxn>
                    <a:cxn ang="0">
                      <a:pos x="436" y="115"/>
                    </a:cxn>
                    <a:cxn ang="0">
                      <a:pos x="450" y="142"/>
                    </a:cxn>
                    <a:cxn ang="0">
                      <a:pos x="460" y="171"/>
                    </a:cxn>
                    <a:cxn ang="0">
                      <a:pos x="466" y="201"/>
                    </a:cxn>
                    <a:cxn ang="0">
                      <a:pos x="468" y="233"/>
                    </a:cxn>
                    <a:cxn ang="0">
                      <a:pos x="466" y="265"/>
                    </a:cxn>
                    <a:cxn ang="0">
                      <a:pos x="460" y="295"/>
                    </a:cxn>
                    <a:cxn ang="0">
                      <a:pos x="450" y="324"/>
                    </a:cxn>
                    <a:cxn ang="0">
                      <a:pos x="436" y="351"/>
                    </a:cxn>
                    <a:cxn ang="0">
                      <a:pos x="420" y="376"/>
                    </a:cxn>
                    <a:cxn ang="0">
                      <a:pos x="400" y="399"/>
                    </a:cxn>
                    <a:cxn ang="0">
                      <a:pos x="377" y="418"/>
                    </a:cxn>
                    <a:cxn ang="0">
                      <a:pos x="352" y="435"/>
                    </a:cxn>
                    <a:cxn ang="0">
                      <a:pos x="325" y="449"/>
                    </a:cxn>
                    <a:cxn ang="0">
                      <a:pos x="296" y="459"/>
                    </a:cxn>
                    <a:cxn ang="0">
                      <a:pos x="266" y="465"/>
                    </a:cxn>
                    <a:cxn ang="0">
                      <a:pos x="234" y="467"/>
                    </a:cxn>
                    <a:cxn ang="0">
                      <a:pos x="202" y="465"/>
                    </a:cxn>
                    <a:cxn ang="0">
                      <a:pos x="171" y="459"/>
                    </a:cxn>
                    <a:cxn ang="0">
                      <a:pos x="142" y="449"/>
                    </a:cxn>
                    <a:cxn ang="0">
                      <a:pos x="116" y="435"/>
                    </a:cxn>
                    <a:cxn ang="0">
                      <a:pos x="91" y="418"/>
                    </a:cxn>
                    <a:cxn ang="0">
                      <a:pos x="68" y="399"/>
                    </a:cxn>
                    <a:cxn ang="0">
                      <a:pos x="49" y="376"/>
                    </a:cxn>
                    <a:cxn ang="0">
                      <a:pos x="32" y="351"/>
                    </a:cxn>
                    <a:cxn ang="0">
                      <a:pos x="18" y="324"/>
                    </a:cxn>
                    <a:cxn ang="0">
                      <a:pos x="8" y="295"/>
                    </a:cxn>
                    <a:cxn ang="0">
                      <a:pos x="2" y="265"/>
                    </a:cxn>
                    <a:cxn ang="0">
                      <a:pos x="0" y="233"/>
                    </a:cxn>
                    <a:cxn ang="0">
                      <a:pos x="2" y="201"/>
                    </a:cxn>
                    <a:cxn ang="0">
                      <a:pos x="8" y="171"/>
                    </a:cxn>
                    <a:cxn ang="0">
                      <a:pos x="18" y="142"/>
                    </a:cxn>
                    <a:cxn ang="0">
                      <a:pos x="32" y="115"/>
                    </a:cxn>
                    <a:cxn ang="0">
                      <a:pos x="49" y="90"/>
                    </a:cxn>
                    <a:cxn ang="0">
                      <a:pos x="68" y="68"/>
                    </a:cxn>
                    <a:cxn ang="0">
                      <a:pos x="91" y="48"/>
                    </a:cxn>
                    <a:cxn ang="0">
                      <a:pos x="116" y="32"/>
                    </a:cxn>
                    <a:cxn ang="0">
                      <a:pos x="142" y="18"/>
                    </a:cxn>
                    <a:cxn ang="0">
                      <a:pos x="171" y="8"/>
                    </a:cxn>
                    <a:cxn ang="0">
                      <a:pos x="202" y="2"/>
                    </a:cxn>
                    <a:cxn ang="0">
                      <a:pos x="234" y="0"/>
                    </a:cxn>
                  </a:cxnLst>
                  <a:rect l="0" t="0" r="r" b="b"/>
                  <a:pathLst>
                    <a:path w="468" h="467">
                      <a:moveTo>
                        <a:pt x="234" y="0"/>
                      </a:moveTo>
                      <a:lnTo>
                        <a:pt x="266" y="2"/>
                      </a:lnTo>
                      <a:lnTo>
                        <a:pt x="296" y="8"/>
                      </a:lnTo>
                      <a:lnTo>
                        <a:pt x="325" y="18"/>
                      </a:lnTo>
                      <a:lnTo>
                        <a:pt x="352" y="32"/>
                      </a:lnTo>
                      <a:lnTo>
                        <a:pt x="377" y="48"/>
                      </a:lnTo>
                      <a:lnTo>
                        <a:pt x="400" y="68"/>
                      </a:lnTo>
                      <a:lnTo>
                        <a:pt x="420" y="90"/>
                      </a:lnTo>
                      <a:lnTo>
                        <a:pt x="436" y="115"/>
                      </a:lnTo>
                      <a:lnTo>
                        <a:pt x="450" y="142"/>
                      </a:lnTo>
                      <a:lnTo>
                        <a:pt x="460" y="171"/>
                      </a:lnTo>
                      <a:lnTo>
                        <a:pt x="466" y="201"/>
                      </a:lnTo>
                      <a:lnTo>
                        <a:pt x="468" y="233"/>
                      </a:lnTo>
                      <a:lnTo>
                        <a:pt x="466" y="265"/>
                      </a:lnTo>
                      <a:lnTo>
                        <a:pt x="460" y="295"/>
                      </a:lnTo>
                      <a:lnTo>
                        <a:pt x="450" y="324"/>
                      </a:lnTo>
                      <a:lnTo>
                        <a:pt x="436" y="351"/>
                      </a:lnTo>
                      <a:lnTo>
                        <a:pt x="420" y="376"/>
                      </a:lnTo>
                      <a:lnTo>
                        <a:pt x="400" y="399"/>
                      </a:lnTo>
                      <a:lnTo>
                        <a:pt x="377" y="418"/>
                      </a:lnTo>
                      <a:lnTo>
                        <a:pt x="352" y="435"/>
                      </a:lnTo>
                      <a:lnTo>
                        <a:pt x="325" y="449"/>
                      </a:lnTo>
                      <a:lnTo>
                        <a:pt x="296" y="459"/>
                      </a:lnTo>
                      <a:lnTo>
                        <a:pt x="266" y="465"/>
                      </a:lnTo>
                      <a:lnTo>
                        <a:pt x="234" y="467"/>
                      </a:lnTo>
                      <a:lnTo>
                        <a:pt x="202" y="465"/>
                      </a:lnTo>
                      <a:lnTo>
                        <a:pt x="171" y="459"/>
                      </a:lnTo>
                      <a:lnTo>
                        <a:pt x="142" y="449"/>
                      </a:lnTo>
                      <a:lnTo>
                        <a:pt x="116" y="435"/>
                      </a:lnTo>
                      <a:lnTo>
                        <a:pt x="91" y="418"/>
                      </a:lnTo>
                      <a:lnTo>
                        <a:pt x="68" y="399"/>
                      </a:lnTo>
                      <a:lnTo>
                        <a:pt x="49" y="376"/>
                      </a:lnTo>
                      <a:lnTo>
                        <a:pt x="32" y="351"/>
                      </a:lnTo>
                      <a:lnTo>
                        <a:pt x="18" y="324"/>
                      </a:lnTo>
                      <a:lnTo>
                        <a:pt x="8" y="295"/>
                      </a:lnTo>
                      <a:lnTo>
                        <a:pt x="2" y="265"/>
                      </a:lnTo>
                      <a:lnTo>
                        <a:pt x="0" y="233"/>
                      </a:lnTo>
                      <a:lnTo>
                        <a:pt x="2" y="201"/>
                      </a:lnTo>
                      <a:lnTo>
                        <a:pt x="8" y="171"/>
                      </a:lnTo>
                      <a:lnTo>
                        <a:pt x="18" y="142"/>
                      </a:lnTo>
                      <a:lnTo>
                        <a:pt x="32" y="115"/>
                      </a:lnTo>
                      <a:lnTo>
                        <a:pt x="49" y="90"/>
                      </a:lnTo>
                      <a:lnTo>
                        <a:pt x="68" y="68"/>
                      </a:lnTo>
                      <a:lnTo>
                        <a:pt x="91" y="48"/>
                      </a:lnTo>
                      <a:lnTo>
                        <a:pt x="116" y="32"/>
                      </a:lnTo>
                      <a:lnTo>
                        <a:pt x="142" y="18"/>
                      </a:lnTo>
                      <a:lnTo>
                        <a:pt x="171" y="8"/>
                      </a:lnTo>
                      <a:lnTo>
                        <a:pt x="202" y="2"/>
                      </a:lnTo>
                      <a:lnTo>
                        <a:pt x="234" y="0"/>
                      </a:lnTo>
                      <a:close/>
                    </a:path>
                  </a:pathLst>
                </a:custGeom>
                <a:noFill/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128302" tIns="64151" rIns="128302" bIns="6415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710448"/>
                  <a:endParaRPr lang="en-US" sz="3368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469" name="Freeform 18"/>
                <p:cNvSpPr>
                  <a:spLocks/>
                </p:cNvSpPr>
                <p:nvPr/>
              </p:nvSpPr>
              <p:spPr bwMode="auto">
                <a:xfrm>
                  <a:off x="5746750" y="2032001"/>
                  <a:ext cx="695325" cy="36036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" y="31"/>
                    </a:cxn>
                    <a:cxn ang="0">
                      <a:pos x="12" y="61"/>
                    </a:cxn>
                    <a:cxn ang="0">
                      <a:pos x="23" y="89"/>
                    </a:cxn>
                    <a:cxn ang="0">
                      <a:pos x="38" y="115"/>
                    </a:cxn>
                    <a:cxn ang="0">
                      <a:pos x="56" y="138"/>
                    </a:cxn>
                    <a:cxn ang="0">
                      <a:pos x="78" y="159"/>
                    </a:cxn>
                    <a:cxn ang="0">
                      <a:pos x="102" y="176"/>
                    </a:cxn>
                    <a:cxn ang="0">
                      <a:pos x="128" y="190"/>
                    </a:cxn>
                    <a:cxn ang="0">
                      <a:pos x="157" y="200"/>
                    </a:cxn>
                    <a:cxn ang="0">
                      <a:pos x="187" y="207"/>
                    </a:cxn>
                    <a:cxn ang="0">
                      <a:pos x="219" y="209"/>
                    </a:cxn>
                    <a:cxn ang="0">
                      <a:pos x="250" y="207"/>
                    </a:cxn>
                    <a:cxn ang="0">
                      <a:pos x="280" y="200"/>
                    </a:cxn>
                    <a:cxn ang="0">
                      <a:pos x="309" y="190"/>
                    </a:cxn>
                    <a:cxn ang="0">
                      <a:pos x="335" y="176"/>
                    </a:cxn>
                    <a:cxn ang="0">
                      <a:pos x="360" y="159"/>
                    </a:cxn>
                    <a:cxn ang="0">
                      <a:pos x="381" y="138"/>
                    </a:cxn>
                    <a:cxn ang="0">
                      <a:pos x="399" y="115"/>
                    </a:cxn>
                    <a:cxn ang="0">
                      <a:pos x="414" y="89"/>
                    </a:cxn>
                    <a:cxn ang="0">
                      <a:pos x="426" y="61"/>
                    </a:cxn>
                    <a:cxn ang="0">
                      <a:pos x="433" y="31"/>
                    </a:cxn>
                    <a:cxn ang="0">
                      <a:pos x="437" y="0"/>
                    </a:cxn>
                    <a:cxn ang="0">
                      <a:pos x="437" y="3"/>
                    </a:cxn>
                    <a:cxn ang="0">
                      <a:pos x="438" y="6"/>
                    </a:cxn>
                    <a:cxn ang="0">
                      <a:pos x="438" y="8"/>
                    </a:cxn>
                    <a:cxn ang="0">
                      <a:pos x="436" y="41"/>
                    </a:cxn>
                    <a:cxn ang="0">
                      <a:pos x="429" y="71"/>
                    </a:cxn>
                    <a:cxn ang="0">
                      <a:pos x="417" y="100"/>
                    </a:cxn>
                    <a:cxn ang="0">
                      <a:pos x="403" y="127"/>
                    </a:cxn>
                    <a:cxn ang="0">
                      <a:pos x="384" y="152"/>
                    </a:cxn>
                    <a:cxn ang="0">
                      <a:pos x="363" y="173"/>
                    </a:cxn>
                    <a:cxn ang="0">
                      <a:pos x="338" y="192"/>
                    </a:cxn>
                    <a:cxn ang="0">
                      <a:pos x="311" y="206"/>
                    </a:cxn>
                    <a:cxn ang="0">
                      <a:pos x="282" y="218"/>
                    </a:cxn>
                    <a:cxn ang="0">
                      <a:pos x="251" y="225"/>
                    </a:cxn>
                    <a:cxn ang="0">
                      <a:pos x="219" y="227"/>
                    </a:cxn>
                    <a:cxn ang="0">
                      <a:pos x="186" y="225"/>
                    </a:cxn>
                    <a:cxn ang="0">
                      <a:pos x="155" y="218"/>
                    </a:cxn>
                    <a:cxn ang="0">
                      <a:pos x="127" y="206"/>
                    </a:cxn>
                    <a:cxn ang="0">
                      <a:pos x="100" y="192"/>
                    </a:cxn>
                    <a:cxn ang="0">
                      <a:pos x="76" y="173"/>
                    </a:cxn>
                    <a:cxn ang="0">
                      <a:pos x="53" y="152"/>
                    </a:cxn>
                    <a:cxn ang="0">
                      <a:pos x="35" y="127"/>
                    </a:cxn>
                    <a:cxn ang="0">
                      <a:pos x="21" y="100"/>
                    </a:cxn>
                    <a:cxn ang="0">
                      <a:pos x="9" y="71"/>
                    </a:cxn>
                    <a:cxn ang="0">
                      <a:pos x="2" y="41"/>
                    </a:cxn>
                    <a:cxn ang="0">
                      <a:pos x="0" y="8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38" h="227">
                      <a:moveTo>
                        <a:pt x="0" y="0"/>
                      </a:moveTo>
                      <a:lnTo>
                        <a:pt x="4" y="31"/>
                      </a:lnTo>
                      <a:lnTo>
                        <a:pt x="12" y="61"/>
                      </a:lnTo>
                      <a:lnTo>
                        <a:pt x="23" y="89"/>
                      </a:lnTo>
                      <a:lnTo>
                        <a:pt x="38" y="115"/>
                      </a:lnTo>
                      <a:lnTo>
                        <a:pt x="56" y="138"/>
                      </a:lnTo>
                      <a:lnTo>
                        <a:pt x="78" y="159"/>
                      </a:lnTo>
                      <a:lnTo>
                        <a:pt x="102" y="176"/>
                      </a:lnTo>
                      <a:lnTo>
                        <a:pt x="128" y="190"/>
                      </a:lnTo>
                      <a:lnTo>
                        <a:pt x="157" y="200"/>
                      </a:lnTo>
                      <a:lnTo>
                        <a:pt x="187" y="207"/>
                      </a:lnTo>
                      <a:lnTo>
                        <a:pt x="219" y="209"/>
                      </a:lnTo>
                      <a:lnTo>
                        <a:pt x="250" y="207"/>
                      </a:lnTo>
                      <a:lnTo>
                        <a:pt x="280" y="200"/>
                      </a:lnTo>
                      <a:lnTo>
                        <a:pt x="309" y="190"/>
                      </a:lnTo>
                      <a:lnTo>
                        <a:pt x="335" y="176"/>
                      </a:lnTo>
                      <a:lnTo>
                        <a:pt x="360" y="159"/>
                      </a:lnTo>
                      <a:lnTo>
                        <a:pt x="381" y="138"/>
                      </a:lnTo>
                      <a:lnTo>
                        <a:pt x="399" y="115"/>
                      </a:lnTo>
                      <a:lnTo>
                        <a:pt x="414" y="89"/>
                      </a:lnTo>
                      <a:lnTo>
                        <a:pt x="426" y="61"/>
                      </a:lnTo>
                      <a:lnTo>
                        <a:pt x="433" y="31"/>
                      </a:lnTo>
                      <a:lnTo>
                        <a:pt x="437" y="0"/>
                      </a:lnTo>
                      <a:lnTo>
                        <a:pt x="437" y="3"/>
                      </a:lnTo>
                      <a:lnTo>
                        <a:pt x="438" y="6"/>
                      </a:lnTo>
                      <a:lnTo>
                        <a:pt x="438" y="8"/>
                      </a:lnTo>
                      <a:lnTo>
                        <a:pt x="436" y="41"/>
                      </a:lnTo>
                      <a:lnTo>
                        <a:pt x="429" y="71"/>
                      </a:lnTo>
                      <a:lnTo>
                        <a:pt x="417" y="100"/>
                      </a:lnTo>
                      <a:lnTo>
                        <a:pt x="403" y="127"/>
                      </a:lnTo>
                      <a:lnTo>
                        <a:pt x="384" y="152"/>
                      </a:lnTo>
                      <a:lnTo>
                        <a:pt x="363" y="173"/>
                      </a:lnTo>
                      <a:lnTo>
                        <a:pt x="338" y="192"/>
                      </a:lnTo>
                      <a:lnTo>
                        <a:pt x="311" y="206"/>
                      </a:lnTo>
                      <a:lnTo>
                        <a:pt x="282" y="218"/>
                      </a:lnTo>
                      <a:lnTo>
                        <a:pt x="251" y="225"/>
                      </a:lnTo>
                      <a:lnTo>
                        <a:pt x="219" y="227"/>
                      </a:lnTo>
                      <a:lnTo>
                        <a:pt x="186" y="225"/>
                      </a:lnTo>
                      <a:lnTo>
                        <a:pt x="155" y="218"/>
                      </a:lnTo>
                      <a:lnTo>
                        <a:pt x="127" y="206"/>
                      </a:lnTo>
                      <a:lnTo>
                        <a:pt x="100" y="192"/>
                      </a:lnTo>
                      <a:lnTo>
                        <a:pt x="76" y="173"/>
                      </a:lnTo>
                      <a:lnTo>
                        <a:pt x="53" y="152"/>
                      </a:lnTo>
                      <a:lnTo>
                        <a:pt x="35" y="127"/>
                      </a:lnTo>
                      <a:lnTo>
                        <a:pt x="21" y="100"/>
                      </a:lnTo>
                      <a:lnTo>
                        <a:pt x="9" y="71"/>
                      </a:lnTo>
                      <a:lnTo>
                        <a:pt x="2" y="41"/>
                      </a:ln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>
                    <a:alpha val="33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128302" tIns="64151" rIns="128302" bIns="6415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710448"/>
                  <a:endParaRPr lang="en-US" sz="3368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462" name="Group 34"/>
              <p:cNvGrpSpPr/>
              <p:nvPr/>
            </p:nvGrpSpPr>
            <p:grpSpPr>
              <a:xfrm>
                <a:off x="2442609" y="1856927"/>
                <a:ext cx="708825" cy="1582448"/>
                <a:chOff x="5722936" y="1637019"/>
                <a:chExt cx="742949" cy="1658632"/>
              </a:xfrm>
              <a:effectLst>
                <a:outerShdw blurRad="38100" dist="63500" dir="2700000" algn="tl" rotWithShape="0">
                  <a:prstClr val="black">
                    <a:alpha val="99000"/>
                  </a:prstClr>
                </a:outerShdw>
              </a:effectLst>
            </p:grpSpPr>
            <p:sp>
              <p:nvSpPr>
                <p:cNvPr id="466" name="Freeform 13"/>
                <p:cNvSpPr>
                  <a:spLocks/>
                </p:cNvSpPr>
                <p:nvPr/>
              </p:nvSpPr>
              <p:spPr bwMode="auto">
                <a:xfrm>
                  <a:off x="5722936" y="1637019"/>
                  <a:ext cx="742949" cy="741360"/>
                </a:xfrm>
                <a:custGeom>
                  <a:avLst/>
                  <a:gdLst/>
                  <a:ahLst/>
                  <a:cxnLst>
                    <a:cxn ang="0">
                      <a:pos x="234" y="0"/>
                    </a:cxn>
                    <a:cxn ang="0">
                      <a:pos x="266" y="2"/>
                    </a:cxn>
                    <a:cxn ang="0">
                      <a:pos x="296" y="8"/>
                    </a:cxn>
                    <a:cxn ang="0">
                      <a:pos x="325" y="18"/>
                    </a:cxn>
                    <a:cxn ang="0">
                      <a:pos x="352" y="32"/>
                    </a:cxn>
                    <a:cxn ang="0">
                      <a:pos x="377" y="48"/>
                    </a:cxn>
                    <a:cxn ang="0">
                      <a:pos x="400" y="68"/>
                    </a:cxn>
                    <a:cxn ang="0">
                      <a:pos x="420" y="90"/>
                    </a:cxn>
                    <a:cxn ang="0">
                      <a:pos x="436" y="115"/>
                    </a:cxn>
                    <a:cxn ang="0">
                      <a:pos x="450" y="142"/>
                    </a:cxn>
                    <a:cxn ang="0">
                      <a:pos x="460" y="171"/>
                    </a:cxn>
                    <a:cxn ang="0">
                      <a:pos x="466" y="201"/>
                    </a:cxn>
                    <a:cxn ang="0">
                      <a:pos x="468" y="233"/>
                    </a:cxn>
                    <a:cxn ang="0">
                      <a:pos x="466" y="265"/>
                    </a:cxn>
                    <a:cxn ang="0">
                      <a:pos x="460" y="295"/>
                    </a:cxn>
                    <a:cxn ang="0">
                      <a:pos x="450" y="324"/>
                    </a:cxn>
                    <a:cxn ang="0">
                      <a:pos x="436" y="351"/>
                    </a:cxn>
                    <a:cxn ang="0">
                      <a:pos x="420" y="376"/>
                    </a:cxn>
                    <a:cxn ang="0">
                      <a:pos x="400" y="398"/>
                    </a:cxn>
                    <a:cxn ang="0">
                      <a:pos x="377" y="418"/>
                    </a:cxn>
                    <a:cxn ang="0">
                      <a:pos x="352" y="435"/>
                    </a:cxn>
                    <a:cxn ang="0">
                      <a:pos x="325" y="448"/>
                    </a:cxn>
                    <a:cxn ang="0">
                      <a:pos x="296" y="458"/>
                    </a:cxn>
                    <a:cxn ang="0">
                      <a:pos x="266" y="464"/>
                    </a:cxn>
                    <a:cxn ang="0">
                      <a:pos x="234" y="467"/>
                    </a:cxn>
                    <a:cxn ang="0">
                      <a:pos x="202" y="464"/>
                    </a:cxn>
                    <a:cxn ang="0">
                      <a:pos x="171" y="458"/>
                    </a:cxn>
                    <a:cxn ang="0">
                      <a:pos x="142" y="448"/>
                    </a:cxn>
                    <a:cxn ang="0">
                      <a:pos x="116" y="435"/>
                    </a:cxn>
                    <a:cxn ang="0">
                      <a:pos x="91" y="418"/>
                    </a:cxn>
                    <a:cxn ang="0">
                      <a:pos x="68" y="398"/>
                    </a:cxn>
                    <a:cxn ang="0">
                      <a:pos x="49" y="376"/>
                    </a:cxn>
                    <a:cxn ang="0">
                      <a:pos x="32" y="351"/>
                    </a:cxn>
                    <a:cxn ang="0">
                      <a:pos x="18" y="324"/>
                    </a:cxn>
                    <a:cxn ang="0">
                      <a:pos x="8" y="295"/>
                    </a:cxn>
                    <a:cxn ang="0">
                      <a:pos x="2" y="265"/>
                    </a:cxn>
                    <a:cxn ang="0">
                      <a:pos x="0" y="233"/>
                    </a:cxn>
                    <a:cxn ang="0">
                      <a:pos x="2" y="201"/>
                    </a:cxn>
                    <a:cxn ang="0">
                      <a:pos x="8" y="171"/>
                    </a:cxn>
                    <a:cxn ang="0">
                      <a:pos x="18" y="142"/>
                    </a:cxn>
                    <a:cxn ang="0">
                      <a:pos x="32" y="115"/>
                    </a:cxn>
                    <a:cxn ang="0">
                      <a:pos x="49" y="90"/>
                    </a:cxn>
                    <a:cxn ang="0">
                      <a:pos x="68" y="68"/>
                    </a:cxn>
                    <a:cxn ang="0">
                      <a:pos x="91" y="48"/>
                    </a:cxn>
                    <a:cxn ang="0">
                      <a:pos x="116" y="32"/>
                    </a:cxn>
                    <a:cxn ang="0">
                      <a:pos x="142" y="18"/>
                    </a:cxn>
                    <a:cxn ang="0">
                      <a:pos x="171" y="8"/>
                    </a:cxn>
                    <a:cxn ang="0">
                      <a:pos x="202" y="2"/>
                    </a:cxn>
                    <a:cxn ang="0">
                      <a:pos x="234" y="0"/>
                    </a:cxn>
                  </a:cxnLst>
                  <a:rect l="0" t="0" r="r" b="b"/>
                  <a:pathLst>
                    <a:path w="468" h="467">
                      <a:moveTo>
                        <a:pt x="234" y="0"/>
                      </a:moveTo>
                      <a:lnTo>
                        <a:pt x="266" y="2"/>
                      </a:lnTo>
                      <a:lnTo>
                        <a:pt x="296" y="8"/>
                      </a:lnTo>
                      <a:lnTo>
                        <a:pt x="325" y="18"/>
                      </a:lnTo>
                      <a:lnTo>
                        <a:pt x="352" y="32"/>
                      </a:lnTo>
                      <a:lnTo>
                        <a:pt x="377" y="48"/>
                      </a:lnTo>
                      <a:lnTo>
                        <a:pt x="400" y="68"/>
                      </a:lnTo>
                      <a:lnTo>
                        <a:pt x="420" y="90"/>
                      </a:lnTo>
                      <a:lnTo>
                        <a:pt x="436" y="115"/>
                      </a:lnTo>
                      <a:lnTo>
                        <a:pt x="450" y="142"/>
                      </a:lnTo>
                      <a:lnTo>
                        <a:pt x="460" y="171"/>
                      </a:lnTo>
                      <a:lnTo>
                        <a:pt x="466" y="201"/>
                      </a:lnTo>
                      <a:lnTo>
                        <a:pt x="468" y="233"/>
                      </a:lnTo>
                      <a:lnTo>
                        <a:pt x="466" y="265"/>
                      </a:lnTo>
                      <a:lnTo>
                        <a:pt x="460" y="295"/>
                      </a:lnTo>
                      <a:lnTo>
                        <a:pt x="450" y="324"/>
                      </a:lnTo>
                      <a:lnTo>
                        <a:pt x="436" y="351"/>
                      </a:lnTo>
                      <a:lnTo>
                        <a:pt x="420" y="376"/>
                      </a:lnTo>
                      <a:lnTo>
                        <a:pt x="400" y="398"/>
                      </a:lnTo>
                      <a:lnTo>
                        <a:pt x="377" y="418"/>
                      </a:lnTo>
                      <a:lnTo>
                        <a:pt x="352" y="435"/>
                      </a:lnTo>
                      <a:lnTo>
                        <a:pt x="325" y="448"/>
                      </a:lnTo>
                      <a:lnTo>
                        <a:pt x="296" y="458"/>
                      </a:lnTo>
                      <a:lnTo>
                        <a:pt x="266" y="464"/>
                      </a:lnTo>
                      <a:lnTo>
                        <a:pt x="234" y="467"/>
                      </a:lnTo>
                      <a:lnTo>
                        <a:pt x="202" y="464"/>
                      </a:lnTo>
                      <a:lnTo>
                        <a:pt x="171" y="458"/>
                      </a:lnTo>
                      <a:lnTo>
                        <a:pt x="142" y="448"/>
                      </a:lnTo>
                      <a:lnTo>
                        <a:pt x="116" y="435"/>
                      </a:lnTo>
                      <a:lnTo>
                        <a:pt x="91" y="418"/>
                      </a:lnTo>
                      <a:lnTo>
                        <a:pt x="68" y="398"/>
                      </a:lnTo>
                      <a:lnTo>
                        <a:pt x="49" y="376"/>
                      </a:lnTo>
                      <a:lnTo>
                        <a:pt x="32" y="351"/>
                      </a:lnTo>
                      <a:lnTo>
                        <a:pt x="18" y="324"/>
                      </a:lnTo>
                      <a:lnTo>
                        <a:pt x="8" y="295"/>
                      </a:lnTo>
                      <a:lnTo>
                        <a:pt x="2" y="265"/>
                      </a:lnTo>
                      <a:lnTo>
                        <a:pt x="0" y="233"/>
                      </a:lnTo>
                      <a:lnTo>
                        <a:pt x="2" y="201"/>
                      </a:lnTo>
                      <a:lnTo>
                        <a:pt x="8" y="171"/>
                      </a:lnTo>
                      <a:lnTo>
                        <a:pt x="18" y="142"/>
                      </a:lnTo>
                      <a:lnTo>
                        <a:pt x="32" y="115"/>
                      </a:lnTo>
                      <a:lnTo>
                        <a:pt x="49" y="90"/>
                      </a:lnTo>
                      <a:lnTo>
                        <a:pt x="68" y="68"/>
                      </a:lnTo>
                      <a:lnTo>
                        <a:pt x="91" y="48"/>
                      </a:lnTo>
                      <a:lnTo>
                        <a:pt x="116" y="32"/>
                      </a:lnTo>
                      <a:lnTo>
                        <a:pt x="142" y="18"/>
                      </a:lnTo>
                      <a:lnTo>
                        <a:pt x="171" y="8"/>
                      </a:lnTo>
                      <a:lnTo>
                        <a:pt x="202" y="2"/>
                      </a:lnTo>
                      <a:lnTo>
                        <a:pt x="234" y="0"/>
                      </a:lnTo>
                      <a:close/>
                    </a:path>
                  </a:pathLst>
                </a:custGeom>
                <a:solidFill>
                  <a:srgbClr val="FF0000"/>
                </a:solidFill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128302" tIns="64151" rIns="128302" bIns="6415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710448"/>
                  <a:endParaRPr lang="en-US" sz="3368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467" name="Freeform 14"/>
                <p:cNvSpPr>
                  <a:spLocks/>
                </p:cNvSpPr>
                <p:nvPr/>
              </p:nvSpPr>
              <p:spPr bwMode="auto">
                <a:xfrm>
                  <a:off x="5746750" y="2935288"/>
                  <a:ext cx="695325" cy="36036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" y="31"/>
                    </a:cxn>
                    <a:cxn ang="0">
                      <a:pos x="12" y="60"/>
                    </a:cxn>
                    <a:cxn ang="0">
                      <a:pos x="23" y="89"/>
                    </a:cxn>
                    <a:cxn ang="0">
                      <a:pos x="38" y="114"/>
                    </a:cxn>
                    <a:cxn ang="0">
                      <a:pos x="56" y="137"/>
                    </a:cxn>
                    <a:cxn ang="0">
                      <a:pos x="78" y="158"/>
                    </a:cxn>
                    <a:cxn ang="0">
                      <a:pos x="102" y="176"/>
                    </a:cxn>
                    <a:cxn ang="0">
                      <a:pos x="128" y="190"/>
                    </a:cxn>
                    <a:cxn ang="0">
                      <a:pos x="157" y="200"/>
                    </a:cxn>
                    <a:cxn ang="0">
                      <a:pos x="187" y="207"/>
                    </a:cxn>
                    <a:cxn ang="0">
                      <a:pos x="219" y="209"/>
                    </a:cxn>
                    <a:cxn ang="0">
                      <a:pos x="250" y="207"/>
                    </a:cxn>
                    <a:cxn ang="0">
                      <a:pos x="280" y="200"/>
                    </a:cxn>
                    <a:cxn ang="0">
                      <a:pos x="309" y="190"/>
                    </a:cxn>
                    <a:cxn ang="0">
                      <a:pos x="335" y="176"/>
                    </a:cxn>
                    <a:cxn ang="0">
                      <a:pos x="360" y="158"/>
                    </a:cxn>
                    <a:cxn ang="0">
                      <a:pos x="381" y="137"/>
                    </a:cxn>
                    <a:cxn ang="0">
                      <a:pos x="399" y="114"/>
                    </a:cxn>
                    <a:cxn ang="0">
                      <a:pos x="414" y="89"/>
                    </a:cxn>
                    <a:cxn ang="0">
                      <a:pos x="426" y="60"/>
                    </a:cxn>
                    <a:cxn ang="0">
                      <a:pos x="433" y="31"/>
                    </a:cxn>
                    <a:cxn ang="0">
                      <a:pos x="437" y="0"/>
                    </a:cxn>
                    <a:cxn ang="0">
                      <a:pos x="437" y="3"/>
                    </a:cxn>
                    <a:cxn ang="0">
                      <a:pos x="438" y="5"/>
                    </a:cxn>
                    <a:cxn ang="0">
                      <a:pos x="438" y="8"/>
                    </a:cxn>
                    <a:cxn ang="0">
                      <a:pos x="436" y="41"/>
                    </a:cxn>
                    <a:cxn ang="0">
                      <a:pos x="429" y="71"/>
                    </a:cxn>
                    <a:cxn ang="0">
                      <a:pos x="417" y="100"/>
                    </a:cxn>
                    <a:cxn ang="0">
                      <a:pos x="403" y="127"/>
                    </a:cxn>
                    <a:cxn ang="0">
                      <a:pos x="384" y="152"/>
                    </a:cxn>
                    <a:cxn ang="0">
                      <a:pos x="363" y="173"/>
                    </a:cxn>
                    <a:cxn ang="0">
                      <a:pos x="338" y="192"/>
                    </a:cxn>
                    <a:cxn ang="0">
                      <a:pos x="311" y="206"/>
                    </a:cxn>
                    <a:cxn ang="0">
                      <a:pos x="282" y="218"/>
                    </a:cxn>
                    <a:cxn ang="0">
                      <a:pos x="251" y="224"/>
                    </a:cxn>
                    <a:cxn ang="0">
                      <a:pos x="219" y="227"/>
                    </a:cxn>
                    <a:cxn ang="0">
                      <a:pos x="186" y="224"/>
                    </a:cxn>
                    <a:cxn ang="0">
                      <a:pos x="155" y="218"/>
                    </a:cxn>
                    <a:cxn ang="0">
                      <a:pos x="127" y="206"/>
                    </a:cxn>
                    <a:cxn ang="0">
                      <a:pos x="100" y="192"/>
                    </a:cxn>
                    <a:cxn ang="0">
                      <a:pos x="76" y="173"/>
                    </a:cxn>
                    <a:cxn ang="0">
                      <a:pos x="53" y="152"/>
                    </a:cxn>
                    <a:cxn ang="0">
                      <a:pos x="35" y="127"/>
                    </a:cxn>
                    <a:cxn ang="0">
                      <a:pos x="21" y="100"/>
                    </a:cxn>
                    <a:cxn ang="0">
                      <a:pos x="9" y="71"/>
                    </a:cxn>
                    <a:cxn ang="0">
                      <a:pos x="2" y="41"/>
                    </a:cxn>
                    <a:cxn ang="0">
                      <a:pos x="0" y="8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38" h="227">
                      <a:moveTo>
                        <a:pt x="0" y="0"/>
                      </a:moveTo>
                      <a:lnTo>
                        <a:pt x="4" y="31"/>
                      </a:lnTo>
                      <a:lnTo>
                        <a:pt x="12" y="60"/>
                      </a:lnTo>
                      <a:lnTo>
                        <a:pt x="23" y="89"/>
                      </a:lnTo>
                      <a:lnTo>
                        <a:pt x="38" y="114"/>
                      </a:lnTo>
                      <a:lnTo>
                        <a:pt x="56" y="137"/>
                      </a:lnTo>
                      <a:lnTo>
                        <a:pt x="78" y="158"/>
                      </a:lnTo>
                      <a:lnTo>
                        <a:pt x="102" y="176"/>
                      </a:lnTo>
                      <a:lnTo>
                        <a:pt x="128" y="190"/>
                      </a:lnTo>
                      <a:lnTo>
                        <a:pt x="157" y="200"/>
                      </a:lnTo>
                      <a:lnTo>
                        <a:pt x="187" y="207"/>
                      </a:lnTo>
                      <a:lnTo>
                        <a:pt x="219" y="209"/>
                      </a:lnTo>
                      <a:lnTo>
                        <a:pt x="250" y="207"/>
                      </a:lnTo>
                      <a:lnTo>
                        <a:pt x="280" y="200"/>
                      </a:lnTo>
                      <a:lnTo>
                        <a:pt x="309" y="190"/>
                      </a:lnTo>
                      <a:lnTo>
                        <a:pt x="335" y="176"/>
                      </a:lnTo>
                      <a:lnTo>
                        <a:pt x="360" y="158"/>
                      </a:lnTo>
                      <a:lnTo>
                        <a:pt x="381" y="137"/>
                      </a:lnTo>
                      <a:lnTo>
                        <a:pt x="399" y="114"/>
                      </a:lnTo>
                      <a:lnTo>
                        <a:pt x="414" y="89"/>
                      </a:lnTo>
                      <a:lnTo>
                        <a:pt x="426" y="60"/>
                      </a:lnTo>
                      <a:lnTo>
                        <a:pt x="433" y="31"/>
                      </a:lnTo>
                      <a:lnTo>
                        <a:pt x="437" y="0"/>
                      </a:lnTo>
                      <a:lnTo>
                        <a:pt x="437" y="3"/>
                      </a:lnTo>
                      <a:lnTo>
                        <a:pt x="438" y="5"/>
                      </a:lnTo>
                      <a:lnTo>
                        <a:pt x="438" y="8"/>
                      </a:lnTo>
                      <a:lnTo>
                        <a:pt x="436" y="41"/>
                      </a:lnTo>
                      <a:lnTo>
                        <a:pt x="429" y="71"/>
                      </a:lnTo>
                      <a:lnTo>
                        <a:pt x="417" y="100"/>
                      </a:lnTo>
                      <a:lnTo>
                        <a:pt x="403" y="127"/>
                      </a:lnTo>
                      <a:lnTo>
                        <a:pt x="384" y="152"/>
                      </a:lnTo>
                      <a:lnTo>
                        <a:pt x="363" y="173"/>
                      </a:lnTo>
                      <a:lnTo>
                        <a:pt x="338" y="192"/>
                      </a:lnTo>
                      <a:lnTo>
                        <a:pt x="311" y="206"/>
                      </a:lnTo>
                      <a:lnTo>
                        <a:pt x="282" y="218"/>
                      </a:lnTo>
                      <a:lnTo>
                        <a:pt x="251" y="224"/>
                      </a:lnTo>
                      <a:lnTo>
                        <a:pt x="219" y="227"/>
                      </a:lnTo>
                      <a:lnTo>
                        <a:pt x="186" y="224"/>
                      </a:lnTo>
                      <a:lnTo>
                        <a:pt x="155" y="218"/>
                      </a:lnTo>
                      <a:lnTo>
                        <a:pt x="127" y="206"/>
                      </a:lnTo>
                      <a:lnTo>
                        <a:pt x="100" y="192"/>
                      </a:lnTo>
                      <a:lnTo>
                        <a:pt x="76" y="173"/>
                      </a:lnTo>
                      <a:lnTo>
                        <a:pt x="53" y="152"/>
                      </a:lnTo>
                      <a:lnTo>
                        <a:pt x="35" y="127"/>
                      </a:lnTo>
                      <a:lnTo>
                        <a:pt x="21" y="100"/>
                      </a:lnTo>
                      <a:lnTo>
                        <a:pt x="9" y="71"/>
                      </a:lnTo>
                      <a:lnTo>
                        <a:pt x="2" y="41"/>
                      </a:ln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>
                    <a:alpha val="33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128302" tIns="64151" rIns="128302" bIns="6415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710448"/>
                  <a:endParaRPr lang="en-US" sz="3368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463" name="Group 35"/>
              <p:cNvGrpSpPr/>
              <p:nvPr/>
            </p:nvGrpSpPr>
            <p:grpSpPr>
              <a:xfrm>
                <a:off x="2442609" y="3616581"/>
                <a:ext cx="708825" cy="708825"/>
                <a:chOff x="5722943" y="3481390"/>
                <a:chExt cx="742950" cy="742950"/>
              </a:xfrm>
              <a:effectLst>
                <a:outerShdw blurRad="38100" dist="63500" dir="2700000" algn="tl" rotWithShape="0">
                  <a:prstClr val="black">
                    <a:alpha val="99000"/>
                  </a:prstClr>
                </a:outerShdw>
              </a:effectLst>
            </p:grpSpPr>
            <p:sp>
              <p:nvSpPr>
                <p:cNvPr id="464" name="Freeform 9"/>
                <p:cNvSpPr>
                  <a:spLocks/>
                </p:cNvSpPr>
                <p:nvPr/>
              </p:nvSpPr>
              <p:spPr bwMode="auto">
                <a:xfrm>
                  <a:off x="5722943" y="3481390"/>
                  <a:ext cx="742950" cy="742950"/>
                </a:xfrm>
                <a:custGeom>
                  <a:avLst/>
                  <a:gdLst/>
                  <a:ahLst/>
                  <a:cxnLst>
                    <a:cxn ang="0">
                      <a:pos x="234" y="0"/>
                    </a:cxn>
                    <a:cxn ang="0">
                      <a:pos x="266" y="3"/>
                    </a:cxn>
                    <a:cxn ang="0">
                      <a:pos x="296" y="9"/>
                    </a:cxn>
                    <a:cxn ang="0">
                      <a:pos x="325" y="19"/>
                    </a:cxn>
                    <a:cxn ang="0">
                      <a:pos x="352" y="32"/>
                    </a:cxn>
                    <a:cxn ang="0">
                      <a:pos x="377" y="49"/>
                    </a:cxn>
                    <a:cxn ang="0">
                      <a:pos x="400" y="69"/>
                    </a:cxn>
                    <a:cxn ang="0">
                      <a:pos x="420" y="91"/>
                    </a:cxn>
                    <a:cxn ang="0">
                      <a:pos x="436" y="116"/>
                    </a:cxn>
                    <a:cxn ang="0">
                      <a:pos x="450" y="142"/>
                    </a:cxn>
                    <a:cxn ang="0">
                      <a:pos x="460" y="171"/>
                    </a:cxn>
                    <a:cxn ang="0">
                      <a:pos x="466" y="202"/>
                    </a:cxn>
                    <a:cxn ang="0">
                      <a:pos x="468" y="234"/>
                    </a:cxn>
                    <a:cxn ang="0">
                      <a:pos x="466" y="266"/>
                    </a:cxn>
                    <a:cxn ang="0">
                      <a:pos x="460" y="296"/>
                    </a:cxn>
                    <a:cxn ang="0">
                      <a:pos x="450" y="325"/>
                    </a:cxn>
                    <a:cxn ang="0">
                      <a:pos x="436" y="351"/>
                    </a:cxn>
                    <a:cxn ang="0">
                      <a:pos x="420" y="376"/>
                    </a:cxn>
                    <a:cxn ang="0">
                      <a:pos x="400" y="399"/>
                    </a:cxn>
                    <a:cxn ang="0">
                      <a:pos x="377" y="419"/>
                    </a:cxn>
                    <a:cxn ang="0">
                      <a:pos x="352" y="436"/>
                    </a:cxn>
                    <a:cxn ang="0">
                      <a:pos x="325" y="449"/>
                    </a:cxn>
                    <a:cxn ang="0">
                      <a:pos x="296" y="459"/>
                    </a:cxn>
                    <a:cxn ang="0">
                      <a:pos x="266" y="465"/>
                    </a:cxn>
                    <a:cxn ang="0">
                      <a:pos x="234" y="468"/>
                    </a:cxn>
                    <a:cxn ang="0">
                      <a:pos x="202" y="465"/>
                    </a:cxn>
                    <a:cxn ang="0">
                      <a:pos x="171" y="459"/>
                    </a:cxn>
                    <a:cxn ang="0">
                      <a:pos x="142" y="449"/>
                    </a:cxn>
                    <a:cxn ang="0">
                      <a:pos x="116" y="436"/>
                    </a:cxn>
                    <a:cxn ang="0">
                      <a:pos x="91" y="419"/>
                    </a:cxn>
                    <a:cxn ang="0">
                      <a:pos x="68" y="399"/>
                    </a:cxn>
                    <a:cxn ang="0">
                      <a:pos x="49" y="376"/>
                    </a:cxn>
                    <a:cxn ang="0">
                      <a:pos x="32" y="351"/>
                    </a:cxn>
                    <a:cxn ang="0">
                      <a:pos x="18" y="325"/>
                    </a:cxn>
                    <a:cxn ang="0">
                      <a:pos x="8" y="296"/>
                    </a:cxn>
                    <a:cxn ang="0">
                      <a:pos x="2" y="266"/>
                    </a:cxn>
                    <a:cxn ang="0">
                      <a:pos x="0" y="234"/>
                    </a:cxn>
                    <a:cxn ang="0">
                      <a:pos x="2" y="202"/>
                    </a:cxn>
                    <a:cxn ang="0">
                      <a:pos x="8" y="171"/>
                    </a:cxn>
                    <a:cxn ang="0">
                      <a:pos x="18" y="142"/>
                    </a:cxn>
                    <a:cxn ang="0">
                      <a:pos x="32" y="116"/>
                    </a:cxn>
                    <a:cxn ang="0">
                      <a:pos x="49" y="91"/>
                    </a:cxn>
                    <a:cxn ang="0">
                      <a:pos x="68" y="69"/>
                    </a:cxn>
                    <a:cxn ang="0">
                      <a:pos x="91" y="49"/>
                    </a:cxn>
                    <a:cxn ang="0">
                      <a:pos x="116" y="32"/>
                    </a:cxn>
                    <a:cxn ang="0">
                      <a:pos x="142" y="19"/>
                    </a:cxn>
                    <a:cxn ang="0">
                      <a:pos x="171" y="9"/>
                    </a:cxn>
                    <a:cxn ang="0">
                      <a:pos x="202" y="3"/>
                    </a:cxn>
                    <a:cxn ang="0">
                      <a:pos x="234" y="0"/>
                    </a:cxn>
                  </a:cxnLst>
                  <a:rect l="0" t="0" r="r" b="b"/>
                  <a:pathLst>
                    <a:path w="468" h="468">
                      <a:moveTo>
                        <a:pt x="234" y="0"/>
                      </a:moveTo>
                      <a:lnTo>
                        <a:pt x="266" y="3"/>
                      </a:lnTo>
                      <a:lnTo>
                        <a:pt x="296" y="9"/>
                      </a:lnTo>
                      <a:lnTo>
                        <a:pt x="325" y="19"/>
                      </a:lnTo>
                      <a:lnTo>
                        <a:pt x="352" y="32"/>
                      </a:lnTo>
                      <a:lnTo>
                        <a:pt x="377" y="49"/>
                      </a:lnTo>
                      <a:lnTo>
                        <a:pt x="400" y="69"/>
                      </a:lnTo>
                      <a:lnTo>
                        <a:pt x="420" y="91"/>
                      </a:lnTo>
                      <a:lnTo>
                        <a:pt x="436" y="116"/>
                      </a:lnTo>
                      <a:lnTo>
                        <a:pt x="450" y="142"/>
                      </a:lnTo>
                      <a:lnTo>
                        <a:pt x="460" y="171"/>
                      </a:lnTo>
                      <a:lnTo>
                        <a:pt x="466" y="202"/>
                      </a:lnTo>
                      <a:lnTo>
                        <a:pt x="468" y="234"/>
                      </a:lnTo>
                      <a:lnTo>
                        <a:pt x="466" y="266"/>
                      </a:lnTo>
                      <a:lnTo>
                        <a:pt x="460" y="296"/>
                      </a:lnTo>
                      <a:lnTo>
                        <a:pt x="450" y="325"/>
                      </a:lnTo>
                      <a:lnTo>
                        <a:pt x="436" y="351"/>
                      </a:lnTo>
                      <a:lnTo>
                        <a:pt x="420" y="376"/>
                      </a:lnTo>
                      <a:lnTo>
                        <a:pt x="400" y="399"/>
                      </a:lnTo>
                      <a:lnTo>
                        <a:pt x="377" y="419"/>
                      </a:lnTo>
                      <a:lnTo>
                        <a:pt x="352" y="436"/>
                      </a:lnTo>
                      <a:lnTo>
                        <a:pt x="325" y="449"/>
                      </a:lnTo>
                      <a:lnTo>
                        <a:pt x="296" y="459"/>
                      </a:lnTo>
                      <a:lnTo>
                        <a:pt x="266" y="465"/>
                      </a:lnTo>
                      <a:lnTo>
                        <a:pt x="234" y="468"/>
                      </a:lnTo>
                      <a:lnTo>
                        <a:pt x="202" y="465"/>
                      </a:lnTo>
                      <a:lnTo>
                        <a:pt x="171" y="459"/>
                      </a:lnTo>
                      <a:lnTo>
                        <a:pt x="142" y="449"/>
                      </a:lnTo>
                      <a:lnTo>
                        <a:pt x="116" y="436"/>
                      </a:lnTo>
                      <a:lnTo>
                        <a:pt x="91" y="419"/>
                      </a:lnTo>
                      <a:lnTo>
                        <a:pt x="68" y="399"/>
                      </a:lnTo>
                      <a:lnTo>
                        <a:pt x="49" y="376"/>
                      </a:lnTo>
                      <a:lnTo>
                        <a:pt x="32" y="351"/>
                      </a:lnTo>
                      <a:lnTo>
                        <a:pt x="18" y="325"/>
                      </a:lnTo>
                      <a:lnTo>
                        <a:pt x="8" y="296"/>
                      </a:lnTo>
                      <a:lnTo>
                        <a:pt x="2" y="266"/>
                      </a:lnTo>
                      <a:lnTo>
                        <a:pt x="0" y="234"/>
                      </a:lnTo>
                      <a:lnTo>
                        <a:pt x="2" y="202"/>
                      </a:lnTo>
                      <a:lnTo>
                        <a:pt x="8" y="171"/>
                      </a:lnTo>
                      <a:lnTo>
                        <a:pt x="18" y="142"/>
                      </a:lnTo>
                      <a:lnTo>
                        <a:pt x="32" y="116"/>
                      </a:lnTo>
                      <a:lnTo>
                        <a:pt x="49" y="91"/>
                      </a:lnTo>
                      <a:lnTo>
                        <a:pt x="68" y="69"/>
                      </a:lnTo>
                      <a:lnTo>
                        <a:pt x="91" y="49"/>
                      </a:lnTo>
                      <a:lnTo>
                        <a:pt x="116" y="32"/>
                      </a:lnTo>
                      <a:lnTo>
                        <a:pt x="142" y="19"/>
                      </a:lnTo>
                      <a:lnTo>
                        <a:pt x="171" y="9"/>
                      </a:lnTo>
                      <a:lnTo>
                        <a:pt x="202" y="3"/>
                      </a:lnTo>
                      <a:lnTo>
                        <a:pt x="234" y="0"/>
                      </a:lnTo>
                      <a:close/>
                    </a:path>
                  </a:pathLst>
                </a:custGeom>
                <a:noFill/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128302" tIns="64151" rIns="128302" bIns="6415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710448"/>
                  <a:endParaRPr lang="en-US" sz="3368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465" name="Freeform 12"/>
                <p:cNvSpPr>
                  <a:spLocks/>
                </p:cNvSpPr>
                <p:nvPr/>
              </p:nvSpPr>
              <p:spPr bwMode="auto">
                <a:xfrm>
                  <a:off x="5746750" y="3838576"/>
                  <a:ext cx="695325" cy="36036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" y="31"/>
                    </a:cxn>
                    <a:cxn ang="0">
                      <a:pos x="12" y="60"/>
                    </a:cxn>
                    <a:cxn ang="0">
                      <a:pos x="23" y="88"/>
                    </a:cxn>
                    <a:cxn ang="0">
                      <a:pos x="38" y="114"/>
                    </a:cxn>
                    <a:cxn ang="0">
                      <a:pos x="56" y="137"/>
                    </a:cxn>
                    <a:cxn ang="0">
                      <a:pos x="78" y="157"/>
                    </a:cxn>
                    <a:cxn ang="0">
                      <a:pos x="102" y="176"/>
                    </a:cxn>
                    <a:cxn ang="0">
                      <a:pos x="128" y="189"/>
                    </a:cxn>
                    <a:cxn ang="0">
                      <a:pos x="157" y="200"/>
                    </a:cxn>
                    <a:cxn ang="0">
                      <a:pos x="187" y="207"/>
                    </a:cxn>
                    <a:cxn ang="0">
                      <a:pos x="219" y="209"/>
                    </a:cxn>
                    <a:cxn ang="0">
                      <a:pos x="250" y="207"/>
                    </a:cxn>
                    <a:cxn ang="0">
                      <a:pos x="280" y="200"/>
                    </a:cxn>
                    <a:cxn ang="0">
                      <a:pos x="309" y="189"/>
                    </a:cxn>
                    <a:cxn ang="0">
                      <a:pos x="335" y="176"/>
                    </a:cxn>
                    <a:cxn ang="0">
                      <a:pos x="360" y="157"/>
                    </a:cxn>
                    <a:cxn ang="0">
                      <a:pos x="381" y="137"/>
                    </a:cxn>
                    <a:cxn ang="0">
                      <a:pos x="399" y="114"/>
                    </a:cxn>
                    <a:cxn ang="0">
                      <a:pos x="414" y="88"/>
                    </a:cxn>
                    <a:cxn ang="0">
                      <a:pos x="426" y="60"/>
                    </a:cxn>
                    <a:cxn ang="0">
                      <a:pos x="433" y="31"/>
                    </a:cxn>
                    <a:cxn ang="0">
                      <a:pos x="437" y="0"/>
                    </a:cxn>
                    <a:cxn ang="0">
                      <a:pos x="437" y="3"/>
                    </a:cxn>
                    <a:cxn ang="0">
                      <a:pos x="438" y="5"/>
                    </a:cxn>
                    <a:cxn ang="0">
                      <a:pos x="438" y="8"/>
                    </a:cxn>
                    <a:cxn ang="0">
                      <a:pos x="436" y="41"/>
                    </a:cxn>
                    <a:cxn ang="0">
                      <a:pos x="429" y="71"/>
                    </a:cxn>
                    <a:cxn ang="0">
                      <a:pos x="417" y="100"/>
                    </a:cxn>
                    <a:cxn ang="0">
                      <a:pos x="403" y="127"/>
                    </a:cxn>
                    <a:cxn ang="0">
                      <a:pos x="384" y="151"/>
                    </a:cxn>
                    <a:cxn ang="0">
                      <a:pos x="363" y="173"/>
                    </a:cxn>
                    <a:cxn ang="0">
                      <a:pos x="338" y="192"/>
                    </a:cxn>
                    <a:cxn ang="0">
                      <a:pos x="311" y="206"/>
                    </a:cxn>
                    <a:cxn ang="0">
                      <a:pos x="282" y="217"/>
                    </a:cxn>
                    <a:cxn ang="0">
                      <a:pos x="251" y="224"/>
                    </a:cxn>
                    <a:cxn ang="0">
                      <a:pos x="219" y="227"/>
                    </a:cxn>
                    <a:cxn ang="0">
                      <a:pos x="186" y="224"/>
                    </a:cxn>
                    <a:cxn ang="0">
                      <a:pos x="155" y="217"/>
                    </a:cxn>
                    <a:cxn ang="0">
                      <a:pos x="127" y="206"/>
                    </a:cxn>
                    <a:cxn ang="0">
                      <a:pos x="100" y="192"/>
                    </a:cxn>
                    <a:cxn ang="0">
                      <a:pos x="76" y="173"/>
                    </a:cxn>
                    <a:cxn ang="0">
                      <a:pos x="53" y="151"/>
                    </a:cxn>
                    <a:cxn ang="0">
                      <a:pos x="35" y="127"/>
                    </a:cxn>
                    <a:cxn ang="0">
                      <a:pos x="21" y="100"/>
                    </a:cxn>
                    <a:cxn ang="0">
                      <a:pos x="9" y="71"/>
                    </a:cxn>
                    <a:cxn ang="0">
                      <a:pos x="2" y="41"/>
                    </a:cxn>
                    <a:cxn ang="0">
                      <a:pos x="0" y="8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38" h="227">
                      <a:moveTo>
                        <a:pt x="0" y="0"/>
                      </a:moveTo>
                      <a:lnTo>
                        <a:pt x="4" y="31"/>
                      </a:lnTo>
                      <a:lnTo>
                        <a:pt x="12" y="60"/>
                      </a:lnTo>
                      <a:lnTo>
                        <a:pt x="23" y="88"/>
                      </a:lnTo>
                      <a:lnTo>
                        <a:pt x="38" y="114"/>
                      </a:lnTo>
                      <a:lnTo>
                        <a:pt x="56" y="137"/>
                      </a:lnTo>
                      <a:lnTo>
                        <a:pt x="78" y="157"/>
                      </a:lnTo>
                      <a:lnTo>
                        <a:pt x="102" y="176"/>
                      </a:lnTo>
                      <a:lnTo>
                        <a:pt x="128" y="189"/>
                      </a:lnTo>
                      <a:lnTo>
                        <a:pt x="157" y="200"/>
                      </a:lnTo>
                      <a:lnTo>
                        <a:pt x="187" y="207"/>
                      </a:lnTo>
                      <a:lnTo>
                        <a:pt x="219" y="209"/>
                      </a:lnTo>
                      <a:lnTo>
                        <a:pt x="250" y="207"/>
                      </a:lnTo>
                      <a:lnTo>
                        <a:pt x="280" y="200"/>
                      </a:lnTo>
                      <a:lnTo>
                        <a:pt x="309" y="189"/>
                      </a:lnTo>
                      <a:lnTo>
                        <a:pt x="335" y="176"/>
                      </a:lnTo>
                      <a:lnTo>
                        <a:pt x="360" y="157"/>
                      </a:lnTo>
                      <a:lnTo>
                        <a:pt x="381" y="137"/>
                      </a:lnTo>
                      <a:lnTo>
                        <a:pt x="399" y="114"/>
                      </a:lnTo>
                      <a:lnTo>
                        <a:pt x="414" y="88"/>
                      </a:lnTo>
                      <a:lnTo>
                        <a:pt x="426" y="60"/>
                      </a:lnTo>
                      <a:lnTo>
                        <a:pt x="433" y="31"/>
                      </a:lnTo>
                      <a:lnTo>
                        <a:pt x="437" y="0"/>
                      </a:lnTo>
                      <a:lnTo>
                        <a:pt x="437" y="3"/>
                      </a:lnTo>
                      <a:lnTo>
                        <a:pt x="438" y="5"/>
                      </a:lnTo>
                      <a:lnTo>
                        <a:pt x="438" y="8"/>
                      </a:lnTo>
                      <a:lnTo>
                        <a:pt x="436" y="41"/>
                      </a:lnTo>
                      <a:lnTo>
                        <a:pt x="429" y="71"/>
                      </a:lnTo>
                      <a:lnTo>
                        <a:pt x="417" y="100"/>
                      </a:lnTo>
                      <a:lnTo>
                        <a:pt x="403" y="127"/>
                      </a:lnTo>
                      <a:lnTo>
                        <a:pt x="384" y="151"/>
                      </a:lnTo>
                      <a:lnTo>
                        <a:pt x="363" y="173"/>
                      </a:lnTo>
                      <a:lnTo>
                        <a:pt x="338" y="192"/>
                      </a:lnTo>
                      <a:lnTo>
                        <a:pt x="311" y="206"/>
                      </a:lnTo>
                      <a:lnTo>
                        <a:pt x="282" y="217"/>
                      </a:lnTo>
                      <a:lnTo>
                        <a:pt x="251" y="224"/>
                      </a:lnTo>
                      <a:lnTo>
                        <a:pt x="219" y="227"/>
                      </a:lnTo>
                      <a:lnTo>
                        <a:pt x="186" y="224"/>
                      </a:lnTo>
                      <a:lnTo>
                        <a:pt x="155" y="217"/>
                      </a:lnTo>
                      <a:lnTo>
                        <a:pt x="127" y="206"/>
                      </a:lnTo>
                      <a:lnTo>
                        <a:pt x="100" y="192"/>
                      </a:lnTo>
                      <a:lnTo>
                        <a:pt x="76" y="173"/>
                      </a:lnTo>
                      <a:lnTo>
                        <a:pt x="53" y="151"/>
                      </a:lnTo>
                      <a:lnTo>
                        <a:pt x="35" y="127"/>
                      </a:lnTo>
                      <a:lnTo>
                        <a:pt x="21" y="100"/>
                      </a:lnTo>
                      <a:lnTo>
                        <a:pt x="9" y="71"/>
                      </a:lnTo>
                      <a:lnTo>
                        <a:pt x="2" y="41"/>
                      </a:ln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>
                    <a:alpha val="33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128302" tIns="64151" rIns="128302" bIns="6415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710448"/>
                  <a:endParaRPr lang="en-US" sz="3368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</p:grpSp>
        </p:grpSp>
      </p:grpSp>
      <p:sp>
        <p:nvSpPr>
          <p:cNvPr id="480" name="Rectangle 479"/>
          <p:cNvSpPr/>
          <p:nvPr/>
        </p:nvSpPr>
        <p:spPr>
          <a:xfrm>
            <a:off x="3652575" y="4610013"/>
            <a:ext cx="1717707" cy="2070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121920" rIns="54611" bIns="54611" rtlCol="0" anchor="t"/>
          <a:lstStyle/>
          <a:p>
            <a:pPr marL="227965" indent="-227965" defTabSz="1058286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  <a:latin typeface="Arial"/>
                <a:cs typeface="Arial"/>
              </a:rPr>
              <a:t>There is a dependency on stakeholders' comment</a:t>
            </a:r>
            <a:endParaRPr lang="en-US" sz="150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481" name="Round Same Side Corner Rectangle 480"/>
          <p:cNvSpPr/>
          <p:nvPr/>
        </p:nvSpPr>
        <p:spPr>
          <a:xfrm>
            <a:off x="3652575" y="4305118"/>
            <a:ext cx="1717707" cy="331382"/>
          </a:xfrm>
          <a:prstGeom prst="round2Same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</p:spPr>
        <p:txBody>
          <a:bodyPr wrap="square" lIns="121920" tIns="0" bIns="60960" anchor="ctr">
            <a:noAutofit/>
          </a:bodyPr>
          <a:lstStyle/>
          <a:p>
            <a:pPr defTabSz="1058286"/>
            <a:r>
              <a:rPr lang="en-US" sz="1400" b="1">
                <a:solidFill>
                  <a:prstClr val="white"/>
                </a:solidFill>
                <a:latin typeface="Arial"/>
                <a:cs typeface="DIN Next LT Arabic"/>
              </a:rPr>
              <a:t>Dependency </a:t>
            </a:r>
          </a:p>
        </p:txBody>
      </p:sp>
      <p:grpSp>
        <p:nvGrpSpPr>
          <p:cNvPr id="482" name="Group 481"/>
          <p:cNvGrpSpPr/>
          <p:nvPr/>
        </p:nvGrpSpPr>
        <p:grpSpPr>
          <a:xfrm>
            <a:off x="3662317" y="6624523"/>
            <a:ext cx="1707969" cy="104129"/>
            <a:chOff x="170119" y="2637607"/>
            <a:chExt cx="2373357" cy="130724"/>
          </a:xfrm>
        </p:grpSpPr>
        <p:sp>
          <p:nvSpPr>
            <p:cNvPr id="483" name="Right Triangle 482"/>
            <p:cNvSpPr/>
            <p:nvPr/>
          </p:nvSpPr>
          <p:spPr>
            <a:xfrm flipH="1" flipV="1">
              <a:off x="173559" y="2637607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484" name="Right Triangle 483"/>
            <p:cNvSpPr/>
            <p:nvPr/>
          </p:nvSpPr>
          <p:spPr>
            <a:xfrm flipV="1">
              <a:off x="170119" y="2637607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</p:grpSp>
      <p:sp>
        <p:nvSpPr>
          <p:cNvPr id="523" name="Rectangle 522"/>
          <p:cNvSpPr/>
          <p:nvPr/>
        </p:nvSpPr>
        <p:spPr>
          <a:xfrm>
            <a:off x="5502664" y="4610013"/>
            <a:ext cx="1717707" cy="2070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121920" rIns="54611" bIns="54611" rtlCol="0" anchor="t"/>
          <a:lstStyle/>
          <a:p>
            <a:pPr marL="190498" indent="-190498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Risk: KPMG’s invoice won’t be paid fully</a:t>
            </a:r>
          </a:p>
        </p:txBody>
      </p:sp>
      <p:sp>
        <p:nvSpPr>
          <p:cNvPr id="524" name="Round Same Side Corner Rectangle 523"/>
          <p:cNvSpPr/>
          <p:nvPr/>
        </p:nvSpPr>
        <p:spPr>
          <a:xfrm>
            <a:off x="5502664" y="4305118"/>
            <a:ext cx="1717707" cy="331382"/>
          </a:xfrm>
          <a:prstGeom prst="round2Same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</p:spPr>
        <p:txBody>
          <a:bodyPr wrap="square" lIns="121920" tIns="0" bIns="60960" anchor="ctr">
            <a:noAutofit/>
          </a:bodyPr>
          <a:lstStyle/>
          <a:p>
            <a:pPr defTabSz="1058286"/>
            <a:r>
              <a:rPr lang="en-US" sz="1400" b="1">
                <a:solidFill>
                  <a:prstClr val="white"/>
                </a:solidFill>
                <a:latin typeface="Arial"/>
                <a:cs typeface="DIN Next LT Arabic"/>
              </a:rPr>
              <a:t>Risk</a:t>
            </a:r>
          </a:p>
        </p:txBody>
      </p:sp>
      <p:grpSp>
        <p:nvGrpSpPr>
          <p:cNvPr id="525" name="Group 524"/>
          <p:cNvGrpSpPr/>
          <p:nvPr/>
        </p:nvGrpSpPr>
        <p:grpSpPr>
          <a:xfrm>
            <a:off x="5512403" y="6624523"/>
            <a:ext cx="1707969" cy="104129"/>
            <a:chOff x="170119" y="2637607"/>
            <a:chExt cx="2373357" cy="130724"/>
          </a:xfrm>
        </p:grpSpPr>
        <p:sp>
          <p:nvSpPr>
            <p:cNvPr id="526" name="Right Triangle 525"/>
            <p:cNvSpPr/>
            <p:nvPr/>
          </p:nvSpPr>
          <p:spPr>
            <a:xfrm flipH="1" flipV="1">
              <a:off x="173559" y="2637607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527" name="Right Triangle 526"/>
            <p:cNvSpPr/>
            <p:nvPr/>
          </p:nvSpPr>
          <p:spPr>
            <a:xfrm flipV="1">
              <a:off x="170119" y="2637607"/>
              <a:ext cx="2369917" cy="130724"/>
            </a:xfrm>
            <a:prstGeom prst="rtTriangle">
              <a:avLst/>
            </a:prstGeom>
            <a:gradFill flip="none" rotWithShape="1">
              <a:gsLst>
                <a:gs pos="51000">
                  <a:srgbClr val="F2F2F2">
                    <a:alpha val="0"/>
                  </a:srgbClr>
                </a:gs>
                <a:gs pos="5000">
                  <a:schemeClr val="tx1">
                    <a:alpha val="72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</p:grpSp>
      <p:grpSp>
        <p:nvGrpSpPr>
          <p:cNvPr id="534" name="Group 84"/>
          <p:cNvGrpSpPr>
            <a:grpSpLocks noChangeAspect="1"/>
          </p:cNvGrpSpPr>
          <p:nvPr/>
        </p:nvGrpSpPr>
        <p:grpSpPr bwMode="auto">
          <a:xfrm>
            <a:off x="6855887" y="4334996"/>
            <a:ext cx="310301" cy="267459"/>
            <a:chOff x="3333" y="1722"/>
            <a:chExt cx="1014" cy="874"/>
          </a:xfrm>
          <a:solidFill>
            <a:schemeClr val="bg1"/>
          </a:solidFill>
        </p:grpSpPr>
        <p:sp>
          <p:nvSpPr>
            <p:cNvPr id="535" name="Freeform 85"/>
            <p:cNvSpPr>
              <a:spLocks noEditPoints="1"/>
            </p:cNvSpPr>
            <p:nvPr/>
          </p:nvSpPr>
          <p:spPr bwMode="auto">
            <a:xfrm>
              <a:off x="3333" y="1722"/>
              <a:ext cx="1014" cy="874"/>
            </a:xfrm>
            <a:custGeom>
              <a:avLst/>
              <a:gdLst>
                <a:gd name="T0" fmla="*/ 213 w 426"/>
                <a:gd name="T1" fmla="*/ 366 h 367"/>
                <a:gd name="T2" fmla="*/ 36 w 426"/>
                <a:gd name="T3" fmla="*/ 367 h 367"/>
                <a:gd name="T4" fmla="*/ 6 w 426"/>
                <a:gd name="T5" fmla="*/ 351 h 367"/>
                <a:gd name="T6" fmla="*/ 9 w 426"/>
                <a:gd name="T7" fmla="*/ 318 h 367"/>
                <a:gd name="T8" fmla="*/ 183 w 426"/>
                <a:gd name="T9" fmla="*/ 20 h 367"/>
                <a:gd name="T10" fmla="*/ 214 w 426"/>
                <a:gd name="T11" fmla="*/ 0 h 367"/>
                <a:gd name="T12" fmla="*/ 243 w 426"/>
                <a:gd name="T13" fmla="*/ 20 h 367"/>
                <a:gd name="T14" fmla="*/ 417 w 426"/>
                <a:gd name="T15" fmla="*/ 318 h 367"/>
                <a:gd name="T16" fmla="*/ 420 w 426"/>
                <a:gd name="T17" fmla="*/ 351 h 367"/>
                <a:gd name="T18" fmla="*/ 390 w 426"/>
                <a:gd name="T19" fmla="*/ 367 h 367"/>
                <a:gd name="T20" fmla="*/ 213 w 426"/>
                <a:gd name="T21" fmla="*/ 366 h 367"/>
                <a:gd name="T22" fmla="*/ 213 w 426"/>
                <a:gd name="T23" fmla="*/ 336 h 367"/>
                <a:gd name="T24" fmla="*/ 375 w 426"/>
                <a:gd name="T25" fmla="*/ 336 h 367"/>
                <a:gd name="T26" fmla="*/ 384 w 426"/>
                <a:gd name="T27" fmla="*/ 323 h 367"/>
                <a:gd name="T28" fmla="*/ 221 w 426"/>
                <a:gd name="T29" fmla="*/ 46 h 367"/>
                <a:gd name="T30" fmla="*/ 205 w 426"/>
                <a:gd name="T31" fmla="*/ 45 h 367"/>
                <a:gd name="T32" fmla="*/ 44 w 426"/>
                <a:gd name="T33" fmla="*/ 321 h 367"/>
                <a:gd name="T34" fmla="*/ 54 w 426"/>
                <a:gd name="T35" fmla="*/ 336 h 367"/>
                <a:gd name="T36" fmla="*/ 213 w 426"/>
                <a:gd name="T37" fmla="*/ 336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26" h="367">
                  <a:moveTo>
                    <a:pt x="213" y="366"/>
                  </a:moveTo>
                  <a:cubicBezTo>
                    <a:pt x="154" y="366"/>
                    <a:pt x="95" y="366"/>
                    <a:pt x="36" y="367"/>
                  </a:cubicBezTo>
                  <a:cubicBezTo>
                    <a:pt x="23" y="367"/>
                    <a:pt x="12" y="363"/>
                    <a:pt x="6" y="351"/>
                  </a:cubicBezTo>
                  <a:cubicBezTo>
                    <a:pt x="0" y="340"/>
                    <a:pt x="3" y="329"/>
                    <a:pt x="9" y="318"/>
                  </a:cubicBezTo>
                  <a:cubicBezTo>
                    <a:pt x="67" y="219"/>
                    <a:pt x="125" y="119"/>
                    <a:pt x="183" y="20"/>
                  </a:cubicBezTo>
                  <a:cubicBezTo>
                    <a:pt x="190" y="8"/>
                    <a:pt x="199" y="0"/>
                    <a:pt x="214" y="0"/>
                  </a:cubicBezTo>
                  <a:cubicBezTo>
                    <a:pt x="228" y="0"/>
                    <a:pt x="236" y="9"/>
                    <a:pt x="243" y="20"/>
                  </a:cubicBezTo>
                  <a:cubicBezTo>
                    <a:pt x="300" y="120"/>
                    <a:pt x="358" y="219"/>
                    <a:pt x="417" y="318"/>
                  </a:cubicBezTo>
                  <a:cubicBezTo>
                    <a:pt x="423" y="329"/>
                    <a:pt x="426" y="340"/>
                    <a:pt x="420" y="351"/>
                  </a:cubicBezTo>
                  <a:cubicBezTo>
                    <a:pt x="414" y="363"/>
                    <a:pt x="403" y="367"/>
                    <a:pt x="390" y="367"/>
                  </a:cubicBezTo>
                  <a:cubicBezTo>
                    <a:pt x="331" y="366"/>
                    <a:pt x="272" y="366"/>
                    <a:pt x="213" y="366"/>
                  </a:cubicBezTo>
                  <a:close/>
                  <a:moveTo>
                    <a:pt x="213" y="336"/>
                  </a:moveTo>
                  <a:cubicBezTo>
                    <a:pt x="267" y="336"/>
                    <a:pt x="321" y="336"/>
                    <a:pt x="375" y="336"/>
                  </a:cubicBezTo>
                  <a:cubicBezTo>
                    <a:pt x="383" y="336"/>
                    <a:pt x="392" y="336"/>
                    <a:pt x="384" y="323"/>
                  </a:cubicBezTo>
                  <a:cubicBezTo>
                    <a:pt x="330" y="231"/>
                    <a:pt x="275" y="138"/>
                    <a:pt x="221" y="46"/>
                  </a:cubicBezTo>
                  <a:cubicBezTo>
                    <a:pt x="215" y="35"/>
                    <a:pt x="212" y="33"/>
                    <a:pt x="205" y="45"/>
                  </a:cubicBezTo>
                  <a:cubicBezTo>
                    <a:pt x="151" y="137"/>
                    <a:pt x="97" y="229"/>
                    <a:pt x="44" y="321"/>
                  </a:cubicBezTo>
                  <a:cubicBezTo>
                    <a:pt x="35" y="335"/>
                    <a:pt x="36" y="336"/>
                    <a:pt x="54" y="336"/>
                  </a:cubicBezTo>
                  <a:cubicBezTo>
                    <a:pt x="107" y="336"/>
                    <a:pt x="160" y="336"/>
                    <a:pt x="213" y="3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36" name="Freeform 86"/>
            <p:cNvSpPr>
              <a:spLocks/>
            </p:cNvSpPr>
            <p:nvPr/>
          </p:nvSpPr>
          <p:spPr bwMode="auto">
            <a:xfrm>
              <a:off x="3797" y="1943"/>
              <a:ext cx="88" cy="393"/>
            </a:xfrm>
            <a:custGeom>
              <a:avLst/>
              <a:gdLst>
                <a:gd name="T0" fmla="*/ 37 w 37"/>
                <a:gd name="T1" fmla="*/ 41 h 165"/>
                <a:gd name="T2" fmla="*/ 27 w 37"/>
                <a:gd name="T3" fmla="*/ 152 h 165"/>
                <a:gd name="T4" fmla="*/ 18 w 37"/>
                <a:gd name="T5" fmla="*/ 165 h 165"/>
                <a:gd name="T6" fmla="*/ 9 w 37"/>
                <a:gd name="T7" fmla="*/ 153 h 165"/>
                <a:gd name="T8" fmla="*/ 0 w 37"/>
                <a:gd name="T9" fmla="*/ 22 h 165"/>
                <a:gd name="T10" fmla="*/ 1 w 37"/>
                <a:gd name="T11" fmla="*/ 13 h 165"/>
                <a:gd name="T12" fmla="*/ 18 w 37"/>
                <a:gd name="T13" fmla="*/ 0 h 165"/>
                <a:gd name="T14" fmla="*/ 35 w 37"/>
                <a:gd name="T15" fmla="*/ 14 h 165"/>
                <a:gd name="T16" fmla="*/ 35 w 37"/>
                <a:gd name="T17" fmla="*/ 41 h 165"/>
                <a:gd name="T18" fmla="*/ 37 w 37"/>
                <a:gd name="T19" fmla="*/ 41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165">
                  <a:moveTo>
                    <a:pt x="37" y="41"/>
                  </a:moveTo>
                  <a:cubicBezTo>
                    <a:pt x="34" y="78"/>
                    <a:pt x="30" y="115"/>
                    <a:pt x="27" y="152"/>
                  </a:cubicBezTo>
                  <a:cubicBezTo>
                    <a:pt x="27" y="158"/>
                    <a:pt x="26" y="165"/>
                    <a:pt x="18" y="165"/>
                  </a:cubicBezTo>
                  <a:cubicBezTo>
                    <a:pt x="10" y="165"/>
                    <a:pt x="9" y="159"/>
                    <a:pt x="9" y="153"/>
                  </a:cubicBezTo>
                  <a:cubicBezTo>
                    <a:pt x="5" y="110"/>
                    <a:pt x="0" y="66"/>
                    <a:pt x="0" y="22"/>
                  </a:cubicBezTo>
                  <a:cubicBezTo>
                    <a:pt x="0" y="19"/>
                    <a:pt x="0" y="16"/>
                    <a:pt x="1" y="13"/>
                  </a:cubicBezTo>
                  <a:cubicBezTo>
                    <a:pt x="3" y="4"/>
                    <a:pt x="9" y="0"/>
                    <a:pt x="18" y="0"/>
                  </a:cubicBezTo>
                  <a:cubicBezTo>
                    <a:pt x="27" y="0"/>
                    <a:pt x="34" y="5"/>
                    <a:pt x="35" y="14"/>
                  </a:cubicBezTo>
                  <a:cubicBezTo>
                    <a:pt x="36" y="23"/>
                    <a:pt x="35" y="32"/>
                    <a:pt x="35" y="41"/>
                  </a:cubicBezTo>
                  <a:cubicBezTo>
                    <a:pt x="36" y="41"/>
                    <a:pt x="36" y="41"/>
                    <a:pt x="37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37" name="Freeform 87"/>
            <p:cNvSpPr>
              <a:spLocks/>
            </p:cNvSpPr>
            <p:nvPr/>
          </p:nvSpPr>
          <p:spPr bwMode="auto">
            <a:xfrm>
              <a:off x="3790" y="2379"/>
              <a:ext cx="95" cy="93"/>
            </a:xfrm>
            <a:custGeom>
              <a:avLst/>
              <a:gdLst>
                <a:gd name="T0" fmla="*/ 21 w 40"/>
                <a:gd name="T1" fmla="*/ 39 h 39"/>
                <a:gd name="T2" fmla="*/ 1 w 40"/>
                <a:gd name="T3" fmla="*/ 21 h 39"/>
                <a:gd name="T4" fmla="*/ 21 w 40"/>
                <a:gd name="T5" fmla="*/ 1 h 39"/>
                <a:gd name="T6" fmla="*/ 40 w 40"/>
                <a:gd name="T7" fmla="*/ 20 h 39"/>
                <a:gd name="T8" fmla="*/ 21 w 40"/>
                <a:gd name="T9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9">
                  <a:moveTo>
                    <a:pt x="21" y="39"/>
                  </a:moveTo>
                  <a:cubicBezTo>
                    <a:pt x="10" y="38"/>
                    <a:pt x="3" y="32"/>
                    <a:pt x="1" y="21"/>
                  </a:cubicBezTo>
                  <a:cubicBezTo>
                    <a:pt x="0" y="11"/>
                    <a:pt x="11" y="0"/>
                    <a:pt x="21" y="1"/>
                  </a:cubicBezTo>
                  <a:cubicBezTo>
                    <a:pt x="32" y="2"/>
                    <a:pt x="40" y="9"/>
                    <a:pt x="40" y="20"/>
                  </a:cubicBezTo>
                  <a:cubicBezTo>
                    <a:pt x="40" y="31"/>
                    <a:pt x="33" y="38"/>
                    <a:pt x="21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538" name="Group 55"/>
          <p:cNvGrpSpPr>
            <a:grpSpLocks noChangeAspect="1"/>
          </p:cNvGrpSpPr>
          <p:nvPr/>
        </p:nvGrpSpPr>
        <p:grpSpPr bwMode="auto">
          <a:xfrm>
            <a:off x="2982384" y="4305118"/>
            <a:ext cx="295909" cy="295666"/>
            <a:chOff x="2017" y="342"/>
            <a:chExt cx="3641" cy="3638"/>
          </a:xfrm>
          <a:solidFill>
            <a:schemeClr val="bg1"/>
          </a:solidFill>
        </p:grpSpPr>
        <p:sp>
          <p:nvSpPr>
            <p:cNvPr id="539" name="Freeform 56"/>
            <p:cNvSpPr>
              <a:spLocks noEditPoints="1"/>
            </p:cNvSpPr>
            <p:nvPr/>
          </p:nvSpPr>
          <p:spPr bwMode="auto">
            <a:xfrm>
              <a:off x="2017" y="342"/>
              <a:ext cx="3641" cy="3638"/>
            </a:xfrm>
            <a:custGeom>
              <a:avLst/>
              <a:gdLst>
                <a:gd name="T0" fmla="*/ 701 w 1538"/>
                <a:gd name="T1" fmla="*/ 0 h 1537"/>
                <a:gd name="T2" fmla="*/ 839 w 1538"/>
                <a:gd name="T3" fmla="*/ 0 h 1537"/>
                <a:gd name="T4" fmla="*/ 849 w 1538"/>
                <a:gd name="T5" fmla="*/ 4 h 1537"/>
                <a:gd name="T6" fmla="*/ 905 w 1538"/>
                <a:gd name="T7" fmla="*/ 11 h 1537"/>
                <a:gd name="T8" fmla="*/ 1083 w 1538"/>
                <a:gd name="T9" fmla="*/ 66 h 1537"/>
                <a:gd name="T10" fmla="*/ 1279 w 1538"/>
                <a:gd name="T11" fmla="*/ 192 h 1537"/>
                <a:gd name="T12" fmla="*/ 1451 w 1538"/>
                <a:gd name="T13" fmla="*/ 411 h 1537"/>
                <a:gd name="T14" fmla="*/ 1532 w 1538"/>
                <a:gd name="T15" fmla="*/ 666 h 1537"/>
                <a:gd name="T16" fmla="*/ 1538 w 1538"/>
                <a:gd name="T17" fmla="*/ 699 h 1537"/>
                <a:gd name="T18" fmla="*/ 1538 w 1538"/>
                <a:gd name="T19" fmla="*/ 837 h 1537"/>
                <a:gd name="T20" fmla="*/ 1534 w 1538"/>
                <a:gd name="T21" fmla="*/ 845 h 1537"/>
                <a:gd name="T22" fmla="*/ 1527 w 1538"/>
                <a:gd name="T23" fmla="*/ 901 h 1537"/>
                <a:gd name="T24" fmla="*/ 1440 w 1538"/>
                <a:gd name="T25" fmla="*/ 1144 h 1537"/>
                <a:gd name="T26" fmla="*/ 1258 w 1538"/>
                <a:gd name="T27" fmla="*/ 1362 h 1537"/>
                <a:gd name="T28" fmla="*/ 1055 w 1538"/>
                <a:gd name="T29" fmla="*/ 1482 h 1537"/>
                <a:gd name="T30" fmla="*/ 828 w 1538"/>
                <a:gd name="T31" fmla="*/ 1534 h 1537"/>
                <a:gd name="T32" fmla="*/ 695 w 1538"/>
                <a:gd name="T33" fmla="*/ 1533 h 1537"/>
                <a:gd name="T34" fmla="*/ 579 w 1538"/>
                <a:gd name="T35" fmla="*/ 1512 h 1537"/>
                <a:gd name="T36" fmla="*/ 372 w 1538"/>
                <a:gd name="T37" fmla="*/ 1426 h 1537"/>
                <a:gd name="T38" fmla="*/ 191 w 1538"/>
                <a:gd name="T39" fmla="*/ 1274 h 1537"/>
                <a:gd name="T40" fmla="*/ 64 w 1538"/>
                <a:gd name="T41" fmla="*/ 1073 h 1537"/>
                <a:gd name="T42" fmla="*/ 4 w 1538"/>
                <a:gd name="T43" fmla="*/ 827 h 1537"/>
                <a:gd name="T44" fmla="*/ 11 w 1538"/>
                <a:gd name="T45" fmla="*/ 646 h 1537"/>
                <a:gd name="T46" fmla="*/ 75 w 1538"/>
                <a:gd name="T47" fmla="*/ 439 h 1537"/>
                <a:gd name="T48" fmla="*/ 290 w 1538"/>
                <a:gd name="T49" fmla="*/ 168 h 1537"/>
                <a:gd name="T50" fmla="*/ 517 w 1538"/>
                <a:gd name="T51" fmla="*/ 42 h 1537"/>
                <a:gd name="T52" fmla="*/ 669 w 1538"/>
                <a:gd name="T53" fmla="*/ 6 h 1537"/>
                <a:gd name="T54" fmla="*/ 701 w 1538"/>
                <a:gd name="T55" fmla="*/ 0 h 1537"/>
                <a:gd name="T56" fmla="*/ 425 w 1538"/>
                <a:gd name="T57" fmla="*/ 775 h 1537"/>
                <a:gd name="T58" fmla="*/ 424 w 1538"/>
                <a:gd name="T59" fmla="*/ 1232 h 1537"/>
                <a:gd name="T60" fmla="*/ 441 w 1538"/>
                <a:gd name="T61" fmla="*/ 1249 h 1537"/>
                <a:gd name="T62" fmla="*/ 1097 w 1538"/>
                <a:gd name="T63" fmla="*/ 1249 h 1537"/>
                <a:gd name="T64" fmla="*/ 1113 w 1538"/>
                <a:gd name="T65" fmla="*/ 1233 h 1537"/>
                <a:gd name="T66" fmla="*/ 1113 w 1538"/>
                <a:gd name="T67" fmla="*/ 453 h 1537"/>
                <a:gd name="T68" fmla="*/ 1107 w 1538"/>
                <a:gd name="T69" fmla="*/ 432 h 1537"/>
                <a:gd name="T70" fmla="*/ 1035 w 1538"/>
                <a:gd name="T71" fmla="*/ 315 h 1537"/>
                <a:gd name="T72" fmla="*/ 1013 w 1538"/>
                <a:gd name="T73" fmla="*/ 302 h 1537"/>
                <a:gd name="T74" fmla="*/ 442 w 1538"/>
                <a:gd name="T75" fmla="*/ 302 h 1537"/>
                <a:gd name="T76" fmla="*/ 424 w 1538"/>
                <a:gd name="T77" fmla="*/ 319 h 1537"/>
                <a:gd name="T78" fmla="*/ 425 w 1538"/>
                <a:gd name="T79" fmla="*/ 775 h 1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38" h="1537">
                  <a:moveTo>
                    <a:pt x="701" y="0"/>
                  </a:moveTo>
                  <a:cubicBezTo>
                    <a:pt x="747" y="0"/>
                    <a:pt x="793" y="0"/>
                    <a:pt x="839" y="0"/>
                  </a:cubicBezTo>
                  <a:cubicBezTo>
                    <a:pt x="840" y="6"/>
                    <a:pt x="845" y="3"/>
                    <a:pt x="849" y="4"/>
                  </a:cubicBezTo>
                  <a:cubicBezTo>
                    <a:pt x="868" y="6"/>
                    <a:pt x="886" y="7"/>
                    <a:pt x="905" y="11"/>
                  </a:cubicBezTo>
                  <a:cubicBezTo>
                    <a:pt x="966" y="23"/>
                    <a:pt x="1025" y="41"/>
                    <a:pt x="1083" y="66"/>
                  </a:cubicBezTo>
                  <a:cubicBezTo>
                    <a:pt x="1155" y="97"/>
                    <a:pt x="1221" y="140"/>
                    <a:pt x="1279" y="192"/>
                  </a:cubicBezTo>
                  <a:cubicBezTo>
                    <a:pt x="1350" y="255"/>
                    <a:pt x="1407" y="327"/>
                    <a:pt x="1451" y="411"/>
                  </a:cubicBezTo>
                  <a:cubicBezTo>
                    <a:pt x="1492" y="492"/>
                    <a:pt x="1520" y="576"/>
                    <a:pt x="1532" y="666"/>
                  </a:cubicBezTo>
                  <a:cubicBezTo>
                    <a:pt x="1533" y="677"/>
                    <a:pt x="1529" y="689"/>
                    <a:pt x="1538" y="699"/>
                  </a:cubicBezTo>
                  <a:cubicBezTo>
                    <a:pt x="1538" y="745"/>
                    <a:pt x="1538" y="791"/>
                    <a:pt x="1538" y="837"/>
                  </a:cubicBezTo>
                  <a:cubicBezTo>
                    <a:pt x="1533" y="838"/>
                    <a:pt x="1534" y="842"/>
                    <a:pt x="1534" y="845"/>
                  </a:cubicBezTo>
                  <a:cubicBezTo>
                    <a:pt x="1534" y="864"/>
                    <a:pt x="1531" y="883"/>
                    <a:pt x="1527" y="901"/>
                  </a:cubicBezTo>
                  <a:cubicBezTo>
                    <a:pt x="1511" y="987"/>
                    <a:pt x="1483" y="1068"/>
                    <a:pt x="1440" y="1144"/>
                  </a:cubicBezTo>
                  <a:cubicBezTo>
                    <a:pt x="1393" y="1229"/>
                    <a:pt x="1332" y="1301"/>
                    <a:pt x="1258" y="1362"/>
                  </a:cubicBezTo>
                  <a:cubicBezTo>
                    <a:pt x="1197" y="1413"/>
                    <a:pt x="1129" y="1453"/>
                    <a:pt x="1055" y="1482"/>
                  </a:cubicBezTo>
                  <a:cubicBezTo>
                    <a:pt x="982" y="1511"/>
                    <a:pt x="906" y="1530"/>
                    <a:pt x="828" y="1534"/>
                  </a:cubicBezTo>
                  <a:cubicBezTo>
                    <a:pt x="784" y="1537"/>
                    <a:pt x="740" y="1537"/>
                    <a:pt x="695" y="1533"/>
                  </a:cubicBezTo>
                  <a:cubicBezTo>
                    <a:pt x="656" y="1529"/>
                    <a:pt x="617" y="1522"/>
                    <a:pt x="579" y="1512"/>
                  </a:cubicBezTo>
                  <a:cubicBezTo>
                    <a:pt x="505" y="1494"/>
                    <a:pt x="437" y="1464"/>
                    <a:pt x="372" y="1426"/>
                  </a:cubicBezTo>
                  <a:cubicBezTo>
                    <a:pt x="303" y="1384"/>
                    <a:pt x="243" y="1333"/>
                    <a:pt x="191" y="1274"/>
                  </a:cubicBezTo>
                  <a:cubicBezTo>
                    <a:pt x="138" y="1214"/>
                    <a:pt x="96" y="1147"/>
                    <a:pt x="64" y="1073"/>
                  </a:cubicBezTo>
                  <a:cubicBezTo>
                    <a:pt x="31" y="994"/>
                    <a:pt x="9" y="913"/>
                    <a:pt x="4" y="827"/>
                  </a:cubicBezTo>
                  <a:cubicBezTo>
                    <a:pt x="0" y="767"/>
                    <a:pt x="1" y="706"/>
                    <a:pt x="11" y="646"/>
                  </a:cubicBezTo>
                  <a:cubicBezTo>
                    <a:pt x="23" y="574"/>
                    <a:pt x="44" y="504"/>
                    <a:pt x="75" y="439"/>
                  </a:cubicBezTo>
                  <a:cubicBezTo>
                    <a:pt x="126" y="332"/>
                    <a:pt x="198" y="241"/>
                    <a:pt x="290" y="168"/>
                  </a:cubicBezTo>
                  <a:cubicBezTo>
                    <a:pt x="359" y="113"/>
                    <a:pt x="434" y="71"/>
                    <a:pt x="517" y="42"/>
                  </a:cubicBezTo>
                  <a:cubicBezTo>
                    <a:pt x="566" y="25"/>
                    <a:pt x="617" y="13"/>
                    <a:pt x="669" y="6"/>
                  </a:cubicBezTo>
                  <a:cubicBezTo>
                    <a:pt x="679" y="5"/>
                    <a:pt x="692" y="9"/>
                    <a:pt x="701" y="0"/>
                  </a:cubicBezTo>
                  <a:close/>
                  <a:moveTo>
                    <a:pt x="425" y="775"/>
                  </a:moveTo>
                  <a:cubicBezTo>
                    <a:pt x="425" y="927"/>
                    <a:pt x="425" y="1080"/>
                    <a:pt x="424" y="1232"/>
                  </a:cubicBezTo>
                  <a:cubicBezTo>
                    <a:pt x="424" y="1245"/>
                    <a:pt x="427" y="1249"/>
                    <a:pt x="441" y="1249"/>
                  </a:cubicBezTo>
                  <a:cubicBezTo>
                    <a:pt x="659" y="1248"/>
                    <a:pt x="878" y="1248"/>
                    <a:pt x="1097" y="1249"/>
                  </a:cubicBezTo>
                  <a:cubicBezTo>
                    <a:pt x="1110" y="1249"/>
                    <a:pt x="1113" y="1246"/>
                    <a:pt x="1113" y="1233"/>
                  </a:cubicBezTo>
                  <a:cubicBezTo>
                    <a:pt x="1113" y="973"/>
                    <a:pt x="1113" y="713"/>
                    <a:pt x="1113" y="453"/>
                  </a:cubicBezTo>
                  <a:cubicBezTo>
                    <a:pt x="1113" y="445"/>
                    <a:pt x="1111" y="439"/>
                    <a:pt x="1107" y="432"/>
                  </a:cubicBezTo>
                  <a:cubicBezTo>
                    <a:pt x="1083" y="393"/>
                    <a:pt x="1059" y="354"/>
                    <a:pt x="1035" y="315"/>
                  </a:cubicBezTo>
                  <a:cubicBezTo>
                    <a:pt x="1030" y="305"/>
                    <a:pt x="1024" y="302"/>
                    <a:pt x="1013" y="302"/>
                  </a:cubicBezTo>
                  <a:cubicBezTo>
                    <a:pt x="822" y="302"/>
                    <a:pt x="632" y="302"/>
                    <a:pt x="442" y="302"/>
                  </a:cubicBezTo>
                  <a:cubicBezTo>
                    <a:pt x="428" y="302"/>
                    <a:pt x="424" y="305"/>
                    <a:pt x="424" y="319"/>
                  </a:cubicBezTo>
                  <a:cubicBezTo>
                    <a:pt x="425" y="471"/>
                    <a:pt x="424" y="623"/>
                    <a:pt x="425" y="7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0" name="Freeform 57"/>
            <p:cNvSpPr>
              <a:spLocks noEditPoints="1"/>
            </p:cNvSpPr>
            <p:nvPr/>
          </p:nvSpPr>
          <p:spPr bwMode="auto">
            <a:xfrm>
              <a:off x="3187" y="1642"/>
              <a:ext cx="435" cy="291"/>
            </a:xfrm>
            <a:custGeom>
              <a:avLst/>
              <a:gdLst>
                <a:gd name="T0" fmla="*/ 119 w 184"/>
                <a:gd name="T1" fmla="*/ 35 h 123"/>
                <a:gd name="T2" fmla="*/ 163 w 184"/>
                <a:gd name="T3" fmla="*/ 5 h 123"/>
                <a:gd name="T4" fmla="*/ 176 w 184"/>
                <a:gd name="T5" fmla="*/ 8 h 123"/>
                <a:gd name="T6" fmla="*/ 175 w 184"/>
                <a:gd name="T7" fmla="*/ 23 h 123"/>
                <a:gd name="T8" fmla="*/ 128 w 184"/>
                <a:gd name="T9" fmla="*/ 54 h 123"/>
                <a:gd name="T10" fmla="*/ 118 w 184"/>
                <a:gd name="T11" fmla="*/ 73 h 123"/>
                <a:gd name="T12" fmla="*/ 119 w 184"/>
                <a:gd name="T13" fmla="*/ 112 h 123"/>
                <a:gd name="T14" fmla="*/ 107 w 184"/>
                <a:gd name="T15" fmla="*/ 123 h 123"/>
                <a:gd name="T16" fmla="*/ 11 w 184"/>
                <a:gd name="T17" fmla="*/ 123 h 123"/>
                <a:gd name="T18" fmla="*/ 0 w 184"/>
                <a:gd name="T19" fmla="*/ 112 h 123"/>
                <a:gd name="T20" fmla="*/ 0 w 184"/>
                <a:gd name="T21" fmla="*/ 16 h 123"/>
                <a:gd name="T22" fmla="*/ 12 w 184"/>
                <a:gd name="T23" fmla="*/ 3 h 123"/>
                <a:gd name="T24" fmla="*/ 106 w 184"/>
                <a:gd name="T25" fmla="*/ 3 h 123"/>
                <a:gd name="T26" fmla="*/ 119 w 184"/>
                <a:gd name="T27" fmla="*/ 16 h 123"/>
                <a:gd name="T28" fmla="*/ 119 w 184"/>
                <a:gd name="T29" fmla="*/ 35 h 123"/>
                <a:gd name="T30" fmla="*/ 107 w 184"/>
                <a:gd name="T31" fmla="*/ 69 h 123"/>
                <a:gd name="T32" fmla="*/ 85 w 184"/>
                <a:gd name="T33" fmla="*/ 84 h 123"/>
                <a:gd name="T34" fmla="*/ 34 w 184"/>
                <a:gd name="T35" fmla="*/ 80 h 123"/>
                <a:gd name="T36" fmla="*/ 31 w 184"/>
                <a:gd name="T37" fmla="*/ 64 h 123"/>
                <a:gd name="T38" fmla="*/ 49 w 184"/>
                <a:gd name="T39" fmla="*/ 64 h 123"/>
                <a:gd name="T40" fmla="*/ 66 w 184"/>
                <a:gd name="T41" fmla="*/ 71 h 123"/>
                <a:gd name="T42" fmla="*/ 103 w 184"/>
                <a:gd name="T43" fmla="*/ 45 h 123"/>
                <a:gd name="T44" fmla="*/ 108 w 184"/>
                <a:gd name="T45" fmla="*/ 19 h 123"/>
                <a:gd name="T46" fmla="*/ 93 w 184"/>
                <a:gd name="T47" fmla="*/ 15 h 123"/>
                <a:gd name="T48" fmla="*/ 22 w 184"/>
                <a:gd name="T49" fmla="*/ 14 h 123"/>
                <a:gd name="T50" fmla="*/ 9 w 184"/>
                <a:gd name="T51" fmla="*/ 27 h 123"/>
                <a:gd name="T52" fmla="*/ 9 w 184"/>
                <a:gd name="T53" fmla="*/ 101 h 123"/>
                <a:gd name="T54" fmla="*/ 21 w 184"/>
                <a:gd name="T55" fmla="*/ 113 h 123"/>
                <a:gd name="T56" fmla="*/ 71 w 184"/>
                <a:gd name="T57" fmla="*/ 113 h 123"/>
                <a:gd name="T58" fmla="*/ 107 w 184"/>
                <a:gd name="T59" fmla="*/ 69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4" h="123">
                  <a:moveTo>
                    <a:pt x="119" y="35"/>
                  </a:moveTo>
                  <a:cubicBezTo>
                    <a:pt x="135" y="24"/>
                    <a:pt x="150" y="15"/>
                    <a:pt x="163" y="5"/>
                  </a:cubicBezTo>
                  <a:cubicBezTo>
                    <a:pt x="170" y="0"/>
                    <a:pt x="172" y="3"/>
                    <a:pt x="176" y="8"/>
                  </a:cubicBezTo>
                  <a:cubicBezTo>
                    <a:pt x="179" y="13"/>
                    <a:pt x="184" y="18"/>
                    <a:pt x="175" y="23"/>
                  </a:cubicBezTo>
                  <a:cubicBezTo>
                    <a:pt x="159" y="33"/>
                    <a:pt x="144" y="44"/>
                    <a:pt x="128" y="54"/>
                  </a:cubicBezTo>
                  <a:cubicBezTo>
                    <a:pt x="121" y="59"/>
                    <a:pt x="118" y="64"/>
                    <a:pt x="118" y="73"/>
                  </a:cubicBezTo>
                  <a:cubicBezTo>
                    <a:pt x="119" y="86"/>
                    <a:pt x="118" y="99"/>
                    <a:pt x="119" y="112"/>
                  </a:cubicBezTo>
                  <a:cubicBezTo>
                    <a:pt x="119" y="120"/>
                    <a:pt x="116" y="123"/>
                    <a:pt x="107" y="123"/>
                  </a:cubicBezTo>
                  <a:cubicBezTo>
                    <a:pt x="75" y="123"/>
                    <a:pt x="43" y="123"/>
                    <a:pt x="11" y="123"/>
                  </a:cubicBezTo>
                  <a:cubicBezTo>
                    <a:pt x="3" y="123"/>
                    <a:pt x="0" y="120"/>
                    <a:pt x="0" y="112"/>
                  </a:cubicBezTo>
                  <a:cubicBezTo>
                    <a:pt x="0" y="80"/>
                    <a:pt x="0" y="48"/>
                    <a:pt x="0" y="16"/>
                  </a:cubicBezTo>
                  <a:cubicBezTo>
                    <a:pt x="0" y="7"/>
                    <a:pt x="3" y="3"/>
                    <a:pt x="12" y="3"/>
                  </a:cubicBezTo>
                  <a:cubicBezTo>
                    <a:pt x="43" y="4"/>
                    <a:pt x="75" y="4"/>
                    <a:pt x="106" y="3"/>
                  </a:cubicBezTo>
                  <a:cubicBezTo>
                    <a:pt x="115" y="3"/>
                    <a:pt x="119" y="7"/>
                    <a:pt x="119" y="16"/>
                  </a:cubicBezTo>
                  <a:cubicBezTo>
                    <a:pt x="118" y="21"/>
                    <a:pt x="119" y="26"/>
                    <a:pt x="119" y="35"/>
                  </a:cubicBezTo>
                  <a:close/>
                  <a:moveTo>
                    <a:pt x="107" y="69"/>
                  </a:moveTo>
                  <a:cubicBezTo>
                    <a:pt x="98" y="75"/>
                    <a:pt x="91" y="79"/>
                    <a:pt x="85" y="84"/>
                  </a:cubicBezTo>
                  <a:cubicBezTo>
                    <a:pt x="58" y="102"/>
                    <a:pt x="58" y="102"/>
                    <a:pt x="34" y="80"/>
                  </a:cubicBezTo>
                  <a:cubicBezTo>
                    <a:pt x="29" y="75"/>
                    <a:pt x="23" y="72"/>
                    <a:pt x="31" y="64"/>
                  </a:cubicBezTo>
                  <a:cubicBezTo>
                    <a:pt x="38" y="55"/>
                    <a:pt x="43" y="59"/>
                    <a:pt x="49" y="64"/>
                  </a:cubicBezTo>
                  <a:cubicBezTo>
                    <a:pt x="53" y="68"/>
                    <a:pt x="57" y="77"/>
                    <a:pt x="66" y="71"/>
                  </a:cubicBezTo>
                  <a:cubicBezTo>
                    <a:pt x="78" y="62"/>
                    <a:pt x="91" y="54"/>
                    <a:pt x="103" y="45"/>
                  </a:cubicBezTo>
                  <a:cubicBezTo>
                    <a:pt x="113" y="38"/>
                    <a:pt x="109" y="28"/>
                    <a:pt x="108" y="19"/>
                  </a:cubicBezTo>
                  <a:cubicBezTo>
                    <a:pt x="107" y="11"/>
                    <a:pt x="98" y="15"/>
                    <a:pt x="93" y="15"/>
                  </a:cubicBezTo>
                  <a:cubicBezTo>
                    <a:pt x="69" y="14"/>
                    <a:pt x="46" y="15"/>
                    <a:pt x="22" y="14"/>
                  </a:cubicBezTo>
                  <a:cubicBezTo>
                    <a:pt x="12" y="14"/>
                    <a:pt x="9" y="18"/>
                    <a:pt x="9" y="27"/>
                  </a:cubicBezTo>
                  <a:cubicBezTo>
                    <a:pt x="10" y="52"/>
                    <a:pt x="10" y="76"/>
                    <a:pt x="9" y="101"/>
                  </a:cubicBezTo>
                  <a:cubicBezTo>
                    <a:pt x="9" y="109"/>
                    <a:pt x="12" y="113"/>
                    <a:pt x="21" y="113"/>
                  </a:cubicBezTo>
                  <a:cubicBezTo>
                    <a:pt x="38" y="113"/>
                    <a:pt x="54" y="113"/>
                    <a:pt x="71" y="113"/>
                  </a:cubicBezTo>
                  <a:cubicBezTo>
                    <a:pt x="112" y="113"/>
                    <a:pt x="112" y="113"/>
                    <a:pt x="107" y="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1" name="Freeform 58"/>
            <p:cNvSpPr>
              <a:spLocks noEditPoints="1"/>
            </p:cNvSpPr>
            <p:nvPr/>
          </p:nvSpPr>
          <p:spPr bwMode="auto">
            <a:xfrm>
              <a:off x="3187" y="1261"/>
              <a:ext cx="430" cy="288"/>
            </a:xfrm>
            <a:custGeom>
              <a:avLst/>
              <a:gdLst>
                <a:gd name="T0" fmla="*/ 120 w 182"/>
                <a:gd name="T1" fmla="*/ 33 h 122"/>
                <a:gd name="T2" fmla="*/ 162 w 182"/>
                <a:gd name="T3" fmla="*/ 5 h 122"/>
                <a:gd name="T4" fmla="*/ 176 w 182"/>
                <a:gd name="T5" fmla="*/ 7 h 122"/>
                <a:gd name="T6" fmla="*/ 174 w 182"/>
                <a:gd name="T7" fmla="*/ 23 h 122"/>
                <a:gd name="T8" fmla="*/ 129 w 182"/>
                <a:gd name="T9" fmla="*/ 53 h 122"/>
                <a:gd name="T10" fmla="*/ 118 w 182"/>
                <a:gd name="T11" fmla="*/ 72 h 122"/>
                <a:gd name="T12" fmla="*/ 119 w 182"/>
                <a:gd name="T13" fmla="*/ 110 h 122"/>
                <a:gd name="T14" fmla="*/ 106 w 182"/>
                <a:gd name="T15" fmla="*/ 122 h 122"/>
                <a:gd name="T16" fmla="*/ 12 w 182"/>
                <a:gd name="T17" fmla="*/ 122 h 122"/>
                <a:gd name="T18" fmla="*/ 0 w 182"/>
                <a:gd name="T19" fmla="*/ 110 h 122"/>
                <a:gd name="T20" fmla="*/ 0 w 182"/>
                <a:gd name="T21" fmla="*/ 16 h 122"/>
                <a:gd name="T22" fmla="*/ 13 w 182"/>
                <a:gd name="T23" fmla="*/ 3 h 122"/>
                <a:gd name="T24" fmla="*/ 100 w 182"/>
                <a:gd name="T25" fmla="*/ 3 h 122"/>
                <a:gd name="T26" fmla="*/ 119 w 182"/>
                <a:gd name="T27" fmla="*/ 21 h 122"/>
                <a:gd name="T28" fmla="*/ 120 w 182"/>
                <a:gd name="T29" fmla="*/ 33 h 122"/>
                <a:gd name="T30" fmla="*/ 108 w 182"/>
                <a:gd name="T31" fmla="*/ 67 h 122"/>
                <a:gd name="T32" fmla="*/ 84 w 182"/>
                <a:gd name="T33" fmla="*/ 83 h 122"/>
                <a:gd name="T34" fmla="*/ 35 w 182"/>
                <a:gd name="T35" fmla="*/ 80 h 122"/>
                <a:gd name="T36" fmla="*/ 31 w 182"/>
                <a:gd name="T37" fmla="*/ 62 h 122"/>
                <a:gd name="T38" fmla="*/ 49 w 182"/>
                <a:gd name="T39" fmla="*/ 64 h 122"/>
                <a:gd name="T40" fmla="*/ 65 w 182"/>
                <a:gd name="T41" fmla="*/ 71 h 122"/>
                <a:gd name="T42" fmla="*/ 103 w 182"/>
                <a:gd name="T43" fmla="*/ 44 h 122"/>
                <a:gd name="T44" fmla="*/ 108 w 182"/>
                <a:gd name="T45" fmla="*/ 18 h 122"/>
                <a:gd name="T46" fmla="*/ 92 w 182"/>
                <a:gd name="T47" fmla="*/ 14 h 122"/>
                <a:gd name="T48" fmla="*/ 21 w 182"/>
                <a:gd name="T49" fmla="*/ 13 h 122"/>
                <a:gd name="T50" fmla="*/ 9 w 182"/>
                <a:gd name="T51" fmla="*/ 23 h 122"/>
                <a:gd name="T52" fmla="*/ 9 w 182"/>
                <a:gd name="T53" fmla="*/ 103 h 122"/>
                <a:gd name="T54" fmla="*/ 19 w 182"/>
                <a:gd name="T55" fmla="*/ 113 h 122"/>
                <a:gd name="T56" fmla="*/ 100 w 182"/>
                <a:gd name="T57" fmla="*/ 112 h 122"/>
                <a:gd name="T58" fmla="*/ 108 w 182"/>
                <a:gd name="T59" fmla="*/ 104 h 122"/>
                <a:gd name="T60" fmla="*/ 108 w 182"/>
                <a:gd name="T61" fmla="*/ 6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82" h="122">
                  <a:moveTo>
                    <a:pt x="120" y="33"/>
                  </a:moveTo>
                  <a:cubicBezTo>
                    <a:pt x="135" y="23"/>
                    <a:pt x="149" y="15"/>
                    <a:pt x="162" y="5"/>
                  </a:cubicBezTo>
                  <a:cubicBezTo>
                    <a:pt x="168" y="1"/>
                    <a:pt x="172" y="0"/>
                    <a:pt x="176" y="7"/>
                  </a:cubicBezTo>
                  <a:cubicBezTo>
                    <a:pt x="180" y="14"/>
                    <a:pt x="182" y="18"/>
                    <a:pt x="174" y="23"/>
                  </a:cubicBezTo>
                  <a:cubicBezTo>
                    <a:pt x="159" y="33"/>
                    <a:pt x="144" y="43"/>
                    <a:pt x="129" y="53"/>
                  </a:cubicBezTo>
                  <a:cubicBezTo>
                    <a:pt x="121" y="58"/>
                    <a:pt x="118" y="63"/>
                    <a:pt x="118" y="72"/>
                  </a:cubicBezTo>
                  <a:cubicBezTo>
                    <a:pt x="119" y="85"/>
                    <a:pt x="118" y="97"/>
                    <a:pt x="119" y="110"/>
                  </a:cubicBezTo>
                  <a:cubicBezTo>
                    <a:pt x="119" y="119"/>
                    <a:pt x="116" y="122"/>
                    <a:pt x="106" y="122"/>
                  </a:cubicBezTo>
                  <a:cubicBezTo>
                    <a:pt x="75" y="122"/>
                    <a:pt x="43" y="122"/>
                    <a:pt x="12" y="122"/>
                  </a:cubicBezTo>
                  <a:cubicBezTo>
                    <a:pt x="3" y="122"/>
                    <a:pt x="0" y="119"/>
                    <a:pt x="0" y="110"/>
                  </a:cubicBezTo>
                  <a:cubicBezTo>
                    <a:pt x="0" y="79"/>
                    <a:pt x="0" y="47"/>
                    <a:pt x="0" y="16"/>
                  </a:cubicBezTo>
                  <a:cubicBezTo>
                    <a:pt x="0" y="6"/>
                    <a:pt x="3" y="3"/>
                    <a:pt x="13" y="3"/>
                  </a:cubicBezTo>
                  <a:cubicBezTo>
                    <a:pt x="42" y="3"/>
                    <a:pt x="71" y="4"/>
                    <a:pt x="100" y="3"/>
                  </a:cubicBezTo>
                  <a:cubicBezTo>
                    <a:pt x="114" y="2"/>
                    <a:pt x="121" y="6"/>
                    <a:pt x="119" y="21"/>
                  </a:cubicBezTo>
                  <a:cubicBezTo>
                    <a:pt x="118" y="24"/>
                    <a:pt x="119" y="28"/>
                    <a:pt x="120" y="33"/>
                  </a:cubicBezTo>
                  <a:close/>
                  <a:moveTo>
                    <a:pt x="108" y="67"/>
                  </a:moveTo>
                  <a:cubicBezTo>
                    <a:pt x="98" y="74"/>
                    <a:pt x="91" y="79"/>
                    <a:pt x="84" y="83"/>
                  </a:cubicBezTo>
                  <a:cubicBezTo>
                    <a:pt x="58" y="101"/>
                    <a:pt x="58" y="101"/>
                    <a:pt x="35" y="80"/>
                  </a:cubicBezTo>
                  <a:cubicBezTo>
                    <a:pt x="29" y="75"/>
                    <a:pt x="23" y="72"/>
                    <a:pt x="31" y="62"/>
                  </a:cubicBezTo>
                  <a:cubicBezTo>
                    <a:pt x="40" y="53"/>
                    <a:pt x="43" y="60"/>
                    <a:pt x="49" y="64"/>
                  </a:cubicBezTo>
                  <a:cubicBezTo>
                    <a:pt x="54" y="68"/>
                    <a:pt x="57" y="76"/>
                    <a:pt x="65" y="71"/>
                  </a:cubicBezTo>
                  <a:cubicBezTo>
                    <a:pt x="78" y="62"/>
                    <a:pt x="91" y="54"/>
                    <a:pt x="103" y="44"/>
                  </a:cubicBezTo>
                  <a:cubicBezTo>
                    <a:pt x="113" y="37"/>
                    <a:pt x="109" y="27"/>
                    <a:pt x="108" y="18"/>
                  </a:cubicBezTo>
                  <a:cubicBezTo>
                    <a:pt x="107" y="10"/>
                    <a:pt x="98" y="14"/>
                    <a:pt x="92" y="14"/>
                  </a:cubicBezTo>
                  <a:cubicBezTo>
                    <a:pt x="68" y="13"/>
                    <a:pt x="44" y="14"/>
                    <a:pt x="21" y="13"/>
                  </a:cubicBezTo>
                  <a:cubicBezTo>
                    <a:pt x="13" y="13"/>
                    <a:pt x="9" y="15"/>
                    <a:pt x="9" y="23"/>
                  </a:cubicBezTo>
                  <a:cubicBezTo>
                    <a:pt x="10" y="50"/>
                    <a:pt x="10" y="76"/>
                    <a:pt x="9" y="103"/>
                  </a:cubicBezTo>
                  <a:cubicBezTo>
                    <a:pt x="9" y="109"/>
                    <a:pt x="12" y="113"/>
                    <a:pt x="19" y="113"/>
                  </a:cubicBezTo>
                  <a:cubicBezTo>
                    <a:pt x="46" y="112"/>
                    <a:pt x="73" y="112"/>
                    <a:pt x="100" y="112"/>
                  </a:cubicBezTo>
                  <a:cubicBezTo>
                    <a:pt x="106" y="112"/>
                    <a:pt x="108" y="110"/>
                    <a:pt x="108" y="104"/>
                  </a:cubicBezTo>
                  <a:cubicBezTo>
                    <a:pt x="108" y="93"/>
                    <a:pt x="108" y="82"/>
                    <a:pt x="108" y="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2" name="Freeform 59"/>
            <p:cNvSpPr>
              <a:spLocks/>
            </p:cNvSpPr>
            <p:nvPr/>
          </p:nvSpPr>
          <p:spPr bwMode="auto">
            <a:xfrm>
              <a:off x="3606" y="1871"/>
              <a:ext cx="861" cy="55"/>
            </a:xfrm>
            <a:custGeom>
              <a:avLst/>
              <a:gdLst>
                <a:gd name="T0" fmla="*/ 181 w 364"/>
                <a:gd name="T1" fmla="*/ 20 h 23"/>
                <a:gd name="T2" fmla="*/ 13 w 364"/>
                <a:gd name="T3" fmla="*/ 20 h 23"/>
                <a:gd name="T4" fmla="*/ 0 w 364"/>
                <a:gd name="T5" fmla="*/ 12 h 23"/>
                <a:gd name="T6" fmla="*/ 14 w 364"/>
                <a:gd name="T7" fmla="*/ 3 h 23"/>
                <a:gd name="T8" fmla="*/ 351 w 364"/>
                <a:gd name="T9" fmla="*/ 3 h 23"/>
                <a:gd name="T10" fmla="*/ 363 w 364"/>
                <a:gd name="T11" fmla="*/ 11 h 23"/>
                <a:gd name="T12" fmla="*/ 350 w 364"/>
                <a:gd name="T13" fmla="*/ 20 h 23"/>
                <a:gd name="T14" fmla="*/ 181 w 364"/>
                <a:gd name="T15" fmla="*/ 2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4" h="23">
                  <a:moveTo>
                    <a:pt x="181" y="20"/>
                  </a:moveTo>
                  <a:cubicBezTo>
                    <a:pt x="125" y="20"/>
                    <a:pt x="69" y="20"/>
                    <a:pt x="13" y="20"/>
                  </a:cubicBezTo>
                  <a:cubicBezTo>
                    <a:pt x="8" y="20"/>
                    <a:pt x="0" y="23"/>
                    <a:pt x="0" y="12"/>
                  </a:cubicBezTo>
                  <a:cubicBezTo>
                    <a:pt x="0" y="0"/>
                    <a:pt x="8" y="3"/>
                    <a:pt x="14" y="3"/>
                  </a:cubicBezTo>
                  <a:cubicBezTo>
                    <a:pt x="126" y="3"/>
                    <a:pt x="238" y="3"/>
                    <a:pt x="351" y="3"/>
                  </a:cubicBezTo>
                  <a:cubicBezTo>
                    <a:pt x="356" y="3"/>
                    <a:pt x="363" y="1"/>
                    <a:pt x="363" y="11"/>
                  </a:cubicBezTo>
                  <a:cubicBezTo>
                    <a:pt x="364" y="22"/>
                    <a:pt x="356" y="20"/>
                    <a:pt x="350" y="20"/>
                  </a:cubicBezTo>
                  <a:cubicBezTo>
                    <a:pt x="294" y="20"/>
                    <a:pt x="238" y="20"/>
                    <a:pt x="181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3" name="Freeform 60"/>
            <p:cNvSpPr>
              <a:spLocks/>
            </p:cNvSpPr>
            <p:nvPr/>
          </p:nvSpPr>
          <p:spPr bwMode="auto">
            <a:xfrm>
              <a:off x="3603" y="2245"/>
              <a:ext cx="864" cy="57"/>
            </a:xfrm>
            <a:custGeom>
              <a:avLst/>
              <a:gdLst>
                <a:gd name="T0" fmla="*/ 184 w 365"/>
                <a:gd name="T1" fmla="*/ 3 h 24"/>
                <a:gd name="T2" fmla="*/ 350 w 365"/>
                <a:gd name="T3" fmla="*/ 3 h 24"/>
                <a:gd name="T4" fmla="*/ 364 w 365"/>
                <a:gd name="T5" fmla="*/ 11 h 24"/>
                <a:gd name="T6" fmla="*/ 350 w 365"/>
                <a:gd name="T7" fmla="*/ 20 h 24"/>
                <a:gd name="T8" fmla="*/ 16 w 365"/>
                <a:gd name="T9" fmla="*/ 20 h 24"/>
                <a:gd name="T10" fmla="*/ 1 w 365"/>
                <a:gd name="T11" fmla="*/ 14 h 24"/>
                <a:gd name="T12" fmla="*/ 13 w 365"/>
                <a:gd name="T13" fmla="*/ 3 h 24"/>
                <a:gd name="T14" fmla="*/ 184 w 365"/>
                <a:gd name="T15" fmla="*/ 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5" h="24">
                  <a:moveTo>
                    <a:pt x="184" y="3"/>
                  </a:moveTo>
                  <a:cubicBezTo>
                    <a:pt x="240" y="3"/>
                    <a:pt x="295" y="3"/>
                    <a:pt x="350" y="3"/>
                  </a:cubicBezTo>
                  <a:cubicBezTo>
                    <a:pt x="356" y="3"/>
                    <a:pt x="364" y="0"/>
                    <a:pt x="364" y="11"/>
                  </a:cubicBezTo>
                  <a:cubicBezTo>
                    <a:pt x="365" y="23"/>
                    <a:pt x="356" y="20"/>
                    <a:pt x="350" y="20"/>
                  </a:cubicBezTo>
                  <a:cubicBezTo>
                    <a:pt x="239" y="20"/>
                    <a:pt x="127" y="20"/>
                    <a:pt x="16" y="20"/>
                  </a:cubicBezTo>
                  <a:cubicBezTo>
                    <a:pt x="11" y="20"/>
                    <a:pt x="3" y="24"/>
                    <a:pt x="1" y="14"/>
                  </a:cubicBezTo>
                  <a:cubicBezTo>
                    <a:pt x="0" y="5"/>
                    <a:pt x="4" y="3"/>
                    <a:pt x="13" y="3"/>
                  </a:cubicBezTo>
                  <a:cubicBezTo>
                    <a:pt x="70" y="3"/>
                    <a:pt x="127" y="3"/>
                    <a:pt x="18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4" name="Freeform 61"/>
            <p:cNvSpPr>
              <a:spLocks/>
            </p:cNvSpPr>
            <p:nvPr/>
          </p:nvSpPr>
          <p:spPr bwMode="auto">
            <a:xfrm>
              <a:off x="3606" y="3019"/>
              <a:ext cx="861" cy="57"/>
            </a:xfrm>
            <a:custGeom>
              <a:avLst/>
              <a:gdLst>
                <a:gd name="T0" fmla="*/ 183 w 364"/>
                <a:gd name="T1" fmla="*/ 3 h 24"/>
                <a:gd name="T2" fmla="*/ 349 w 364"/>
                <a:gd name="T3" fmla="*/ 3 h 24"/>
                <a:gd name="T4" fmla="*/ 363 w 364"/>
                <a:gd name="T5" fmla="*/ 13 h 24"/>
                <a:gd name="T6" fmla="*/ 349 w 364"/>
                <a:gd name="T7" fmla="*/ 20 h 24"/>
                <a:gd name="T8" fmla="*/ 14 w 364"/>
                <a:gd name="T9" fmla="*/ 21 h 24"/>
                <a:gd name="T10" fmla="*/ 0 w 364"/>
                <a:gd name="T11" fmla="*/ 11 h 24"/>
                <a:gd name="T12" fmla="*/ 14 w 364"/>
                <a:gd name="T13" fmla="*/ 4 h 24"/>
                <a:gd name="T14" fmla="*/ 183 w 364"/>
                <a:gd name="T15" fmla="*/ 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4" h="24">
                  <a:moveTo>
                    <a:pt x="183" y="3"/>
                  </a:moveTo>
                  <a:cubicBezTo>
                    <a:pt x="239" y="3"/>
                    <a:pt x="294" y="3"/>
                    <a:pt x="349" y="3"/>
                  </a:cubicBezTo>
                  <a:cubicBezTo>
                    <a:pt x="356" y="3"/>
                    <a:pt x="364" y="1"/>
                    <a:pt x="363" y="13"/>
                  </a:cubicBezTo>
                  <a:cubicBezTo>
                    <a:pt x="363" y="24"/>
                    <a:pt x="355" y="20"/>
                    <a:pt x="349" y="20"/>
                  </a:cubicBezTo>
                  <a:cubicBezTo>
                    <a:pt x="238" y="21"/>
                    <a:pt x="126" y="21"/>
                    <a:pt x="14" y="21"/>
                  </a:cubicBezTo>
                  <a:cubicBezTo>
                    <a:pt x="8" y="21"/>
                    <a:pt x="0" y="23"/>
                    <a:pt x="0" y="11"/>
                  </a:cubicBezTo>
                  <a:cubicBezTo>
                    <a:pt x="1" y="0"/>
                    <a:pt x="9" y="4"/>
                    <a:pt x="14" y="4"/>
                  </a:cubicBezTo>
                  <a:cubicBezTo>
                    <a:pt x="70" y="3"/>
                    <a:pt x="127" y="3"/>
                    <a:pt x="18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5" name="Freeform 62"/>
            <p:cNvSpPr>
              <a:spLocks/>
            </p:cNvSpPr>
            <p:nvPr/>
          </p:nvSpPr>
          <p:spPr bwMode="auto">
            <a:xfrm>
              <a:off x="3606" y="1462"/>
              <a:ext cx="859" cy="54"/>
            </a:xfrm>
            <a:custGeom>
              <a:avLst/>
              <a:gdLst>
                <a:gd name="T0" fmla="*/ 183 w 363"/>
                <a:gd name="T1" fmla="*/ 3 h 23"/>
                <a:gd name="T2" fmla="*/ 349 w 363"/>
                <a:gd name="T3" fmla="*/ 3 h 23"/>
                <a:gd name="T4" fmla="*/ 363 w 363"/>
                <a:gd name="T5" fmla="*/ 11 h 23"/>
                <a:gd name="T6" fmla="*/ 349 w 363"/>
                <a:gd name="T7" fmla="*/ 19 h 23"/>
                <a:gd name="T8" fmla="*/ 13 w 363"/>
                <a:gd name="T9" fmla="*/ 19 h 23"/>
                <a:gd name="T10" fmla="*/ 0 w 363"/>
                <a:gd name="T11" fmla="*/ 12 h 23"/>
                <a:gd name="T12" fmla="*/ 13 w 363"/>
                <a:gd name="T13" fmla="*/ 3 h 23"/>
                <a:gd name="T14" fmla="*/ 183 w 363"/>
                <a:gd name="T15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3" h="23">
                  <a:moveTo>
                    <a:pt x="183" y="3"/>
                  </a:moveTo>
                  <a:cubicBezTo>
                    <a:pt x="238" y="3"/>
                    <a:pt x="294" y="3"/>
                    <a:pt x="349" y="3"/>
                  </a:cubicBezTo>
                  <a:cubicBezTo>
                    <a:pt x="355" y="3"/>
                    <a:pt x="363" y="0"/>
                    <a:pt x="363" y="11"/>
                  </a:cubicBezTo>
                  <a:cubicBezTo>
                    <a:pt x="363" y="23"/>
                    <a:pt x="355" y="19"/>
                    <a:pt x="349" y="19"/>
                  </a:cubicBezTo>
                  <a:cubicBezTo>
                    <a:pt x="237" y="20"/>
                    <a:pt x="125" y="20"/>
                    <a:pt x="13" y="19"/>
                  </a:cubicBezTo>
                  <a:cubicBezTo>
                    <a:pt x="8" y="19"/>
                    <a:pt x="1" y="22"/>
                    <a:pt x="0" y="12"/>
                  </a:cubicBezTo>
                  <a:cubicBezTo>
                    <a:pt x="0" y="1"/>
                    <a:pt x="8" y="3"/>
                    <a:pt x="13" y="3"/>
                  </a:cubicBezTo>
                  <a:cubicBezTo>
                    <a:pt x="70" y="3"/>
                    <a:pt x="126" y="3"/>
                    <a:pt x="18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6" name="Freeform 63"/>
            <p:cNvSpPr>
              <a:spLocks/>
            </p:cNvSpPr>
            <p:nvPr/>
          </p:nvSpPr>
          <p:spPr bwMode="auto">
            <a:xfrm>
              <a:off x="3606" y="2655"/>
              <a:ext cx="859" cy="52"/>
            </a:xfrm>
            <a:custGeom>
              <a:avLst/>
              <a:gdLst>
                <a:gd name="T0" fmla="*/ 180 w 363"/>
                <a:gd name="T1" fmla="*/ 20 h 22"/>
                <a:gd name="T2" fmla="*/ 18 w 363"/>
                <a:gd name="T3" fmla="*/ 20 h 22"/>
                <a:gd name="T4" fmla="*/ 12 w 363"/>
                <a:gd name="T5" fmla="*/ 20 h 22"/>
                <a:gd name="T6" fmla="*/ 0 w 363"/>
                <a:gd name="T7" fmla="*/ 11 h 22"/>
                <a:gd name="T8" fmla="*/ 12 w 363"/>
                <a:gd name="T9" fmla="*/ 4 h 22"/>
                <a:gd name="T10" fmla="*/ 144 w 363"/>
                <a:gd name="T11" fmla="*/ 4 h 22"/>
                <a:gd name="T12" fmla="*/ 349 w 363"/>
                <a:gd name="T13" fmla="*/ 4 h 22"/>
                <a:gd name="T14" fmla="*/ 363 w 363"/>
                <a:gd name="T15" fmla="*/ 11 h 22"/>
                <a:gd name="T16" fmla="*/ 349 w 363"/>
                <a:gd name="T17" fmla="*/ 20 h 22"/>
                <a:gd name="T18" fmla="*/ 180 w 363"/>
                <a:gd name="T19" fmla="*/ 2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3" h="22">
                  <a:moveTo>
                    <a:pt x="180" y="20"/>
                  </a:moveTo>
                  <a:cubicBezTo>
                    <a:pt x="126" y="20"/>
                    <a:pt x="72" y="20"/>
                    <a:pt x="18" y="20"/>
                  </a:cubicBezTo>
                  <a:cubicBezTo>
                    <a:pt x="16" y="20"/>
                    <a:pt x="14" y="20"/>
                    <a:pt x="12" y="20"/>
                  </a:cubicBezTo>
                  <a:cubicBezTo>
                    <a:pt x="6" y="20"/>
                    <a:pt x="0" y="21"/>
                    <a:pt x="0" y="11"/>
                  </a:cubicBezTo>
                  <a:cubicBezTo>
                    <a:pt x="1" y="2"/>
                    <a:pt x="7" y="4"/>
                    <a:pt x="12" y="4"/>
                  </a:cubicBezTo>
                  <a:cubicBezTo>
                    <a:pt x="56" y="4"/>
                    <a:pt x="100" y="4"/>
                    <a:pt x="144" y="4"/>
                  </a:cubicBezTo>
                  <a:cubicBezTo>
                    <a:pt x="212" y="4"/>
                    <a:pt x="281" y="3"/>
                    <a:pt x="349" y="4"/>
                  </a:cubicBezTo>
                  <a:cubicBezTo>
                    <a:pt x="355" y="4"/>
                    <a:pt x="363" y="0"/>
                    <a:pt x="363" y="11"/>
                  </a:cubicBezTo>
                  <a:cubicBezTo>
                    <a:pt x="363" y="22"/>
                    <a:pt x="355" y="20"/>
                    <a:pt x="349" y="20"/>
                  </a:cubicBezTo>
                  <a:cubicBezTo>
                    <a:pt x="293" y="20"/>
                    <a:pt x="236" y="20"/>
                    <a:pt x="180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7" name="Freeform 64"/>
            <p:cNvSpPr>
              <a:spLocks noEditPoints="1"/>
            </p:cNvSpPr>
            <p:nvPr/>
          </p:nvSpPr>
          <p:spPr bwMode="auto">
            <a:xfrm>
              <a:off x="3187" y="2416"/>
              <a:ext cx="281" cy="284"/>
            </a:xfrm>
            <a:custGeom>
              <a:avLst/>
              <a:gdLst>
                <a:gd name="T0" fmla="*/ 119 w 119"/>
                <a:gd name="T1" fmla="*/ 61 h 120"/>
                <a:gd name="T2" fmla="*/ 119 w 119"/>
                <a:gd name="T3" fmla="*/ 106 h 120"/>
                <a:gd name="T4" fmla="*/ 106 w 119"/>
                <a:gd name="T5" fmla="*/ 120 h 120"/>
                <a:gd name="T6" fmla="*/ 11 w 119"/>
                <a:gd name="T7" fmla="*/ 120 h 120"/>
                <a:gd name="T8" fmla="*/ 0 w 119"/>
                <a:gd name="T9" fmla="*/ 108 h 120"/>
                <a:gd name="T10" fmla="*/ 0 w 119"/>
                <a:gd name="T11" fmla="*/ 11 h 120"/>
                <a:gd name="T12" fmla="*/ 10 w 119"/>
                <a:gd name="T13" fmla="*/ 0 h 120"/>
                <a:gd name="T14" fmla="*/ 108 w 119"/>
                <a:gd name="T15" fmla="*/ 0 h 120"/>
                <a:gd name="T16" fmla="*/ 119 w 119"/>
                <a:gd name="T17" fmla="*/ 12 h 120"/>
                <a:gd name="T18" fmla="*/ 119 w 119"/>
                <a:gd name="T19" fmla="*/ 61 h 120"/>
                <a:gd name="T20" fmla="*/ 119 w 119"/>
                <a:gd name="T21" fmla="*/ 61 h 120"/>
                <a:gd name="T22" fmla="*/ 59 w 119"/>
                <a:gd name="T23" fmla="*/ 109 h 120"/>
                <a:gd name="T24" fmla="*/ 97 w 119"/>
                <a:gd name="T25" fmla="*/ 109 h 120"/>
                <a:gd name="T26" fmla="*/ 109 w 119"/>
                <a:gd name="T27" fmla="*/ 98 h 120"/>
                <a:gd name="T28" fmla="*/ 109 w 119"/>
                <a:gd name="T29" fmla="*/ 22 h 120"/>
                <a:gd name="T30" fmla="*/ 97 w 119"/>
                <a:gd name="T31" fmla="*/ 11 h 120"/>
                <a:gd name="T32" fmla="*/ 22 w 119"/>
                <a:gd name="T33" fmla="*/ 10 h 120"/>
                <a:gd name="T34" fmla="*/ 9 w 119"/>
                <a:gd name="T35" fmla="*/ 23 h 120"/>
                <a:gd name="T36" fmla="*/ 9 w 119"/>
                <a:gd name="T37" fmla="*/ 97 h 120"/>
                <a:gd name="T38" fmla="*/ 23 w 119"/>
                <a:gd name="T39" fmla="*/ 109 h 120"/>
                <a:gd name="T40" fmla="*/ 59 w 119"/>
                <a:gd name="T41" fmla="*/ 10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0">
                  <a:moveTo>
                    <a:pt x="119" y="61"/>
                  </a:moveTo>
                  <a:cubicBezTo>
                    <a:pt x="119" y="76"/>
                    <a:pt x="118" y="91"/>
                    <a:pt x="119" y="106"/>
                  </a:cubicBezTo>
                  <a:cubicBezTo>
                    <a:pt x="119" y="116"/>
                    <a:pt x="116" y="120"/>
                    <a:pt x="106" y="120"/>
                  </a:cubicBezTo>
                  <a:cubicBezTo>
                    <a:pt x="74" y="119"/>
                    <a:pt x="43" y="119"/>
                    <a:pt x="11" y="120"/>
                  </a:cubicBezTo>
                  <a:cubicBezTo>
                    <a:pt x="3" y="120"/>
                    <a:pt x="0" y="117"/>
                    <a:pt x="0" y="108"/>
                  </a:cubicBezTo>
                  <a:cubicBezTo>
                    <a:pt x="0" y="76"/>
                    <a:pt x="0" y="43"/>
                    <a:pt x="0" y="11"/>
                  </a:cubicBezTo>
                  <a:cubicBezTo>
                    <a:pt x="0" y="4"/>
                    <a:pt x="2" y="0"/>
                    <a:pt x="10" y="0"/>
                  </a:cubicBezTo>
                  <a:cubicBezTo>
                    <a:pt x="43" y="0"/>
                    <a:pt x="75" y="1"/>
                    <a:pt x="108" y="0"/>
                  </a:cubicBezTo>
                  <a:cubicBezTo>
                    <a:pt x="117" y="0"/>
                    <a:pt x="119" y="4"/>
                    <a:pt x="119" y="12"/>
                  </a:cubicBezTo>
                  <a:cubicBezTo>
                    <a:pt x="118" y="29"/>
                    <a:pt x="119" y="45"/>
                    <a:pt x="119" y="61"/>
                  </a:cubicBezTo>
                  <a:cubicBezTo>
                    <a:pt x="119" y="61"/>
                    <a:pt x="119" y="61"/>
                    <a:pt x="119" y="61"/>
                  </a:cubicBezTo>
                  <a:close/>
                  <a:moveTo>
                    <a:pt x="59" y="109"/>
                  </a:moveTo>
                  <a:cubicBezTo>
                    <a:pt x="71" y="109"/>
                    <a:pt x="84" y="108"/>
                    <a:pt x="97" y="109"/>
                  </a:cubicBezTo>
                  <a:cubicBezTo>
                    <a:pt x="106" y="109"/>
                    <a:pt x="109" y="106"/>
                    <a:pt x="109" y="98"/>
                  </a:cubicBezTo>
                  <a:cubicBezTo>
                    <a:pt x="108" y="72"/>
                    <a:pt x="108" y="47"/>
                    <a:pt x="109" y="22"/>
                  </a:cubicBezTo>
                  <a:cubicBezTo>
                    <a:pt x="109" y="13"/>
                    <a:pt x="105" y="10"/>
                    <a:pt x="97" y="11"/>
                  </a:cubicBezTo>
                  <a:cubicBezTo>
                    <a:pt x="72" y="11"/>
                    <a:pt x="47" y="11"/>
                    <a:pt x="22" y="10"/>
                  </a:cubicBezTo>
                  <a:cubicBezTo>
                    <a:pt x="13" y="10"/>
                    <a:pt x="9" y="13"/>
                    <a:pt x="9" y="23"/>
                  </a:cubicBezTo>
                  <a:cubicBezTo>
                    <a:pt x="10" y="48"/>
                    <a:pt x="10" y="72"/>
                    <a:pt x="9" y="97"/>
                  </a:cubicBezTo>
                  <a:cubicBezTo>
                    <a:pt x="9" y="107"/>
                    <a:pt x="13" y="109"/>
                    <a:pt x="23" y="109"/>
                  </a:cubicBezTo>
                  <a:cubicBezTo>
                    <a:pt x="35" y="108"/>
                    <a:pt x="47" y="109"/>
                    <a:pt x="59" y="1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8" name="Freeform 65"/>
            <p:cNvSpPr>
              <a:spLocks noEditPoints="1"/>
            </p:cNvSpPr>
            <p:nvPr/>
          </p:nvSpPr>
          <p:spPr bwMode="auto">
            <a:xfrm>
              <a:off x="3187" y="2032"/>
              <a:ext cx="281" cy="284"/>
            </a:xfrm>
            <a:custGeom>
              <a:avLst/>
              <a:gdLst>
                <a:gd name="T0" fmla="*/ 60 w 119"/>
                <a:gd name="T1" fmla="*/ 0 h 120"/>
                <a:gd name="T2" fmla="*/ 105 w 119"/>
                <a:gd name="T3" fmla="*/ 0 h 120"/>
                <a:gd name="T4" fmla="*/ 119 w 119"/>
                <a:gd name="T5" fmla="*/ 13 h 120"/>
                <a:gd name="T6" fmla="*/ 119 w 119"/>
                <a:gd name="T7" fmla="*/ 107 h 120"/>
                <a:gd name="T8" fmla="*/ 105 w 119"/>
                <a:gd name="T9" fmla="*/ 120 h 120"/>
                <a:gd name="T10" fmla="*/ 13 w 119"/>
                <a:gd name="T11" fmla="*/ 120 h 120"/>
                <a:gd name="T12" fmla="*/ 0 w 119"/>
                <a:gd name="T13" fmla="*/ 107 h 120"/>
                <a:gd name="T14" fmla="*/ 0 w 119"/>
                <a:gd name="T15" fmla="*/ 12 h 120"/>
                <a:gd name="T16" fmla="*/ 12 w 119"/>
                <a:gd name="T17" fmla="*/ 0 h 120"/>
                <a:gd name="T18" fmla="*/ 60 w 119"/>
                <a:gd name="T19" fmla="*/ 0 h 120"/>
                <a:gd name="T20" fmla="*/ 108 w 119"/>
                <a:gd name="T21" fmla="*/ 61 h 120"/>
                <a:gd name="T22" fmla="*/ 108 w 119"/>
                <a:gd name="T23" fmla="*/ 21 h 120"/>
                <a:gd name="T24" fmla="*/ 99 w 119"/>
                <a:gd name="T25" fmla="*/ 11 h 120"/>
                <a:gd name="T26" fmla="*/ 20 w 119"/>
                <a:gd name="T27" fmla="*/ 11 h 120"/>
                <a:gd name="T28" fmla="*/ 9 w 119"/>
                <a:gd name="T29" fmla="*/ 22 h 120"/>
                <a:gd name="T30" fmla="*/ 9 w 119"/>
                <a:gd name="T31" fmla="*/ 99 h 120"/>
                <a:gd name="T32" fmla="*/ 19 w 119"/>
                <a:gd name="T33" fmla="*/ 109 h 120"/>
                <a:gd name="T34" fmla="*/ 98 w 119"/>
                <a:gd name="T35" fmla="*/ 110 h 120"/>
                <a:gd name="T36" fmla="*/ 108 w 119"/>
                <a:gd name="T37" fmla="*/ 99 h 120"/>
                <a:gd name="T38" fmla="*/ 108 w 119"/>
                <a:gd name="T39" fmla="*/ 61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9" h="120">
                  <a:moveTo>
                    <a:pt x="60" y="0"/>
                  </a:moveTo>
                  <a:cubicBezTo>
                    <a:pt x="75" y="0"/>
                    <a:pt x="90" y="1"/>
                    <a:pt x="105" y="0"/>
                  </a:cubicBezTo>
                  <a:cubicBezTo>
                    <a:pt x="114" y="0"/>
                    <a:pt x="119" y="2"/>
                    <a:pt x="119" y="13"/>
                  </a:cubicBezTo>
                  <a:cubicBezTo>
                    <a:pt x="118" y="44"/>
                    <a:pt x="118" y="75"/>
                    <a:pt x="119" y="107"/>
                  </a:cubicBezTo>
                  <a:cubicBezTo>
                    <a:pt x="119" y="116"/>
                    <a:pt x="115" y="120"/>
                    <a:pt x="105" y="120"/>
                  </a:cubicBezTo>
                  <a:cubicBezTo>
                    <a:pt x="75" y="119"/>
                    <a:pt x="44" y="119"/>
                    <a:pt x="13" y="120"/>
                  </a:cubicBezTo>
                  <a:cubicBezTo>
                    <a:pt x="3" y="120"/>
                    <a:pt x="0" y="116"/>
                    <a:pt x="0" y="107"/>
                  </a:cubicBezTo>
                  <a:cubicBezTo>
                    <a:pt x="0" y="75"/>
                    <a:pt x="0" y="44"/>
                    <a:pt x="0" y="12"/>
                  </a:cubicBezTo>
                  <a:cubicBezTo>
                    <a:pt x="0" y="4"/>
                    <a:pt x="3" y="0"/>
                    <a:pt x="12" y="0"/>
                  </a:cubicBezTo>
                  <a:cubicBezTo>
                    <a:pt x="28" y="1"/>
                    <a:pt x="44" y="0"/>
                    <a:pt x="60" y="0"/>
                  </a:cubicBezTo>
                  <a:close/>
                  <a:moveTo>
                    <a:pt x="108" y="61"/>
                  </a:moveTo>
                  <a:cubicBezTo>
                    <a:pt x="108" y="48"/>
                    <a:pt x="108" y="34"/>
                    <a:pt x="108" y="21"/>
                  </a:cubicBezTo>
                  <a:cubicBezTo>
                    <a:pt x="109" y="14"/>
                    <a:pt x="107" y="11"/>
                    <a:pt x="99" y="11"/>
                  </a:cubicBezTo>
                  <a:cubicBezTo>
                    <a:pt x="73" y="11"/>
                    <a:pt x="46" y="11"/>
                    <a:pt x="20" y="11"/>
                  </a:cubicBezTo>
                  <a:cubicBezTo>
                    <a:pt x="12" y="11"/>
                    <a:pt x="9" y="14"/>
                    <a:pt x="9" y="22"/>
                  </a:cubicBezTo>
                  <a:cubicBezTo>
                    <a:pt x="10" y="48"/>
                    <a:pt x="10" y="73"/>
                    <a:pt x="9" y="99"/>
                  </a:cubicBezTo>
                  <a:cubicBezTo>
                    <a:pt x="9" y="106"/>
                    <a:pt x="12" y="109"/>
                    <a:pt x="19" y="109"/>
                  </a:cubicBezTo>
                  <a:cubicBezTo>
                    <a:pt x="45" y="109"/>
                    <a:pt x="72" y="109"/>
                    <a:pt x="98" y="110"/>
                  </a:cubicBezTo>
                  <a:cubicBezTo>
                    <a:pt x="107" y="110"/>
                    <a:pt x="109" y="106"/>
                    <a:pt x="108" y="99"/>
                  </a:cubicBezTo>
                  <a:cubicBezTo>
                    <a:pt x="108" y="86"/>
                    <a:pt x="108" y="74"/>
                    <a:pt x="108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9" name="Freeform 66"/>
            <p:cNvSpPr>
              <a:spLocks noEditPoints="1"/>
            </p:cNvSpPr>
            <p:nvPr/>
          </p:nvSpPr>
          <p:spPr bwMode="auto">
            <a:xfrm>
              <a:off x="3187" y="2799"/>
              <a:ext cx="281" cy="284"/>
            </a:xfrm>
            <a:custGeom>
              <a:avLst/>
              <a:gdLst>
                <a:gd name="T0" fmla="*/ 0 w 119"/>
                <a:gd name="T1" fmla="*/ 58 h 120"/>
                <a:gd name="T2" fmla="*/ 0 w 119"/>
                <a:gd name="T3" fmla="*/ 12 h 120"/>
                <a:gd name="T4" fmla="*/ 11 w 119"/>
                <a:gd name="T5" fmla="*/ 0 h 120"/>
                <a:gd name="T6" fmla="*/ 108 w 119"/>
                <a:gd name="T7" fmla="*/ 0 h 120"/>
                <a:gd name="T8" fmla="*/ 119 w 119"/>
                <a:gd name="T9" fmla="*/ 11 h 120"/>
                <a:gd name="T10" fmla="*/ 119 w 119"/>
                <a:gd name="T11" fmla="*/ 108 h 120"/>
                <a:gd name="T12" fmla="*/ 107 w 119"/>
                <a:gd name="T13" fmla="*/ 119 h 120"/>
                <a:gd name="T14" fmla="*/ 11 w 119"/>
                <a:gd name="T15" fmla="*/ 119 h 120"/>
                <a:gd name="T16" fmla="*/ 0 w 119"/>
                <a:gd name="T17" fmla="*/ 108 h 120"/>
                <a:gd name="T18" fmla="*/ 0 w 119"/>
                <a:gd name="T19" fmla="*/ 58 h 120"/>
                <a:gd name="T20" fmla="*/ 0 w 119"/>
                <a:gd name="T21" fmla="*/ 58 h 120"/>
                <a:gd name="T22" fmla="*/ 60 w 119"/>
                <a:gd name="T23" fmla="*/ 109 h 120"/>
                <a:gd name="T24" fmla="*/ 97 w 119"/>
                <a:gd name="T25" fmla="*/ 109 h 120"/>
                <a:gd name="T26" fmla="*/ 109 w 119"/>
                <a:gd name="T27" fmla="*/ 98 h 120"/>
                <a:gd name="T28" fmla="*/ 109 w 119"/>
                <a:gd name="T29" fmla="*/ 21 h 120"/>
                <a:gd name="T30" fmla="*/ 96 w 119"/>
                <a:gd name="T31" fmla="*/ 10 h 120"/>
                <a:gd name="T32" fmla="*/ 22 w 119"/>
                <a:gd name="T33" fmla="*/ 10 h 120"/>
                <a:gd name="T34" fmla="*/ 9 w 119"/>
                <a:gd name="T35" fmla="*/ 22 h 120"/>
                <a:gd name="T36" fmla="*/ 9 w 119"/>
                <a:gd name="T37" fmla="*/ 97 h 120"/>
                <a:gd name="T38" fmla="*/ 21 w 119"/>
                <a:gd name="T39" fmla="*/ 109 h 120"/>
                <a:gd name="T40" fmla="*/ 60 w 119"/>
                <a:gd name="T41" fmla="*/ 10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" h="120">
                  <a:moveTo>
                    <a:pt x="0" y="58"/>
                  </a:moveTo>
                  <a:cubicBezTo>
                    <a:pt x="0" y="43"/>
                    <a:pt x="0" y="27"/>
                    <a:pt x="0" y="12"/>
                  </a:cubicBezTo>
                  <a:cubicBezTo>
                    <a:pt x="0" y="4"/>
                    <a:pt x="1" y="0"/>
                    <a:pt x="11" y="0"/>
                  </a:cubicBezTo>
                  <a:cubicBezTo>
                    <a:pt x="43" y="0"/>
                    <a:pt x="75" y="0"/>
                    <a:pt x="108" y="0"/>
                  </a:cubicBezTo>
                  <a:cubicBezTo>
                    <a:pt x="116" y="0"/>
                    <a:pt x="119" y="3"/>
                    <a:pt x="119" y="11"/>
                  </a:cubicBezTo>
                  <a:cubicBezTo>
                    <a:pt x="118" y="43"/>
                    <a:pt x="119" y="75"/>
                    <a:pt x="119" y="108"/>
                  </a:cubicBezTo>
                  <a:cubicBezTo>
                    <a:pt x="119" y="116"/>
                    <a:pt x="115" y="120"/>
                    <a:pt x="107" y="119"/>
                  </a:cubicBezTo>
                  <a:cubicBezTo>
                    <a:pt x="75" y="119"/>
                    <a:pt x="43" y="119"/>
                    <a:pt x="11" y="119"/>
                  </a:cubicBezTo>
                  <a:cubicBezTo>
                    <a:pt x="3" y="119"/>
                    <a:pt x="0" y="116"/>
                    <a:pt x="0" y="108"/>
                  </a:cubicBezTo>
                  <a:cubicBezTo>
                    <a:pt x="0" y="91"/>
                    <a:pt x="0" y="75"/>
                    <a:pt x="0" y="58"/>
                  </a:cubicBezTo>
                  <a:cubicBezTo>
                    <a:pt x="0" y="58"/>
                    <a:pt x="0" y="58"/>
                    <a:pt x="0" y="58"/>
                  </a:cubicBezTo>
                  <a:close/>
                  <a:moveTo>
                    <a:pt x="60" y="109"/>
                  </a:moveTo>
                  <a:cubicBezTo>
                    <a:pt x="72" y="109"/>
                    <a:pt x="85" y="108"/>
                    <a:pt x="97" y="109"/>
                  </a:cubicBezTo>
                  <a:cubicBezTo>
                    <a:pt x="106" y="109"/>
                    <a:pt x="109" y="106"/>
                    <a:pt x="109" y="98"/>
                  </a:cubicBezTo>
                  <a:cubicBezTo>
                    <a:pt x="108" y="72"/>
                    <a:pt x="108" y="47"/>
                    <a:pt x="109" y="21"/>
                  </a:cubicBezTo>
                  <a:cubicBezTo>
                    <a:pt x="109" y="12"/>
                    <a:pt x="105" y="9"/>
                    <a:pt x="96" y="10"/>
                  </a:cubicBezTo>
                  <a:cubicBezTo>
                    <a:pt x="71" y="10"/>
                    <a:pt x="46" y="10"/>
                    <a:pt x="22" y="10"/>
                  </a:cubicBezTo>
                  <a:cubicBezTo>
                    <a:pt x="13" y="10"/>
                    <a:pt x="9" y="13"/>
                    <a:pt x="9" y="22"/>
                  </a:cubicBezTo>
                  <a:cubicBezTo>
                    <a:pt x="10" y="47"/>
                    <a:pt x="10" y="72"/>
                    <a:pt x="9" y="97"/>
                  </a:cubicBezTo>
                  <a:cubicBezTo>
                    <a:pt x="9" y="105"/>
                    <a:pt x="12" y="109"/>
                    <a:pt x="21" y="109"/>
                  </a:cubicBezTo>
                  <a:cubicBezTo>
                    <a:pt x="34" y="108"/>
                    <a:pt x="47" y="109"/>
                    <a:pt x="60" y="1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91"/>
              <a:endParaRPr lang="en-US" sz="2533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565" name="Group 201"/>
          <p:cNvGrpSpPr/>
          <p:nvPr/>
        </p:nvGrpSpPr>
        <p:grpSpPr>
          <a:xfrm flipH="1">
            <a:off x="5056204" y="4355924"/>
            <a:ext cx="254089" cy="254089"/>
            <a:chOff x="1282752" y="4938098"/>
            <a:chExt cx="1451258" cy="1449504"/>
          </a:xfrm>
          <a:solidFill>
            <a:schemeClr val="bg1"/>
          </a:solidFill>
          <a:effectLst/>
        </p:grpSpPr>
        <p:grpSp>
          <p:nvGrpSpPr>
            <p:cNvPr id="566" name="Group 203"/>
            <p:cNvGrpSpPr/>
            <p:nvPr/>
          </p:nvGrpSpPr>
          <p:grpSpPr>
            <a:xfrm>
              <a:off x="1783764" y="5241759"/>
              <a:ext cx="444794" cy="514698"/>
              <a:chOff x="14065458" y="16152057"/>
              <a:chExt cx="1908828" cy="2208820"/>
            </a:xfrm>
            <a:grpFill/>
          </p:grpSpPr>
          <p:sp>
            <p:nvSpPr>
              <p:cNvPr id="576" name="Rounded Rectangle 213"/>
              <p:cNvSpPr/>
              <p:nvPr/>
            </p:nvSpPr>
            <p:spPr>
              <a:xfrm rot="20661364">
                <a:off x="14200146" y="16208948"/>
                <a:ext cx="277157" cy="2151929"/>
              </a:xfrm>
              <a:prstGeom prst="roundRect">
                <a:avLst>
                  <a:gd name="adj" fmla="val 46875"/>
                </a:avLst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519970">
                  <a:defRPr/>
                </a:pPr>
                <a:endParaRPr lang="en-US" sz="1842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577" name="Rounded Rectangle 214"/>
              <p:cNvSpPr/>
              <p:nvPr/>
            </p:nvSpPr>
            <p:spPr>
              <a:xfrm rot="938636" flipH="1">
                <a:off x="15569359" y="16208948"/>
                <a:ext cx="277157" cy="2151929"/>
              </a:xfrm>
              <a:prstGeom prst="roundRect">
                <a:avLst>
                  <a:gd name="adj" fmla="val 46875"/>
                </a:avLst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519970">
                  <a:defRPr/>
                </a:pPr>
                <a:endParaRPr lang="en-US" sz="1842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578" name="Rounded Rectangle 215"/>
              <p:cNvSpPr/>
              <p:nvPr/>
            </p:nvSpPr>
            <p:spPr>
              <a:xfrm flipH="1">
                <a:off x="14871104" y="16152057"/>
                <a:ext cx="277157" cy="1138309"/>
              </a:xfrm>
              <a:prstGeom prst="roundRect">
                <a:avLst>
                  <a:gd name="adj" fmla="val 46875"/>
                </a:avLst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519970">
                  <a:defRPr/>
                </a:pPr>
                <a:endParaRPr lang="en-US" sz="1842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579" name="Freeform 216"/>
              <p:cNvSpPr/>
              <p:nvPr/>
            </p:nvSpPr>
            <p:spPr>
              <a:xfrm>
                <a:off x="14065458" y="16512027"/>
                <a:ext cx="1908828" cy="559897"/>
              </a:xfrm>
              <a:custGeom>
                <a:avLst/>
                <a:gdLst>
                  <a:gd name="connsiteX0" fmla="*/ 2650874 w 3020652"/>
                  <a:gd name="connsiteY0" fmla="*/ 501853 h 2043633"/>
                  <a:gd name="connsiteX1" fmla="*/ 2675767 w 3020652"/>
                  <a:gd name="connsiteY1" fmla="*/ 528173 h 2043633"/>
                  <a:gd name="connsiteX2" fmla="*/ 3020652 w 3020652"/>
                  <a:gd name="connsiteY2" fmla="*/ 1451393 h 2043633"/>
                  <a:gd name="connsiteX3" fmla="*/ 2901963 w 3020652"/>
                  <a:gd name="connsiteY3" fmla="*/ 2016341 h 2043633"/>
                  <a:gd name="connsiteX4" fmla="*/ 2897503 w 3020652"/>
                  <a:gd name="connsiteY4" fmla="*/ 2025239 h 2043633"/>
                  <a:gd name="connsiteX5" fmla="*/ 2802193 w 3020652"/>
                  <a:gd name="connsiteY5" fmla="*/ 1436521 h 2043633"/>
                  <a:gd name="connsiteX6" fmla="*/ 2796300 w 3020652"/>
                  <a:gd name="connsiteY6" fmla="*/ 1324385 h 2043633"/>
                  <a:gd name="connsiteX7" fmla="*/ 2744859 w 3020652"/>
                  <a:gd name="connsiteY7" fmla="*/ 1081999 h 2043633"/>
                  <a:gd name="connsiteX8" fmla="*/ 2744751 w 3020652"/>
                  <a:gd name="connsiteY8" fmla="*/ 1081715 h 2043633"/>
                  <a:gd name="connsiteX9" fmla="*/ 384115 w 3020652"/>
                  <a:gd name="connsiteY9" fmla="*/ 486693 h 2043633"/>
                  <a:gd name="connsiteX10" fmla="*/ 296760 w 3020652"/>
                  <a:gd name="connsiteY10" fmla="*/ 1026949 h 2043633"/>
                  <a:gd name="connsiteX11" fmla="*/ 275793 w 3020652"/>
                  <a:gd name="connsiteY11" fmla="*/ 1081999 h 2043633"/>
                  <a:gd name="connsiteX12" fmla="*/ 217678 w 3020652"/>
                  <a:gd name="connsiteY12" fmla="*/ 1451393 h 2043633"/>
                  <a:gd name="connsiteX13" fmla="*/ 220242 w 3020652"/>
                  <a:gd name="connsiteY13" fmla="*/ 1500181 h 2043633"/>
                  <a:gd name="connsiteX14" fmla="*/ 132369 w 3020652"/>
                  <a:gd name="connsiteY14" fmla="*/ 2043633 h 2043633"/>
                  <a:gd name="connsiteX15" fmla="*/ 118689 w 3020652"/>
                  <a:gd name="connsiteY15" fmla="*/ 2016341 h 2043633"/>
                  <a:gd name="connsiteX16" fmla="*/ 0 w 3020652"/>
                  <a:gd name="connsiteY16" fmla="*/ 1451393 h 2043633"/>
                  <a:gd name="connsiteX17" fmla="*/ 344885 w 3020652"/>
                  <a:gd name="connsiteY17" fmla="*/ 528173 h 2043633"/>
                  <a:gd name="connsiteX18" fmla="*/ 1510326 w 3020652"/>
                  <a:gd name="connsiteY18" fmla="*/ 0 h 2043633"/>
                  <a:gd name="connsiteX19" fmla="*/ 2471034 w 3020652"/>
                  <a:gd name="connsiteY19" fmla="*/ 331427 h 2043633"/>
                  <a:gd name="connsiteX20" fmla="*/ 2474929 w 3020652"/>
                  <a:gd name="connsiteY20" fmla="*/ 334829 h 2043633"/>
                  <a:gd name="connsiteX21" fmla="*/ 2409343 w 3020652"/>
                  <a:gd name="connsiteY21" fmla="*/ 559897 h 2043633"/>
                  <a:gd name="connsiteX22" fmla="*/ 2332570 w 3020652"/>
                  <a:gd name="connsiteY22" fmla="*/ 492845 h 2043633"/>
                  <a:gd name="connsiteX23" fmla="*/ 1510326 w 3020652"/>
                  <a:gd name="connsiteY23" fmla="*/ 209184 h 2043633"/>
                  <a:gd name="connsiteX24" fmla="*/ 688082 w 3020652"/>
                  <a:gd name="connsiteY24" fmla="*/ 492845 h 2043633"/>
                  <a:gd name="connsiteX25" fmla="*/ 630169 w 3020652"/>
                  <a:gd name="connsiteY25" fmla="*/ 543425 h 2043633"/>
                  <a:gd name="connsiteX26" fmla="*/ 566101 w 3020652"/>
                  <a:gd name="connsiteY26" fmla="*/ 319583 h 2043633"/>
                  <a:gd name="connsiteX27" fmla="*/ 665888 w 3020652"/>
                  <a:gd name="connsiteY27" fmla="*/ 247875 h 2043633"/>
                  <a:gd name="connsiteX28" fmla="*/ 1510326 w 3020652"/>
                  <a:gd name="connsiteY28" fmla="*/ 0 h 2043633"/>
                  <a:gd name="connsiteX0" fmla="*/ 2744751 w 3020652"/>
                  <a:gd name="connsiteY0" fmla="*/ 1081715 h 2043633"/>
                  <a:gd name="connsiteX1" fmla="*/ 2675767 w 3020652"/>
                  <a:gd name="connsiteY1" fmla="*/ 528173 h 2043633"/>
                  <a:gd name="connsiteX2" fmla="*/ 3020652 w 3020652"/>
                  <a:gd name="connsiteY2" fmla="*/ 1451393 h 2043633"/>
                  <a:gd name="connsiteX3" fmla="*/ 2901963 w 3020652"/>
                  <a:gd name="connsiteY3" fmla="*/ 2016341 h 2043633"/>
                  <a:gd name="connsiteX4" fmla="*/ 2897503 w 3020652"/>
                  <a:gd name="connsiteY4" fmla="*/ 2025239 h 2043633"/>
                  <a:gd name="connsiteX5" fmla="*/ 2802193 w 3020652"/>
                  <a:gd name="connsiteY5" fmla="*/ 1436521 h 2043633"/>
                  <a:gd name="connsiteX6" fmla="*/ 2796300 w 3020652"/>
                  <a:gd name="connsiteY6" fmla="*/ 1324385 h 2043633"/>
                  <a:gd name="connsiteX7" fmla="*/ 2744859 w 3020652"/>
                  <a:gd name="connsiteY7" fmla="*/ 1081999 h 2043633"/>
                  <a:gd name="connsiteX8" fmla="*/ 2744751 w 3020652"/>
                  <a:gd name="connsiteY8" fmla="*/ 1081715 h 2043633"/>
                  <a:gd name="connsiteX9" fmla="*/ 384115 w 3020652"/>
                  <a:gd name="connsiteY9" fmla="*/ 486693 h 2043633"/>
                  <a:gd name="connsiteX10" fmla="*/ 296760 w 3020652"/>
                  <a:gd name="connsiteY10" fmla="*/ 1026949 h 2043633"/>
                  <a:gd name="connsiteX11" fmla="*/ 275793 w 3020652"/>
                  <a:gd name="connsiteY11" fmla="*/ 1081999 h 2043633"/>
                  <a:gd name="connsiteX12" fmla="*/ 217678 w 3020652"/>
                  <a:gd name="connsiteY12" fmla="*/ 1451393 h 2043633"/>
                  <a:gd name="connsiteX13" fmla="*/ 220242 w 3020652"/>
                  <a:gd name="connsiteY13" fmla="*/ 1500181 h 2043633"/>
                  <a:gd name="connsiteX14" fmla="*/ 132369 w 3020652"/>
                  <a:gd name="connsiteY14" fmla="*/ 2043633 h 2043633"/>
                  <a:gd name="connsiteX15" fmla="*/ 118689 w 3020652"/>
                  <a:gd name="connsiteY15" fmla="*/ 2016341 h 2043633"/>
                  <a:gd name="connsiteX16" fmla="*/ 0 w 3020652"/>
                  <a:gd name="connsiteY16" fmla="*/ 1451393 h 2043633"/>
                  <a:gd name="connsiteX17" fmla="*/ 344885 w 3020652"/>
                  <a:gd name="connsiteY17" fmla="*/ 528173 h 2043633"/>
                  <a:gd name="connsiteX18" fmla="*/ 384115 w 3020652"/>
                  <a:gd name="connsiteY18" fmla="*/ 486693 h 2043633"/>
                  <a:gd name="connsiteX19" fmla="*/ 1510326 w 3020652"/>
                  <a:gd name="connsiteY19" fmla="*/ 0 h 2043633"/>
                  <a:gd name="connsiteX20" fmla="*/ 2471034 w 3020652"/>
                  <a:gd name="connsiteY20" fmla="*/ 331427 h 2043633"/>
                  <a:gd name="connsiteX21" fmla="*/ 2474929 w 3020652"/>
                  <a:gd name="connsiteY21" fmla="*/ 334829 h 2043633"/>
                  <a:gd name="connsiteX22" fmla="*/ 2409343 w 3020652"/>
                  <a:gd name="connsiteY22" fmla="*/ 559897 h 2043633"/>
                  <a:gd name="connsiteX23" fmla="*/ 2332570 w 3020652"/>
                  <a:gd name="connsiteY23" fmla="*/ 492845 h 2043633"/>
                  <a:gd name="connsiteX24" fmla="*/ 1510326 w 3020652"/>
                  <a:gd name="connsiteY24" fmla="*/ 209184 h 2043633"/>
                  <a:gd name="connsiteX25" fmla="*/ 688082 w 3020652"/>
                  <a:gd name="connsiteY25" fmla="*/ 492845 h 2043633"/>
                  <a:gd name="connsiteX26" fmla="*/ 630169 w 3020652"/>
                  <a:gd name="connsiteY26" fmla="*/ 543425 h 2043633"/>
                  <a:gd name="connsiteX27" fmla="*/ 566101 w 3020652"/>
                  <a:gd name="connsiteY27" fmla="*/ 319583 h 2043633"/>
                  <a:gd name="connsiteX28" fmla="*/ 665888 w 3020652"/>
                  <a:gd name="connsiteY28" fmla="*/ 247875 h 2043633"/>
                  <a:gd name="connsiteX29" fmla="*/ 1510326 w 3020652"/>
                  <a:gd name="connsiteY29" fmla="*/ 0 h 2043633"/>
                  <a:gd name="connsiteX0" fmla="*/ 2744751 w 3020652"/>
                  <a:gd name="connsiteY0" fmla="*/ 1081715 h 2043633"/>
                  <a:gd name="connsiteX1" fmla="*/ 3020652 w 3020652"/>
                  <a:gd name="connsiteY1" fmla="*/ 1451393 h 2043633"/>
                  <a:gd name="connsiteX2" fmla="*/ 2901963 w 3020652"/>
                  <a:gd name="connsiteY2" fmla="*/ 2016341 h 2043633"/>
                  <a:gd name="connsiteX3" fmla="*/ 2897503 w 3020652"/>
                  <a:gd name="connsiteY3" fmla="*/ 2025239 h 2043633"/>
                  <a:gd name="connsiteX4" fmla="*/ 2802193 w 3020652"/>
                  <a:gd name="connsiteY4" fmla="*/ 1436521 h 2043633"/>
                  <a:gd name="connsiteX5" fmla="*/ 2796300 w 3020652"/>
                  <a:gd name="connsiteY5" fmla="*/ 1324385 h 2043633"/>
                  <a:gd name="connsiteX6" fmla="*/ 2744859 w 3020652"/>
                  <a:gd name="connsiteY6" fmla="*/ 1081999 h 2043633"/>
                  <a:gd name="connsiteX7" fmla="*/ 2744751 w 3020652"/>
                  <a:gd name="connsiteY7" fmla="*/ 1081715 h 2043633"/>
                  <a:gd name="connsiteX8" fmla="*/ 384115 w 3020652"/>
                  <a:gd name="connsiteY8" fmla="*/ 486693 h 2043633"/>
                  <a:gd name="connsiteX9" fmla="*/ 296760 w 3020652"/>
                  <a:gd name="connsiteY9" fmla="*/ 1026949 h 2043633"/>
                  <a:gd name="connsiteX10" fmla="*/ 275793 w 3020652"/>
                  <a:gd name="connsiteY10" fmla="*/ 1081999 h 2043633"/>
                  <a:gd name="connsiteX11" fmla="*/ 217678 w 3020652"/>
                  <a:gd name="connsiteY11" fmla="*/ 1451393 h 2043633"/>
                  <a:gd name="connsiteX12" fmla="*/ 220242 w 3020652"/>
                  <a:gd name="connsiteY12" fmla="*/ 1500181 h 2043633"/>
                  <a:gd name="connsiteX13" fmla="*/ 132369 w 3020652"/>
                  <a:gd name="connsiteY13" fmla="*/ 2043633 h 2043633"/>
                  <a:gd name="connsiteX14" fmla="*/ 118689 w 3020652"/>
                  <a:gd name="connsiteY14" fmla="*/ 2016341 h 2043633"/>
                  <a:gd name="connsiteX15" fmla="*/ 0 w 3020652"/>
                  <a:gd name="connsiteY15" fmla="*/ 1451393 h 2043633"/>
                  <a:gd name="connsiteX16" fmla="*/ 344885 w 3020652"/>
                  <a:gd name="connsiteY16" fmla="*/ 528173 h 2043633"/>
                  <a:gd name="connsiteX17" fmla="*/ 384115 w 3020652"/>
                  <a:gd name="connsiteY17" fmla="*/ 486693 h 2043633"/>
                  <a:gd name="connsiteX18" fmla="*/ 1510326 w 3020652"/>
                  <a:gd name="connsiteY18" fmla="*/ 0 h 2043633"/>
                  <a:gd name="connsiteX19" fmla="*/ 2471034 w 3020652"/>
                  <a:gd name="connsiteY19" fmla="*/ 331427 h 2043633"/>
                  <a:gd name="connsiteX20" fmla="*/ 2474929 w 3020652"/>
                  <a:gd name="connsiteY20" fmla="*/ 334829 h 2043633"/>
                  <a:gd name="connsiteX21" fmla="*/ 2409343 w 3020652"/>
                  <a:gd name="connsiteY21" fmla="*/ 559897 h 2043633"/>
                  <a:gd name="connsiteX22" fmla="*/ 2332570 w 3020652"/>
                  <a:gd name="connsiteY22" fmla="*/ 492845 h 2043633"/>
                  <a:gd name="connsiteX23" fmla="*/ 1510326 w 3020652"/>
                  <a:gd name="connsiteY23" fmla="*/ 209184 h 2043633"/>
                  <a:gd name="connsiteX24" fmla="*/ 688082 w 3020652"/>
                  <a:gd name="connsiteY24" fmla="*/ 492845 h 2043633"/>
                  <a:gd name="connsiteX25" fmla="*/ 630169 w 3020652"/>
                  <a:gd name="connsiteY25" fmla="*/ 543425 h 2043633"/>
                  <a:gd name="connsiteX26" fmla="*/ 566101 w 3020652"/>
                  <a:gd name="connsiteY26" fmla="*/ 319583 h 2043633"/>
                  <a:gd name="connsiteX27" fmla="*/ 665888 w 3020652"/>
                  <a:gd name="connsiteY27" fmla="*/ 247875 h 2043633"/>
                  <a:gd name="connsiteX28" fmla="*/ 1510326 w 3020652"/>
                  <a:gd name="connsiteY28" fmla="*/ 0 h 2043633"/>
                  <a:gd name="connsiteX0" fmla="*/ 2744859 w 3020652"/>
                  <a:gd name="connsiteY0" fmla="*/ 1081999 h 2043633"/>
                  <a:gd name="connsiteX1" fmla="*/ 3020652 w 3020652"/>
                  <a:gd name="connsiteY1" fmla="*/ 1451393 h 2043633"/>
                  <a:gd name="connsiteX2" fmla="*/ 2901963 w 3020652"/>
                  <a:gd name="connsiteY2" fmla="*/ 2016341 h 2043633"/>
                  <a:gd name="connsiteX3" fmla="*/ 2897503 w 3020652"/>
                  <a:gd name="connsiteY3" fmla="*/ 2025239 h 2043633"/>
                  <a:gd name="connsiteX4" fmla="*/ 2802193 w 3020652"/>
                  <a:gd name="connsiteY4" fmla="*/ 1436521 h 2043633"/>
                  <a:gd name="connsiteX5" fmla="*/ 2796300 w 3020652"/>
                  <a:gd name="connsiteY5" fmla="*/ 1324385 h 2043633"/>
                  <a:gd name="connsiteX6" fmla="*/ 2744859 w 3020652"/>
                  <a:gd name="connsiteY6" fmla="*/ 1081999 h 2043633"/>
                  <a:gd name="connsiteX7" fmla="*/ 384115 w 3020652"/>
                  <a:gd name="connsiteY7" fmla="*/ 486693 h 2043633"/>
                  <a:gd name="connsiteX8" fmla="*/ 296760 w 3020652"/>
                  <a:gd name="connsiteY8" fmla="*/ 1026949 h 2043633"/>
                  <a:gd name="connsiteX9" fmla="*/ 275793 w 3020652"/>
                  <a:gd name="connsiteY9" fmla="*/ 1081999 h 2043633"/>
                  <a:gd name="connsiteX10" fmla="*/ 217678 w 3020652"/>
                  <a:gd name="connsiteY10" fmla="*/ 1451393 h 2043633"/>
                  <a:gd name="connsiteX11" fmla="*/ 220242 w 3020652"/>
                  <a:gd name="connsiteY11" fmla="*/ 1500181 h 2043633"/>
                  <a:gd name="connsiteX12" fmla="*/ 132369 w 3020652"/>
                  <a:gd name="connsiteY12" fmla="*/ 2043633 h 2043633"/>
                  <a:gd name="connsiteX13" fmla="*/ 118689 w 3020652"/>
                  <a:gd name="connsiteY13" fmla="*/ 2016341 h 2043633"/>
                  <a:gd name="connsiteX14" fmla="*/ 0 w 3020652"/>
                  <a:gd name="connsiteY14" fmla="*/ 1451393 h 2043633"/>
                  <a:gd name="connsiteX15" fmla="*/ 344885 w 3020652"/>
                  <a:gd name="connsiteY15" fmla="*/ 528173 h 2043633"/>
                  <a:gd name="connsiteX16" fmla="*/ 384115 w 3020652"/>
                  <a:gd name="connsiteY16" fmla="*/ 486693 h 2043633"/>
                  <a:gd name="connsiteX17" fmla="*/ 1510326 w 3020652"/>
                  <a:gd name="connsiteY17" fmla="*/ 0 h 2043633"/>
                  <a:gd name="connsiteX18" fmla="*/ 2471034 w 3020652"/>
                  <a:gd name="connsiteY18" fmla="*/ 331427 h 2043633"/>
                  <a:gd name="connsiteX19" fmla="*/ 2474929 w 3020652"/>
                  <a:gd name="connsiteY19" fmla="*/ 334829 h 2043633"/>
                  <a:gd name="connsiteX20" fmla="*/ 2409343 w 3020652"/>
                  <a:gd name="connsiteY20" fmla="*/ 559897 h 2043633"/>
                  <a:gd name="connsiteX21" fmla="*/ 2332570 w 3020652"/>
                  <a:gd name="connsiteY21" fmla="*/ 492845 h 2043633"/>
                  <a:gd name="connsiteX22" fmla="*/ 1510326 w 3020652"/>
                  <a:gd name="connsiteY22" fmla="*/ 209184 h 2043633"/>
                  <a:gd name="connsiteX23" fmla="*/ 688082 w 3020652"/>
                  <a:gd name="connsiteY23" fmla="*/ 492845 h 2043633"/>
                  <a:gd name="connsiteX24" fmla="*/ 630169 w 3020652"/>
                  <a:gd name="connsiteY24" fmla="*/ 543425 h 2043633"/>
                  <a:gd name="connsiteX25" fmla="*/ 566101 w 3020652"/>
                  <a:gd name="connsiteY25" fmla="*/ 319583 h 2043633"/>
                  <a:gd name="connsiteX26" fmla="*/ 665888 w 3020652"/>
                  <a:gd name="connsiteY26" fmla="*/ 247875 h 2043633"/>
                  <a:gd name="connsiteX27" fmla="*/ 1510326 w 3020652"/>
                  <a:gd name="connsiteY27" fmla="*/ 0 h 2043633"/>
                  <a:gd name="connsiteX0" fmla="*/ 2796300 w 3023749"/>
                  <a:gd name="connsiteY0" fmla="*/ 1324385 h 2043633"/>
                  <a:gd name="connsiteX1" fmla="*/ 3020652 w 3023749"/>
                  <a:gd name="connsiteY1" fmla="*/ 1451393 h 2043633"/>
                  <a:gd name="connsiteX2" fmla="*/ 2901963 w 3023749"/>
                  <a:gd name="connsiteY2" fmla="*/ 2016341 h 2043633"/>
                  <a:gd name="connsiteX3" fmla="*/ 2897503 w 3023749"/>
                  <a:gd name="connsiteY3" fmla="*/ 2025239 h 2043633"/>
                  <a:gd name="connsiteX4" fmla="*/ 2802193 w 3023749"/>
                  <a:gd name="connsiteY4" fmla="*/ 1436521 h 2043633"/>
                  <a:gd name="connsiteX5" fmla="*/ 2796300 w 3023749"/>
                  <a:gd name="connsiteY5" fmla="*/ 1324385 h 2043633"/>
                  <a:gd name="connsiteX6" fmla="*/ 384115 w 3023749"/>
                  <a:gd name="connsiteY6" fmla="*/ 486693 h 2043633"/>
                  <a:gd name="connsiteX7" fmla="*/ 296760 w 3023749"/>
                  <a:gd name="connsiteY7" fmla="*/ 1026949 h 2043633"/>
                  <a:gd name="connsiteX8" fmla="*/ 275793 w 3023749"/>
                  <a:gd name="connsiteY8" fmla="*/ 1081999 h 2043633"/>
                  <a:gd name="connsiteX9" fmla="*/ 217678 w 3023749"/>
                  <a:gd name="connsiteY9" fmla="*/ 1451393 h 2043633"/>
                  <a:gd name="connsiteX10" fmla="*/ 220242 w 3023749"/>
                  <a:gd name="connsiteY10" fmla="*/ 1500181 h 2043633"/>
                  <a:gd name="connsiteX11" fmla="*/ 132369 w 3023749"/>
                  <a:gd name="connsiteY11" fmla="*/ 2043633 h 2043633"/>
                  <a:gd name="connsiteX12" fmla="*/ 118689 w 3023749"/>
                  <a:gd name="connsiteY12" fmla="*/ 2016341 h 2043633"/>
                  <a:gd name="connsiteX13" fmla="*/ 0 w 3023749"/>
                  <a:gd name="connsiteY13" fmla="*/ 1451393 h 2043633"/>
                  <a:gd name="connsiteX14" fmla="*/ 344885 w 3023749"/>
                  <a:gd name="connsiteY14" fmla="*/ 528173 h 2043633"/>
                  <a:gd name="connsiteX15" fmla="*/ 384115 w 3023749"/>
                  <a:gd name="connsiteY15" fmla="*/ 486693 h 2043633"/>
                  <a:gd name="connsiteX16" fmla="*/ 1510326 w 3023749"/>
                  <a:gd name="connsiteY16" fmla="*/ 0 h 2043633"/>
                  <a:gd name="connsiteX17" fmla="*/ 2471034 w 3023749"/>
                  <a:gd name="connsiteY17" fmla="*/ 331427 h 2043633"/>
                  <a:gd name="connsiteX18" fmla="*/ 2474929 w 3023749"/>
                  <a:gd name="connsiteY18" fmla="*/ 334829 h 2043633"/>
                  <a:gd name="connsiteX19" fmla="*/ 2409343 w 3023749"/>
                  <a:gd name="connsiteY19" fmla="*/ 559897 h 2043633"/>
                  <a:gd name="connsiteX20" fmla="*/ 2332570 w 3023749"/>
                  <a:gd name="connsiteY20" fmla="*/ 492845 h 2043633"/>
                  <a:gd name="connsiteX21" fmla="*/ 1510326 w 3023749"/>
                  <a:gd name="connsiteY21" fmla="*/ 209184 h 2043633"/>
                  <a:gd name="connsiteX22" fmla="*/ 688082 w 3023749"/>
                  <a:gd name="connsiteY22" fmla="*/ 492845 h 2043633"/>
                  <a:gd name="connsiteX23" fmla="*/ 630169 w 3023749"/>
                  <a:gd name="connsiteY23" fmla="*/ 543425 h 2043633"/>
                  <a:gd name="connsiteX24" fmla="*/ 566101 w 3023749"/>
                  <a:gd name="connsiteY24" fmla="*/ 319583 h 2043633"/>
                  <a:gd name="connsiteX25" fmla="*/ 665888 w 3023749"/>
                  <a:gd name="connsiteY25" fmla="*/ 247875 h 2043633"/>
                  <a:gd name="connsiteX26" fmla="*/ 1510326 w 3023749"/>
                  <a:gd name="connsiteY26" fmla="*/ 0 h 2043633"/>
                  <a:gd name="connsiteX0" fmla="*/ 2802193 w 3023749"/>
                  <a:gd name="connsiteY0" fmla="*/ 1436521 h 2043633"/>
                  <a:gd name="connsiteX1" fmla="*/ 3020652 w 3023749"/>
                  <a:gd name="connsiteY1" fmla="*/ 1451393 h 2043633"/>
                  <a:gd name="connsiteX2" fmla="*/ 2901963 w 3023749"/>
                  <a:gd name="connsiteY2" fmla="*/ 2016341 h 2043633"/>
                  <a:gd name="connsiteX3" fmla="*/ 2897503 w 3023749"/>
                  <a:gd name="connsiteY3" fmla="*/ 2025239 h 2043633"/>
                  <a:gd name="connsiteX4" fmla="*/ 2802193 w 3023749"/>
                  <a:gd name="connsiteY4" fmla="*/ 1436521 h 2043633"/>
                  <a:gd name="connsiteX5" fmla="*/ 384115 w 3023749"/>
                  <a:gd name="connsiteY5" fmla="*/ 486693 h 2043633"/>
                  <a:gd name="connsiteX6" fmla="*/ 296760 w 3023749"/>
                  <a:gd name="connsiteY6" fmla="*/ 1026949 h 2043633"/>
                  <a:gd name="connsiteX7" fmla="*/ 275793 w 3023749"/>
                  <a:gd name="connsiteY7" fmla="*/ 1081999 h 2043633"/>
                  <a:gd name="connsiteX8" fmla="*/ 217678 w 3023749"/>
                  <a:gd name="connsiteY8" fmla="*/ 1451393 h 2043633"/>
                  <a:gd name="connsiteX9" fmla="*/ 220242 w 3023749"/>
                  <a:gd name="connsiteY9" fmla="*/ 1500181 h 2043633"/>
                  <a:gd name="connsiteX10" fmla="*/ 132369 w 3023749"/>
                  <a:gd name="connsiteY10" fmla="*/ 2043633 h 2043633"/>
                  <a:gd name="connsiteX11" fmla="*/ 118689 w 3023749"/>
                  <a:gd name="connsiteY11" fmla="*/ 2016341 h 2043633"/>
                  <a:gd name="connsiteX12" fmla="*/ 0 w 3023749"/>
                  <a:gd name="connsiteY12" fmla="*/ 1451393 h 2043633"/>
                  <a:gd name="connsiteX13" fmla="*/ 344885 w 3023749"/>
                  <a:gd name="connsiteY13" fmla="*/ 528173 h 2043633"/>
                  <a:gd name="connsiteX14" fmla="*/ 384115 w 3023749"/>
                  <a:gd name="connsiteY14" fmla="*/ 486693 h 2043633"/>
                  <a:gd name="connsiteX15" fmla="*/ 1510326 w 3023749"/>
                  <a:gd name="connsiteY15" fmla="*/ 0 h 2043633"/>
                  <a:gd name="connsiteX16" fmla="*/ 2471034 w 3023749"/>
                  <a:gd name="connsiteY16" fmla="*/ 331427 h 2043633"/>
                  <a:gd name="connsiteX17" fmla="*/ 2474929 w 3023749"/>
                  <a:gd name="connsiteY17" fmla="*/ 334829 h 2043633"/>
                  <a:gd name="connsiteX18" fmla="*/ 2409343 w 3023749"/>
                  <a:gd name="connsiteY18" fmla="*/ 559897 h 2043633"/>
                  <a:gd name="connsiteX19" fmla="*/ 2332570 w 3023749"/>
                  <a:gd name="connsiteY19" fmla="*/ 492845 h 2043633"/>
                  <a:gd name="connsiteX20" fmla="*/ 1510326 w 3023749"/>
                  <a:gd name="connsiteY20" fmla="*/ 209184 h 2043633"/>
                  <a:gd name="connsiteX21" fmla="*/ 688082 w 3023749"/>
                  <a:gd name="connsiteY21" fmla="*/ 492845 h 2043633"/>
                  <a:gd name="connsiteX22" fmla="*/ 630169 w 3023749"/>
                  <a:gd name="connsiteY22" fmla="*/ 543425 h 2043633"/>
                  <a:gd name="connsiteX23" fmla="*/ 566101 w 3023749"/>
                  <a:gd name="connsiteY23" fmla="*/ 319583 h 2043633"/>
                  <a:gd name="connsiteX24" fmla="*/ 665888 w 3023749"/>
                  <a:gd name="connsiteY24" fmla="*/ 247875 h 2043633"/>
                  <a:gd name="connsiteX25" fmla="*/ 1510326 w 3023749"/>
                  <a:gd name="connsiteY25" fmla="*/ 0 h 2043633"/>
                  <a:gd name="connsiteX0" fmla="*/ 2897503 w 3023749"/>
                  <a:gd name="connsiteY0" fmla="*/ 2025239 h 2043633"/>
                  <a:gd name="connsiteX1" fmla="*/ 3020652 w 3023749"/>
                  <a:gd name="connsiteY1" fmla="*/ 1451393 h 2043633"/>
                  <a:gd name="connsiteX2" fmla="*/ 2901963 w 3023749"/>
                  <a:gd name="connsiteY2" fmla="*/ 2016341 h 2043633"/>
                  <a:gd name="connsiteX3" fmla="*/ 2897503 w 3023749"/>
                  <a:gd name="connsiteY3" fmla="*/ 2025239 h 2043633"/>
                  <a:gd name="connsiteX4" fmla="*/ 384115 w 3023749"/>
                  <a:gd name="connsiteY4" fmla="*/ 486693 h 2043633"/>
                  <a:gd name="connsiteX5" fmla="*/ 296760 w 3023749"/>
                  <a:gd name="connsiteY5" fmla="*/ 1026949 h 2043633"/>
                  <a:gd name="connsiteX6" fmla="*/ 275793 w 3023749"/>
                  <a:gd name="connsiteY6" fmla="*/ 1081999 h 2043633"/>
                  <a:gd name="connsiteX7" fmla="*/ 217678 w 3023749"/>
                  <a:gd name="connsiteY7" fmla="*/ 1451393 h 2043633"/>
                  <a:gd name="connsiteX8" fmla="*/ 220242 w 3023749"/>
                  <a:gd name="connsiteY8" fmla="*/ 1500181 h 2043633"/>
                  <a:gd name="connsiteX9" fmla="*/ 132369 w 3023749"/>
                  <a:gd name="connsiteY9" fmla="*/ 2043633 h 2043633"/>
                  <a:gd name="connsiteX10" fmla="*/ 118689 w 3023749"/>
                  <a:gd name="connsiteY10" fmla="*/ 2016341 h 2043633"/>
                  <a:gd name="connsiteX11" fmla="*/ 0 w 3023749"/>
                  <a:gd name="connsiteY11" fmla="*/ 1451393 h 2043633"/>
                  <a:gd name="connsiteX12" fmla="*/ 344885 w 3023749"/>
                  <a:gd name="connsiteY12" fmla="*/ 528173 h 2043633"/>
                  <a:gd name="connsiteX13" fmla="*/ 384115 w 3023749"/>
                  <a:gd name="connsiteY13" fmla="*/ 486693 h 2043633"/>
                  <a:gd name="connsiteX14" fmla="*/ 1510326 w 3023749"/>
                  <a:gd name="connsiteY14" fmla="*/ 0 h 2043633"/>
                  <a:gd name="connsiteX15" fmla="*/ 2471034 w 3023749"/>
                  <a:gd name="connsiteY15" fmla="*/ 331427 h 2043633"/>
                  <a:gd name="connsiteX16" fmla="*/ 2474929 w 3023749"/>
                  <a:gd name="connsiteY16" fmla="*/ 334829 h 2043633"/>
                  <a:gd name="connsiteX17" fmla="*/ 2409343 w 3023749"/>
                  <a:gd name="connsiteY17" fmla="*/ 559897 h 2043633"/>
                  <a:gd name="connsiteX18" fmla="*/ 2332570 w 3023749"/>
                  <a:gd name="connsiteY18" fmla="*/ 492845 h 2043633"/>
                  <a:gd name="connsiteX19" fmla="*/ 1510326 w 3023749"/>
                  <a:gd name="connsiteY19" fmla="*/ 209184 h 2043633"/>
                  <a:gd name="connsiteX20" fmla="*/ 688082 w 3023749"/>
                  <a:gd name="connsiteY20" fmla="*/ 492845 h 2043633"/>
                  <a:gd name="connsiteX21" fmla="*/ 630169 w 3023749"/>
                  <a:gd name="connsiteY21" fmla="*/ 543425 h 2043633"/>
                  <a:gd name="connsiteX22" fmla="*/ 566101 w 3023749"/>
                  <a:gd name="connsiteY22" fmla="*/ 319583 h 2043633"/>
                  <a:gd name="connsiteX23" fmla="*/ 665888 w 3023749"/>
                  <a:gd name="connsiteY23" fmla="*/ 247875 h 2043633"/>
                  <a:gd name="connsiteX24" fmla="*/ 1510326 w 3023749"/>
                  <a:gd name="connsiteY24" fmla="*/ 0 h 2043633"/>
                  <a:gd name="connsiteX0" fmla="*/ 2897503 w 2901963"/>
                  <a:gd name="connsiteY0" fmla="*/ 2025239 h 2043633"/>
                  <a:gd name="connsiteX1" fmla="*/ 2901963 w 2901963"/>
                  <a:gd name="connsiteY1" fmla="*/ 2016341 h 2043633"/>
                  <a:gd name="connsiteX2" fmla="*/ 2897503 w 2901963"/>
                  <a:gd name="connsiteY2" fmla="*/ 2025239 h 2043633"/>
                  <a:gd name="connsiteX3" fmla="*/ 384115 w 2901963"/>
                  <a:gd name="connsiteY3" fmla="*/ 486693 h 2043633"/>
                  <a:gd name="connsiteX4" fmla="*/ 296760 w 2901963"/>
                  <a:gd name="connsiteY4" fmla="*/ 1026949 h 2043633"/>
                  <a:gd name="connsiteX5" fmla="*/ 275793 w 2901963"/>
                  <a:gd name="connsiteY5" fmla="*/ 1081999 h 2043633"/>
                  <a:gd name="connsiteX6" fmla="*/ 217678 w 2901963"/>
                  <a:gd name="connsiteY6" fmla="*/ 1451393 h 2043633"/>
                  <a:gd name="connsiteX7" fmla="*/ 220242 w 2901963"/>
                  <a:gd name="connsiteY7" fmla="*/ 1500181 h 2043633"/>
                  <a:gd name="connsiteX8" fmla="*/ 132369 w 2901963"/>
                  <a:gd name="connsiteY8" fmla="*/ 2043633 h 2043633"/>
                  <a:gd name="connsiteX9" fmla="*/ 118689 w 2901963"/>
                  <a:gd name="connsiteY9" fmla="*/ 2016341 h 2043633"/>
                  <a:gd name="connsiteX10" fmla="*/ 0 w 2901963"/>
                  <a:gd name="connsiteY10" fmla="*/ 1451393 h 2043633"/>
                  <a:gd name="connsiteX11" fmla="*/ 344885 w 2901963"/>
                  <a:gd name="connsiteY11" fmla="*/ 528173 h 2043633"/>
                  <a:gd name="connsiteX12" fmla="*/ 384115 w 2901963"/>
                  <a:gd name="connsiteY12" fmla="*/ 486693 h 2043633"/>
                  <a:gd name="connsiteX13" fmla="*/ 1510326 w 2901963"/>
                  <a:gd name="connsiteY13" fmla="*/ 0 h 2043633"/>
                  <a:gd name="connsiteX14" fmla="*/ 2471034 w 2901963"/>
                  <a:gd name="connsiteY14" fmla="*/ 331427 h 2043633"/>
                  <a:gd name="connsiteX15" fmla="*/ 2474929 w 2901963"/>
                  <a:gd name="connsiteY15" fmla="*/ 334829 h 2043633"/>
                  <a:gd name="connsiteX16" fmla="*/ 2409343 w 2901963"/>
                  <a:gd name="connsiteY16" fmla="*/ 559897 h 2043633"/>
                  <a:gd name="connsiteX17" fmla="*/ 2332570 w 2901963"/>
                  <a:gd name="connsiteY17" fmla="*/ 492845 h 2043633"/>
                  <a:gd name="connsiteX18" fmla="*/ 1510326 w 2901963"/>
                  <a:gd name="connsiteY18" fmla="*/ 209184 h 2043633"/>
                  <a:gd name="connsiteX19" fmla="*/ 688082 w 2901963"/>
                  <a:gd name="connsiteY19" fmla="*/ 492845 h 2043633"/>
                  <a:gd name="connsiteX20" fmla="*/ 630169 w 2901963"/>
                  <a:gd name="connsiteY20" fmla="*/ 543425 h 2043633"/>
                  <a:gd name="connsiteX21" fmla="*/ 566101 w 2901963"/>
                  <a:gd name="connsiteY21" fmla="*/ 319583 h 2043633"/>
                  <a:gd name="connsiteX22" fmla="*/ 665888 w 2901963"/>
                  <a:gd name="connsiteY22" fmla="*/ 247875 h 2043633"/>
                  <a:gd name="connsiteX23" fmla="*/ 1510326 w 2901963"/>
                  <a:gd name="connsiteY23" fmla="*/ 0 h 2043633"/>
                  <a:gd name="connsiteX0" fmla="*/ 384115 w 2474929"/>
                  <a:gd name="connsiteY0" fmla="*/ 486693 h 2043633"/>
                  <a:gd name="connsiteX1" fmla="*/ 296760 w 2474929"/>
                  <a:gd name="connsiteY1" fmla="*/ 1026949 h 2043633"/>
                  <a:gd name="connsiteX2" fmla="*/ 275793 w 2474929"/>
                  <a:gd name="connsiteY2" fmla="*/ 1081999 h 2043633"/>
                  <a:gd name="connsiteX3" fmla="*/ 217678 w 2474929"/>
                  <a:gd name="connsiteY3" fmla="*/ 1451393 h 2043633"/>
                  <a:gd name="connsiteX4" fmla="*/ 220242 w 2474929"/>
                  <a:gd name="connsiteY4" fmla="*/ 1500181 h 2043633"/>
                  <a:gd name="connsiteX5" fmla="*/ 132369 w 2474929"/>
                  <a:gd name="connsiteY5" fmla="*/ 2043633 h 2043633"/>
                  <a:gd name="connsiteX6" fmla="*/ 118689 w 2474929"/>
                  <a:gd name="connsiteY6" fmla="*/ 2016341 h 2043633"/>
                  <a:gd name="connsiteX7" fmla="*/ 0 w 2474929"/>
                  <a:gd name="connsiteY7" fmla="*/ 1451393 h 2043633"/>
                  <a:gd name="connsiteX8" fmla="*/ 344885 w 2474929"/>
                  <a:gd name="connsiteY8" fmla="*/ 528173 h 2043633"/>
                  <a:gd name="connsiteX9" fmla="*/ 384115 w 2474929"/>
                  <a:gd name="connsiteY9" fmla="*/ 486693 h 2043633"/>
                  <a:gd name="connsiteX10" fmla="*/ 1510326 w 2474929"/>
                  <a:gd name="connsiteY10" fmla="*/ 0 h 2043633"/>
                  <a:gd name="connsiteX11" fmla="*/ 2471034 w 2474929"/>
                  <a:gd name="connsiteY11" fmla="*/ 331427 h 2043633"/>
                  <a:gd name="connsiteX12" fmla="*/ 2474929 w 2474929"/>
                  <a:gd name="connsiteY12" fmla="*/ 334829 h 2043633"/>
                  <a:gd name="connsiteX13" fmla="*/ 2409343 w 2474929"/>
                  <a:gd name="connsiteY13" fmla="*/ 559897 h 2043633"/>
                  <a:gd name="connsiteX14" fmla="*/ 2332570 w 2474929"/>
                  <a:gd name="connsiteY14" fmla="*/ 492845 h 2043633"/>
                  <a:gd name="connsiteX15" fmla="*/ 1510326 w 2474929"/>
                  <a:gd name="connsiteY15" fmla="*/ 209184 h 2043633"/>
                  <a:gd name="connsiteX16" fmla="*/ 688082 w 2474929"/>
                  <a:gd name="connsiteY16" fmla="*/ 492845 h 2043633"/>
                  <a:gd name="connsiteX17" fmla="*/ 630169 w 2474929"/>
                  <a:gd name="connsiteY17" fmla="*/ 543425 h 2043633"/>
                  <a:gd name="connsiteX18" fmla="*/ 566101 w 2474929"/>
                  <a:gd name="connsiteY18" fmla="*/ 319583 h 2043633"/>
                  <a:gd name="connsiteX19" fmla="*/ 665888 w 2474929"/>
                  <a:gd name="connsiteY19" fmla="*/ 247875 h 2043633"/>
                  <a:gd name="connsiteX20" fmla="*/ 1510326 w 2474929"/>
                  <a:gd name="connsiteY20" fmla="*/ 0 h 2043633"/>
                  <a:gd name="connsiteX0" fmla="*/ 384115 w 2474929"/>
                  <a:gd name="connsiteY0" fmla="*/ 486693 h 2043633"/>
                  <a:gd name="connsiteX1" fmla="*/ 296760 w 2474929"/>
                  <a:gd name="connsiteY1" fmla="*/ 1026949 h 2043633"/>
                  <a:gd name="connsiteX2" fmla="*/ 275793 w 2474929"/>
                  <a:gd name="connsiteY2" fmla="*/ 1081999 h 2043633"/>
                  <a:gd name="connsiteX3" fmla="*/ 217678 w 2474929"/>
                  <a:gd name="connsiteY3" fmla="*/ 1451393 h 2043633"/>
                  <a:gd name="connsiteX4" fmla="*/ 220242 w 2474929"/>
                  <a:gd name="connsiteY4" fmla="*/ 1500181 h 2043633"/>
                  <a:gd name="connsiteX5" fmla="*/ 132369 w 2474929"/>
                  <a:gd name="connsiteY5" fmla="*/ 2043633 h 2043633"/>
                  <a:gd name="connsiteX6" fmla="*/ 0 w 2474929"/>
                  <a:gd name="connsiteY6" fmla="*/ 1451393 h 2043633"/>
                  <a:gd name="connsiteX7" fmla="*/ 344885 w 2474929"/>
                  <a:gd name="connsiteY7" fmla="*/ 528173 h 2043633"/>
                  <a:gd name="connsiteX8" fmla="*/ 384115 w 2474929"/>
                  <a:gd name="connsiteY8" fmla="*/ 486693 h 2043633"/>
                  <a:gd name="connsiteX9" fmla="*/ 1510326 w 2474929"/>
                  <a:gd name="connsiteY9" fmla="*/ 0 h 2043633"/>
                  <a:gd name="connsiteX10" fmla="*/ 2471034 w 2474929"/>
                  <a:gd name="connsiteY10" fmla="*/ 331427 h 2043633"/>
                  <a:gd name="connsiteX11" fmla="*/ 2474929 w 2474929"/>
                  <a:gd name="connsiteY11" fmla="*/ 334829 h 2043633"/>
                  <a:gd name="connsiteX12" fmla="*/ 2409343 w 2474929"/>
                  <a:gd name="connsiteY12" fmla="*/ 559897 h 2043633"/>
                  <a:gd name="connsiteX13" fmla="*/ 2332570 w 2474929"/>
                  <a:gd name="connsiteY13" fmla="*/ 492845 h 2043633"/>
                  <a:gd name="connsiteX14" fmla="*/ 1510326 w 2474929"/>
                  <a:gd name="connsiteY14" fmla="*/ 209184 h 2043633"/>
                  <a:gd name="connsiteX15" fmla="*/ 688082 w 2474929"/>
                  <a:gd name="connsiteY15" fmla="*/ 492845 h 2043633"/>
                  <a:gd name="connsiteX16" fmla="*/ 630169 w 2474929"/>
                  <a:gd name="connsiteY16" fmla="*/ 543425 h 2043633"/>
                  <a:gd name="connsiteX17" fmla="*/ 566101 w 2474929"/>
                  <a:gd name="connsiteY17" fmla="*/ 319583 h 2043633"/>
                  <a:gd name="connsiteX18" fmla="*/ 665888 w 2474929"/>
                  <a:gd name="connsiteY18" fmla="*/ 247875 h 2043633"/>
                  <a:gd name="connsiteX19" fmla="*/ 1510326 w 2474929"/>
                  <a:gd name="connsiteY19" fmla="*/ 0 h 2043633"/>
                  <a:gd name="connsiteX0" fmla="*/ 384115 w 2474929"/>
                  <a:gd name="connsiteY0" fmla="*/ 486693 h 1500181"/>
                  <a:gd name="connsiteX1" fmla="*/ 296760 w 2474929"/>
                  <a:gd name="connsiteY1" fmla="*/ 1026949 h 1500181"/>
                  <a:gd name="connsiteX2" fmla="*/ 275793 w 2474929"/>
                  <a:gd name="connsiteY2" fmla="*/ 1081999 h 1500181"/>
                  <a:gd name="connsiteX3" fmla="*/ 217678 w 2474929"/>
                  <a:gd name="connsiteY3" fmla="*/ 1451393 h 1500181"/>
                  <a:gd name="connsiteX4" fmla="*/ 220242 w 2474929"/>
                  <a:gd name="connsiteY4" fmla="*/ 1500181 h 1500181"/>
                  <a:gd name="connsiteX5" fmla="*/ 0 w 2474929"/>
                  <a:gd name="connsiteY5" fmla="*/ 1451393 h 1500181"/>
                  <a:gd name="connsiteX6" fmla="*/ 344885 w 2474929"/>
                  <a:gd name="connsiteY6" fmla="*/ 528173 h 1500181"/>
                  <a:gd name="connsiteX7" fmla="*/ 384115 w 2474929"/>
                  <a:gd name="connsiteY7" fmla="*/ 486693 h 1500181"/>
                  <a:gd name="connsiteX8" fmla="*/ 1510326 w 2474929"/>
                  <a:gd name="connsiteY8" fmla="*/ 0 h 1500181"/>
                  <a:gd name="connsiteX9" fmla="*/ 2471034 w 2474929"/>
                  <a:gd name="connsiteY9" fmla="*/ 331427 h 1500181"/>
                  <a:gd name="connsiteX10" fmla="*/ 2474929 w 2474929"/>
                  <a:gd name="connsiteY10" fmla="*/ 334829 h 1500181"/>
                  <a:gd name="connsiteX11" fmla="*/ 2409343 w 2474929"/>
                  <a:gd name="connsiteY11" fmla="*/ 559897 h 1500181"/>
                  <a:gd name="connsiteX12" fmla="*/ 2332570 w 2474929"/>
                  <a:gd name="connsiteY12" fmla="*/ 492845 h 1500181"/>
                  <a:gd name="connsiteX13" fmla="*/ 1510326 w 2474929"/>
                  <a:gd name="connsiteY13" fmla="*/ 209184 h 1500181"/>
                  <a:gd name="connsiteX14" fmla="*/ 688082 w 2474929"/>
                  <a:gd name="connsiteY14" fmla="*/ 492845 h 1500181"/>
                  <a:gd name="connsiteX15" fmla="*/ 630169 w 2474929"/>
                  <a:gd name="connsiteY15" fmla="*/ 543425 h 1500181"/>
                  <a:gd name="connsiteX16" fmla="*/ 566101 w 2474929"/>
                  <a:gd name="connsiteY16" fmla="*/ 319583 h 1500181"/>
                  <a:gd name="connsiteX17" fmla="*/ 665888 w 2474929"/>
                  <a:gd name="connsiteY17" fmla="*/ 247875 h 1500181"/>
                  <a:gd name="connsiteX18" fmla="*/ 1510326 w 2474929"/>
                  <a:gd name="connsiteY18" fmla="*/ 0 h 1500181"/>
                  <a:gd name="connsiteX0" fmla="*/ 384115 w 2474929"/>
                  <a:gd name="connsiteY0" fmla="*/ 486693 h 1451393"/>
                  <a:gd name="connsiteX1" fmla="*/ 296760 w 2474929"/>
                  <a:gd name="connsiteY1" fmla="*/ 1026949 h 1451393"/>
                  <a:gd name="connsiteX2" fmla="*/ 275793 w 2474929"/>
                  <a:gd name="connsiteY2" fmla="*/ 1081999 h 1451393"/>
                  <a:gd name="connsiteX3" fmla="*/ 217678 w 2474929"/>
                  <a:gd name="connsiteY3" fmla="*/ 1451393 h 1451393"/>
                  <a:gd name="connsiteX4" fmla="*/ 0 w 2474929"/>
                  <a:gd name="connsiteY4" fmla="*/ 1451393 h 1451393"/>
                  <a:gd name="connsiteX5" fmla="*/ 344885 w 2474929"/>
                  <a:gd name="connsiteY5" fmla="*/ 528173 h 1451393"/>
                  <a:gd name="connsiteX6" fmla="*/ 384115 w 2474929"/>
                  <a:gd name="connsiteY6" fmla="*/ 486693 h 1451393"/>
                  <a:gd name="connsiteX7" fmla="*/ 1510326 w 2474929"/>
                  <a:gd name="connsiteY7" fmla="*/ 0 h 1451393"/>
                  <a:gd name="connsiteX8" fmla="*/ 2471034 w 2474929"/>
                  <a:gd name="connsiteY8" fmla="*/ 331427 h 1451393"/>
                  <a:gd name="connsiteX9" fmla="*/ 2474929 w 2474929"/>
                  <a:gd name="connsiteY9" fmla="*/ 334829 h 1451393"/>
                  <a:gd name="connsiteX10" fmla="*/ 2409343 w 2474929"/>
                  <a:gd name="connsiteY10" fmla="*/ 559897 h 1451393"/>
                  <a:gd name="connsiteX11" fmla="*/ 2332570 w 2474929"/>
                  <a:gd name="connsiteY11" fmla="*/ 492845 h 1451393"/>
                  <a:gd name="connsiteX12" fmla="*/ 1510326 w 2474929"/>
                  <a:gd name="connsiteY12" fmla="*/ 209184 h 1451393"/>
                  <a:gd name="connsiteX13" fmla="*/ 688082 w 2474929"/>
                  <a:gd name="connsiteY13" fmla="*/ 492845 h 1451393"/>
                  <a:gd name="connsiteX14" fmla="*/ 630169 w 2474929"/>
                  <a:gd name="connsiteY14" fmla="*/ 543425 h 1451393"/>
                  <a:gd name="connsiteX15" fmla="*/ 566101 w 2474929"/>
                  <a:gd name="connsiteY15" fmla="*/ 319583 h 1451393"/>
                  <a:gd name="connsiteX16" fmla="*/ 665888 w 2474929"/>
                  <a:gd name="connsiteY16" fmla="*/ 247875 h 1451393"/>
                  <a:gd name="connsiteX17" fmla="*/ 1510326 w 2474929"/>
                  <a:gd name="connsiteY17" fmla="*/ 0 h 1451393"/>
                  <a:gd name="connsiteX0" fmla="*/ 384519 w 2475333"/>
                  <a:gd name="connsiteY0" fmla="*/ 486693 h 1465415"/>
                  <a:gd name="connsiteX1" fmla="*/ 297164 w 2475333"/>
                  <a:gd name="connsiteY1" fmla="*/ 1026949 h 1465415"/>
                  <a:gd name="connsiteX2" fmla="*/ 276197 w 2475333"/>
                  <a:gd name="connsiteY2" fmla="*/ 1081999 h 1465415"/>
                  <a:gd name="connsiteX3" fmla="*/ 404 w 2475333"/>
                  <a:gd name="connsiteY3" fmla="*/ 1451393 h 1465415"/>
                  <a:gd name="connsiteX4" fmla="*/ 345289 w 2475333"/>
                  <a:gd name="connsiteY4" fmla="*/ 528173 h 1465415"/>
                  <a:gd name="connsiteX5" fmla="*/ 384519 w 2475333"/>
                  <a:gd name="connsiteY5" fmla="*/ 486693 h 1465415"/>
                  <a:gd name="connsiteX6" fmla="*/ 1510730 w 2475333"/>
                  <a:gd name="connsiteY6" fmla="*/ 0 h 1465415"/>
                  <a:gd name="connsiteX7" fmla="*/ 2471438 w 2475333"/>
                  <a:gd name="connsiteY7" fmla="*/ 331427 h 1465415"/>
                  <a:gd name="connsiteX8" fmla="*/ 2475333 w 2475333"/>
                  <a:gd name="connsiteY8" fmla="*/ 334829 h 1465415"/>
                  <a:gd name="connsiteX9" fmla="*/ 2409747 w 2475333"/>
                  <a:gd name="connsiteY9" fmla="*/ 559897 h 1465415"/>
                  <a:gd name="connsiteX10" fmla="*/ 2332974 w 2475333"/>
                  <a:gd name="connsiteY10" fmla="*/ 492845 h 1465415"/>
                  <a:gd name="connsiteX11" fmla="*/ 1510730 w 2475333"/>
                  <a:gd name="connsiteY11" fmla="*/ 209184 h 1465415"/>
                  <a:gd name="connsiteX12" fmla="*/ 688486 w 2475333"/>
                  <a:gd name="connsiteY12" fmla="*/ 492845 h 1465415"/>
                  <a:gd name="connsiteX13" fmla="*/ 630573 w 2475333"/>
                  <a:gd name="connsiteY13" fmla="*/ 543425 h 1465415"/>
                  <a:gd name="connsiteX14" fmla="*/ 566505 w 2475333"/>
                  <a:gd name="connsiteY14" fmla="*/ 319583 h 1465415"/>
                  <a:gd name="connsiteX15" fmla="*/ 666292 w 2475333"/>
                  <a:gd name="connsiteY15" fmla="*/ 247875 h 1465415"/>
                  <a:gd name="connsiteX16" fmla="*/ 1510730 w 2475333"/>
                  <a:gd name="connsiteY16" fmla="*/ 0 h 1465415"/>
                  <a:gd name="connsiteX0" fmla="*/ 108322 w 2199136"/>
                  <a:gd name="connsiteY0" fmla="*/ 486693 h 1081999"/>
                  <a:gd name="connsiteX1" fmla="*/ 20967 w 2199136"/>
                  <a:gd name="connsiteY1" fmla="*/ 1026949 h 1081999"/>
                  <a:gd name="connsiteX2" fmla="*/ 0 w 2199136"/>
                  <a:gd name="connsiteY2" fmla="*/ 1081999 h 1081999"/>
                  <a:gd name="connsiteX3" fmla="*/ 69092 w 2199136"/>
                  <a:gd name="connsiteY3" fmla="*/ 528173 h 1081999"/>
                  <a:gd name="connsiteX4" fmla="*/ 108322 w 2199136"/>
                  <a:gd name="connsiteY4" fmla="*/ 486693 h 1081999"/>
                  <a:gd name="connsiteX5" fmla="*/ 1234533 w 2199136"/>
                  <a:gd name="connsiteY5" fmla="*/ 0 h 1081999"/>
                  <a:gd name="connsiteX6" fmla="*/ 2195241 w 2199136"/>
                  <a:gd name="connsiteY6" fmla="*/ 331427 h 1081999"/>
                  <a:gd name="connsiteX7" fmla="*/ 2199136 w 2199136"/>
                  <a:gd name="connsiteY7" fmla="*/ 334829 h 1081999"/>
                  <a:gd name="connsiteX8" fmla="*/ 2133550 w 2199136"/>
                  <a:gd name="connsiteY8" fmla="*/ 559897 h 1081999"/>
                  <a:gd name="connsiteX9" fmla="*/ 2056777 w 2199136"/>
                  <a:gd name="connsiteY9" fmla="*/ 492845 h 1081999"/>
                  <a:gd name="connsiteX10" fmla="*/ 1234533 w 2199136"/>
                  <a:gd name="connsiteY10" fmla="*/ 209184 h 1081999"/>
                  <a:gd name="connsiteX11" fmla="*/ 412289 w 2199136"/>
                  <a:gd name="connsiteY11" fmla="*/ 492845 h 1081999"/>
                  <a:gd name="connsiteX12" fmla="*/ 354376 w 2199136"/>
                  <a:gd name="connsiteY12" fmla="*/ 543425 h 1081999"/>
                  <a:gd name="connsiteX13" fmla="*/ 290308 w 2199136"/>
                  <a:gd name="connsiteY13" fmla="*/ 319583 h 1081999"/>
                  <a:gd name="connsiteX14" fmla="*/ 390095 w 2199136"/>
                  <a:gd name="connsiteY14" fmla="*/ 247875 h 1081999"/>
                  <a:gd name="connsiteX15" fmla="*/ 1234533 w 2199136"/>
                  <a:gd name="connsiteY15" fmla="*/ 0 h 1081999"/>
                  <a:gd name="connsiteX0" fmla="*/ 108322 w 2199136"/>
                  <a:gd name="connsiteY0" fmla="*/ 486693 h 1081999"/>
                  <a:gd name="connsiteX1" fmla="*/ 0 w 2199136"/>
                  <a:gd name="connsiteY1" fmla="*/ 1081999 h 1081999"/>
                  <a:gd name="connsiteX2" fmla="*/ 69092 w 2199136"/>
                  <a:gd name="connsiteY2" fmla="*/ 528173 h 1081999"/>
                  <a:gd name="connsiteX3" fmla="*/ 108322 w 2199136"/>
                  <a:gd name="connsiteY3" fmla="*/ 486693 h 1081999"/>
                  <a:gd name="connsiteX4" fmla="*/ 1234533 w 2199136"/>
                  <a:gd name="connsiteY4" fmla="*/ 0 h 1081999"/>
                  <a:gd name="connsiteX5" fmla="*/ 2195241 w 2199136"/>
                  <a:gd name="connsiteY5" fmla="*/ 331427 h 1081999"/>
                  <a:gd name="connsiteX6" fmla="*/ 2199136 w 2199136"/>
                  <a:gd name="connsiteY6" fmla="*/ 334829 h 1081999"/>
                  <a:gd name="connsiteX7" fmla="*/ 2133550 w 2199136"/>
                  <a:gd name="connsiteY7" fmla="*/ 559897 h 1081999"/>
                  <a:gd name="connsiteX8" fmla="*/ 2056777 w 2199136"/>
                  <a:gd name="connsiteY8" fmla="*/ 492845 h 1081999"/>
                  <a:gd name="connsiteX9" fmla="*/ 1234533 w 2199136"/>
                  <a:gd name="connsiteY9" fmla="*/ 209184 h 1081999"/>
                  <a:gd name="connsiteX10" fmla="*/ 412289 w 2199136"/>
                  <a:gd name="connsiteY10" fmla="*/ 492845 h 1081999"/>
                  <a:gd name="connsiteX11" fmla="*/ 354376 w 2199136"/>
                  <a:gd name="connsiteY11" fmla="*/ 543425 h 1081999"/>
                  <a:gd name="connsiteX12" fmla="*/ 290308 w 2199136"/>
                  <a:gd name="connsiteY12" fmla="*/ 319583 h 1081999"/>
                  <a:gd name="connsiteX13" fmla="*/ 390095 w 2199136"/>
                  <a:gd name="connsiteY13" fmla="*/ 247875 h 1081999"/>
                  <a:gd name="connsiteX14" fmla="*/ 1234533 w 2199136"/>
                  <a:gd name="connsiteY14" fmla="*/ 0 h 1081999"/>
                  <a:gd name="connsiteX0" fmla="*/ 39230 w 2130044"/>
                  <a:gd name="connsiteY0" fmla="*/ 486693 h 559897"/>
                  <a:gd name="connsiteX1" fmla="*/ 0 w 2130044"/>
                  <a:gd name="connsiteY1" fmla="*/ 528173 h 559897"/>
                  <a:gd name="connsiteX2" fmla="*/ 39230 w 2130044"/>
                  <a:gd name="connsiteY2" fmla="*/ 486693 h 559897"/>
                  <a:gd name="connsiteX3" fmla="*/ 1165441 w 2130044"/>
                  <a:gd name="connsiteY3" fmla="*/ 0 h 559897"/>
                  <a:gd name="connsiteX4" fmla="*/ 2126149 w 2130044"/>
                  <a:gd name="connsiteY4" fmla="*/ 331427 h 559897"/>
                  <a:gd name="connsiteX5" fmla="*/ 2130044 w 2130044"/>
                  <a:gd name="connsiteY5" fmla="*/ 334829 h 559897"/>
                  <a:gd name="connsiteX6" fmla="*/ 2064458 w 2130044"/>
                  <a:gd name="connsiteY6" fmla="*/ 559897 h 559897"/>
                  <a:gd name="connsiteX7" fmla="*/ 1987685 w 2130044"/>
                  <a:gd name="connsiteY7" fmla="*/ 492845 h 559897"/>
                  <a:gd name="connsiteX8" fmla="*/ 1165441 w 2130044"/>
                  <a:gd name="connsiteY8" fmla="*/ 209184 h 559897"/>
                  <a:gd name="connsiteX9" fmla="*/ 343197 w 2130044"/>
                  <a:gd name="connsiteY9" fmla="*/ 492845 h 559897"/>
                  <a:gd name="connsiteX10" fmla="*/ 285284 w 2130044"/>
                  <a:gd name="connsiteY10" fmla="*/ 543425 h 559897"/>
                  <a:gd name="connsiteX11" fmla="*/ 221216 w 2130044"/>
                  <a:gd name="connsiteY11" fmla="*/ 319583 h 559897"/>
                  <a:gd name="connsiteX12" fmla="*/ 321003 w 2130044"/>
                  <a:gd name="connsiteY12" fmla="*/ 247875 h 559897"/>
                  <a:gd name="connsiteX13" fmla="*/ 1165441 w 2130044"/>
                  <a:gd name="connsiteY13" fmla="*/ 0 h 559897"/>
                  <a:gd name="connsiteX0" fmla="*/ 944225 w 1908828"/>
                  <a:gd name="connsiteY0" fmla="*/ 0 h 559897"/>
                  <a:gd name="connsiteX1" fmla="*/ 1904933 w 1908828"/>
                  <a:gd name="connsiteY1" fmla="*/ 331427 h 559897"/>
                  <a:gd name="connsiteX2" fmla="*/ 1908828 w 1908828"/>
                  <a:gd name="connsiteY2" fmla="*/ 334829 h 559897"/>
                  <a:gd name="connsiteX3" fmla="*/ 1843242 w 1908828"/>
                  <a:gd name="connsiteY3" fmla="*/ 559897 h 559897"/>
                  <a:gd name="connsiteX4" fmla="*/ 1766469 w 1908828"/>
                  <a:gd name="connsiteY4" fmla="*/ 492845 h 559897"/>
                  <a:gd name="connsiteX5" fmla="*/ 944225 w 1908828"/>
                  <a:gd name="connsiteY5" fmla="*/ 209184 h 559897"/>
                  <a:gd name="connsiteX6" fmla="*/ 121981 w 1908828"/>
                  <a:gd name="connsiteY6" fmla="*/ 492845 h 559897"/>
                  <a:gd name="connsiteX7" fmla="*/ 64068 w 1908828"/>
                  <a:gd name="connsiteY7" fmla="*/ 543425 h 559897"/>
                  <a:gd name="connsiteX8" fmla="*/ 0 w 1908828"/>
                  <a:gd name="connsiteY8" fmla="*/ 319583 h 559897"/>
                  <a:gd name="connsiteX9" fmla="*/ 99787 w 1908828"/>
                  <a:gd name="connsiteY9" fmla="*/ 247875 h 559897"/>
                  <a:gd name="connsiteX10" fmla="*/ 944225 w 1908828"/>
                  <a:gd name="connsiteY10" fmla="*/ 0 h 559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908828" h="559897">
                    <a:moveTo>
                      <a:pt x="944225" y="0"/>
                    </a:moveTo>
                    <a:cubicBezTo>
                      <a:pt x="1309157" y="0"/>
                      <a:pt x="1643859" y="124378"/>
                      <a:pt x="1904933" y="331427"/>
                    </a:cubicBezTo>
                    <a:lnTo>
                      <a:pt x="1908828" y="334829"/>
                    </a:lnTo>
                    <a:lnTo>
                      <a:pt x="1843242" y="559897"/>
                    </a:lnTo>
                    <a:lnTo>
                      <a:pt x="1766469" y="492845"/>
                    </a:lnTo>
                    <a:cubicBezTo>
                      <a:pt x="1543023" y="315635"/>
                      <a:pt x="1256561" y="209184"/>
                      <a:pt x="944225" y="209184"/>
                    </a:cubicBezTo>
                    <a:cubicBezTo>
                      <a:pt x="631889" y="209184"/>
                      <a:pt x="345427" y="315635"/>
                      <a:pt x="121981" y="492845"/>
                    </a:cubicBezTo>
                    <a:lnTo>
                      <a:pt x="64068" y="543425"/>
                    </a:lnTo>
                    <a:lnTo>
                      <a:pt x="0" y="319583"/>
                    </a:lnTo>
                    <a:lnTo>
                      <a:pt x="99787" y="247875"/>
                    </a:lnTo>
                    <a:cubicBezTo>
                      <a:pt x="340837" y="91380"/>
                      <a:pt x="631426" y="0"/>
                      <a:pt x="944225" y="0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519970">
                  <a:defRPr/>
                </a:pPr>
                <a:endParaRPr lang="en-US" sz="1842" kern="0">
                  <a:solidFill>
                    <a:prstClr val="white"/>
                  </a:solidFill>
                  <a:latin typeface="Calibri"/>
                </a:endParaRPr>
              </a:p>
            </p:txBody>
          </p:sp>
        </p:grpSp>
        <p:grpSp>
          <p:nvGrpSpPr>
            <p:cNvPr id="567" name="Group 204"/>
            <p:cNvGrpSpPr/>
            <p:nvPr/>
          </p:nvGrpSpPr>
          <p:grpSpPr>
            <a:xfrm>
              <a:off x="1282752" y="4938098"/>
              <a:ext cx="1451258" cy="1449504"/>
              <a:chOff x="11961036" y="14854279"/>
              <a:chExt cx="6135815" cy="6128401"/>
            </a:xfrm>
            <a:grpFill/>
          </p:grpSpPr>
          <p:sp>
            <p:nvSpPr>
              <p:cNvPr id="568" name="Freeform 205"/>
              <p:cNvSpPr/>
              <p:nvPr/>
            </p:nvSpPr>
            <p:spPr>
              <a:xfrm>
                <a:off x="12770891" y="14854279"/>
                <a:ext cx="4477588" cy="6128401"/>
              </a:xfrm>
              <a:custGeom>
                <a:avLst/>
                <a:gdLst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3253261 w 4477595"/>
                  <a:gd name="connsiteY17" fmla="*/ 3754007 h 6128401"/>
                  <a:gd name="connsiteX18" fmla="*/ 3242716 w 4477595"/>
                  <a:gd name="connsiteY18" fmla="*/ 3753945 h 6128401"/>
                  <a:gd name="connsiteX19" fmla="*/ 3255265 w 4477595"/>
                  <a:gd name="connsiteY19" fmla="*/ 3746321 h 6128401"/>
                  <a:gd name="connsiteX20" fmla="*/ 4056807 w 4477595"/>
                  <a:gd name="connsiteY20" fmla="*/ 2238797 h 6128401"/>
                  <a:gd name="connsiteX21" fmla="*/ 2238798 w 4477595"/>
                  <a:gd name="connsiteY21" fmla="*/ 420786 h 6128401"/>
                  <a:gd name="connsiteX22" fmla="*/ 2238797 w 4477595"/>
                  <a:gd name="connsiteY22" fmla="*/ 0 h 6128401"/>
                  <a:gd name="connsiteX23" fmla="*/ 4477595 w 4477595"/>
                  <a:gd name="connsiteY23" fmla="*/ 2238797 h 6128401"/>
                  <a:gd name="connsiteX24" fmla="*/ 3305941 w 4477595"/>
                  <a:gd name="connsiteY24" fmla="*/ 4207383 h 6128401"/>
                  <a:gd name="connsiteX25" fmla="*/ 3243251 w 4477595"/>
                  <a:gd name="connsiteY25" fmla="*/ 4439941 h 6128401"/>
                  <a:gd name="connsiteX26" fmla="*/ 3243251 w 4477595"/>
                  <a:gd name="connsiteY26" fmla="*/ 5318909 h 6128401"/>
                  <a:gd name="connsiteX27" fmla="*/ 2705531 w 4477595"/>
                  <a:gd name="connsiteY27" fmla="*/ 5880081 h 6128401"/>
                  <a:gd name="connsiteX28" fmla="*/ 2650833 w 4477595"/>
                  <a:gd name="connsiteY28" fmla="*/ 5880971 h 6128401"/>
                  <a:gd name="connsiteX29" fmla="*/ 2641784 w 4477595"/>
                  <a:gd name="connsiteY29" fmla="*/ 5910123 h 6128401"/>
                  <a:gd name="connsiteX30" fmla="*/ 2312476 w 4477595"/>
                  <a:gd name="connsiteY30" fmla="*/ 6128401 h 6128401"/>
                  <a:gd name="connsiteX31" fmla="*/ 2165118 w 4477595"/>
                  <a:gd name="connsiteY31" fmla="*/ 6128401 h 6128401"/>
                  <a:gd name="connsiteX32" fmla="*/ 1835810 w 4477595"/>
                  <a:gd name="connsiteY32" fmla="*/ 5910123 h 6128401"/>
                  <a:gd name="connsiteX33" fmla="*/ 1826975 w 4477595"/>
                  <a:gd name="connsiteY33" fmla="*/ 5881661 h 6128401"/>
                  <a:gd name="connsiteX34" fmla="*/ 1699568 w 4477595"/>
                  <a:gd name="connsiteY34" fmla="*/ 5881345 h 6128401"/>
                  <a:gd name="connsiteX35" fmla="*/ 1252464 w 4477595"/>
                  <a:gd name="connsiteY35" fmla="*/ 5306553 h 6128401"/>
                  <a:gd name="connsiteX36" fmla="*/ 1260702 w 4477595"/>
                  <a:gd name="connsiteY36" fmla="*/ 4439941 h 6128401"/>
                  <a:gd name="connsiteX37" fmla="*/ 1247395 w 4477595"/>
                  <a:gd name="connsiteY37" fmla="*/ 4251681 h 6128401"/>
                  <a:gd name="connsiteX38" fmla="*/ 1171654 w 4477595"/>
                  <a:gd name="connsiteY38" fmla="*/ 4207383 h 6128401"/>
                  <a:gd name="connsiteX39" fmla="*/ 0 w 4477595"/>
                  <a:gd name="connsiteY39" fmla="*/ 2238797 h 6128401"/>
                  <a:gd name="connsiteX40" fmla="*/ 2238797 w 4477595"/>
                  <a:gd name="connsiteY40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3253261 w 4477595"/>
                  <a:gd name="connsiteY17" fmla="*/ 3754007 h 6128401"/>
                  <a:gd name="connsiteX18" fmla="*/ 3242716 w 4477595"/>
                  <a:gd name="connsiteY18" fmla="*/ 3753945 h 6128401"/>
                  <a:gd name="connsiteX19" fmla="*/ 4056807 w 4477595"/>
                  <a:gd name="connsiteY19" fmla="*/ 2238797 h 6128401"/>
                  <a:gd name="connsiteX20" fmla="*/ 2238798 w 4477595"/>
                  <a:gd name="connsiteY20" fmla="*/ 420786 h 6128401"/>
                  <a:gd name="connsiteX21" fmla="*/ 2238797 w 4477595"/>
                  <a:gd name="connsiteY21" fmla="*/ 0 h 6128401"/>
                  <a:gd name="connsiteX22" fmla="*/ 4477595 w 4477595"/>
                  <a:gd name="connsiteY22" fmla="*/ 2238797 h 6128401"/>
                  <a:gd name="connsiteX23" fmla="*/ 3305941 w 4477595"/>
                  <a:gd name="connsiteY23" fmla="*/ 4207383 h 6128401"/>
                  <a:gd name="connsiteX24" fmla="*/ 3243251 w 4477595"/>
                  <a:gd name="connsiteY24" fmla="*/ 4439941 h 6128401"/>
                  <a:gd name="connsiteX25" fmla="*/ 3243251 w 4477595"/>
                  <a:gd name="connsiteY25" fmla="*/ 5318909 h 6128401"/>
                  <a:gd name="connsiteX26" fmla="*/ 2705531 w 4477595"/>
                  <a:gd name="connsiteY26" fmla="*/ 5880081 h 6128401"/>
                  <a:gd name="connsiteX27" fmla="*/ 2650833 w 4477595"/>
                  <a:gd name="connsiteY27" fmla="*/ 5880971 h 6128401"/>
                  <a:gd name="connsiteX28" fmla="*/ 2641784 w 4477595"/>
                  <a:gd name="connsiteY28" fmla="*/ 5910123 h 6128401"/>
                  <a:gd name="connsiteX29" fmla="*/ 2312476 w 4477595"/>
                  <a:gd name="connsiteY29" fmla="*/ 6128401 h 6128401"/>
                  <a:gd name="connsiteX30" fmla="*/ 2165118 w 4477595"/>
                  <a:gd name="connsiteY30" fmla="*/ 6128401 h 6128401"/>
                  <a:gd name="connsiteX31" fmla="*/ 1835810 w 4477595"/>
                  <a:gd name="connsiteY31" fmla="*/ 5910123 h 6128401"/>
                  <a:gd name="connsiteX32" fmla="*/ 1826975 w 4477595"/>
                  <a:gd name="connsiteY32" fmla="*/ 5881661 h 6128401"/>
                  <a:gd name="connsiteX33" fmla="*/ 1699568 w 4477595"/>
                  <a:gd name="connsiteY33" fmla="*/ 5881345 h 6128401"/>
                  <a:gd name="connsiteX34" fmla="*/ 1252464 w 4477595"/>
                  <a:gd name="connsiteY34" fmla="*/ 5306553 h 6128401"/>
                  <a:gd name="connsiteX35" fmla="*/ 1260702 w 4477595"/>
                  <a:gd name="connsiteY35" fmla="*/ 4439941 h 6128401"/>
                  <a:gd name="connsiteX36" fmla="*/ 1247395 w 4477595"/>
                  <a:gd name="connsiteY36" fmla="*/ 4251681 h 6128401"/>
                  <a:gd name="connsiteX37" fmla="*/ 1171654 w 4477595"/>
                  <a:gd name="connsiteY37" fmla="*/ 4207383 h 6128401"/>
                  <a:gd name="connsiteX38" fmla="*/ 0 w 4477595"/>
                  <a:gd name="connsiteY38" fmla="*/ 2238797 h 6128401"/>
                  <a:gd name="connsiteX39" fmla="*/ 2238797 w 4477595"/>
                  <a:gd name="connsiteY39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3253261 w 4477595"/>
                  <a:gd name="connsiteY17" fmla="*/ 3754007 h 6128401"/>
                  <a:gd name="connsiteX18" fmla="*/ 4056807 w 4477595"/>
                  <a:gd name="connsiteY18" fmla="*/ 2238797 h 6128401"/>
                  <a:gd name="connsiteX19" fmla="*/ 2238798 w 4477595"/>
                  <a:gd name="connsiteY19" fmla="*/ 420786 h 6128401"/>
                  <a:gd name="connsiteX20" fmla="*/ 2238797 w 4477595"/>
                  <a:gd name="connsiteY20" fmla="*/ 0 h 6128401"/>
                  <a:gd name="connsiteX21" fmla="*/ 4477595 w 4477595"/>
                  <a:gd name="connsiteY21" fmla="*/ 2238797 h 6128401"/>
                  <a:gd name="connsiteX22" fmla="*/ 3305941 w 4477595"/>
                  <a:gd name="connsiteY22" fmla="*/ 4207383 h 6128401"/>
                  <a:gd name="connsiteX23" fmla="*/ 3243251 w 4477595"/>
                  <a:gd name="connsiteY23" fmla="*/ 4439941 h 6128401"/>
                  <a:gd name="connsiteX24" fmla="*/ 3243251 w 4477595"/>
                  <a:gd name="connsiteY24" fmla="*/ 5318909 h 6128401"/>
                  <a:gd name="connsiteX25" fmla="*/ 2705531 w 4477595"/>
                  <a:gd name="connsiteY25" fmla="*/ 5880081 h 6128401"/>
                  <a:gd name="connsiteX26" fmla="*/ 2650833 w 4477595"/>
                  <a:gd name="connsiteY26" fmla="*/ 5880971 h 6128401"/>
                  <a:gd name="connsiteX27" fmla="*/ 2641784 w 4477595"/>
                  <a:gd name="connsiteY27" fmla="*/ 5910123 h 6128401"/>
                  <a:gd name="connsiteX28" fmla="*/ 2312476 w 4477595"/>
                  <a:gd name="connsiteY28" fmla="*/ 6128401 h 6128401"/>
                  <a:gd name="connsiteX29" fmla="*/ 2165118 w 4477595"/>
                  <a:gd name="connsiteY29" fmla="*/ 6128401 h 6128401"/>
                  <a:gd name="connsiteX30" fmla="*/ 1835810 w 4477595"/>
                  <a:gd name="connsiteY30" fmla="*/ 5910123 h 6128401"/>
                  <a:gd name="connsiteX31" fmla="*/ 1826975 w 4477595"/>
                  <a:gd name="connsiteY31" fmla="*/ 5881661 h 6128401"/>
                  <a:gd name="connsiteX32" fmla="*/ 1699568 w 4477595"/>
                  <a:gd name="connsiteY32" fmla="*/ 5881345 h 6128401"/>
                  <a:gd name="connsiteX33" fmla="*/ 1252464 w 4477595"/>
                  <a:gd name="connsiteY33" fmla="*/ 5306553 h 6128401"/>
                  <a:gd name="connsiteX34" fmla="*/ 1260702 w 4477595"/>
                  <a:gd name="connsiteY34" fmla="*/ 4439941 h 6128401"/>
                  <a:gd name="connsiteX35" fmla="*/ 1247395 w 4477595"/>
                  <a:gd name="connsiteY35" fmla="*/ 4251681 h 6128401"/>
                  <a:gd name="connsiteX36" fmla="*/ 1171654 w 4477595"/>
                  <a:gd name="connsiteY36" fmla="*/ 4207383 h 6128401"/>
                  <a:gd name="connsiteX37" fmla="*/ 0 w 4477595"/>
                  <a:gd name="connsiteY37" fmla="*/ 2238797 h 6128401"/>
                  <a:gd name="connsiteX38" fmla="*/ 2238797 w 4477595"/>
                  <a:gd name="connsiteY38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4056807 w 4477595"/>
                  <a:gd name="connsiteY17" fmla="*/ 2238797 h 6128401"/>
                  <a:gd name="connsiteX18" fmla="*/ 2238798 w 4477595"/>
                  <a:gd name="connsiteY18" fmla="*/ 420786 h 6128401"/>
                  <a:gd name="connsiteX19" fmla="*/ 2238797 w 4477595"/>
                  <a:gd name="connsiteY19" fmla="*/ 0 h 6128401"/>
                  <a:gd name="connsiteX20" fmla="*/ 4477595 w 4477595"/>
                  <a:gd name="connsiteY20" fmla="*/ 2238797 h 6128401"/>
                  <a:gd name="connsiteX21" fmla="*/ 3305941 w 4477595"/>
                  <a:gd name="connsiteY21" fmla="*/ 4207383 h 6128401"/>
                  <a:gd name="connsiteX22" fmla="*/ 3243251 w 4477595"/>
                  <a:gd name="connsiteY22" fmla="*/ 4439941 h 6128401"/>
                  <a:gd name="connsiteX23" fmla="*/ 3243251 w 4477595"/>
                  <a:gd name="connsiteY23" fmla="*/ 5318909 h 6128401"/>
                  <a:gd name="connsiteX24" fmla="*/ 2705531 w 4477595"/>
                  <a:gd name="connsiteY24" fmla="*/ 5880081 h 6128401"/>
                  <a:gd name="connsiteX25" fmla="*/ 2650833 w 4477595"/>
                  <a:gd name="connsiteY25" fmla="*/ 5880971 h 6128401"/>
                  <a:gd name="connsiteX26" fmla="*/ 2641784 w 4477595"/>
                  <a:gd name="connsiteY26" fmla="*/ 5910123 h 6128401"/>
                  <a:gd name="connsiteX27" fmla="*/ 2312476 w 4477595"/>
                  <a:gd name="connsiteY27" fmla="*/ 6128401 h 6128401"/>
                  <a:gd name="connsiteX28" fmla="*/ 2165118 w 4477595"/>
                  <a:gd name="connsiteY28" fmla="*/ 6128401 h 6128401"/>
                  <a:gd name="connsiteX29" fmla="*/ 1835810 w 4477595"/>
                  <a:gd name="connsiteY29" fmla="*/ 5910123 h 6128401"/>
                  <a:gd name="connsiteX30" fmla="*/ 1826975 w 4477595"/>
                  <a:gd name="connsiteY30" fmla="*/ 5881661 h 6128401"/>
                  <a:gd name="connsiteX31" fmla="*/ 1699568 w 4477595"/>
                  <a:gd name="connsiteY31" fmla="*/ 5881345 h 6128401"/>
                  <a:gd name="connsiteX32" fmla="*/ 1252464 w 4477595"/>
                  <a:gd name="connsiteY32" fmla="*/ 5306553 h 6128401"/>
                  <a:gd name="connsiteX33" fmla="*/ 1260702 w 4477595"/>
                  <a:gd name="connsiteY33" fmla="*/ 4439941 h 6128401"/>
                  <a:gd name="connsiteX34" fmla="*/ 1247395 w 4477595"/>
                  <a:gd name="connsiteY34" fmla="*/ 4251681 h 6128401"/>
                  <a:gd name="connsiteX35" fmla="*/ 1171654 w 4477595"/>
                  <a:gd name="connsiteY35" fmla="*/ 4207383 h 6128401"/>
                  <a:gd name="connsiteX36" fmla="*/ 0 w 4477595"/>
                  <a:gd name="connsiteY36" fmla="*/ 2238797 h 6128401"/>
                  <a:gd name="connsiteX37" fmla="*/ 2238797 w 4477595"/>
                  <a:gd name="connsiteY37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4056807 w 4477595"/>
                  <a:gd name="connsiteY17" fmla="*/ 2238797 h 6128401"/>
                  <a:gd name="connsiteX18" fmla="*/ 2238798 w 4477595"/>
                  <a:gd name="connsiteY18" fmla="*/ 420786 h 6128401"/>
                  <a:gd name="connsiteX19" fmla="*/ 2238797 w 4477595"/>
                  <a:gd name="connsiteY19" fmla="*/ 0 h 6128401"/>
                  <a:gd name="connsiteX20" fmla="*/ 4477595 w 4477595"/>
                  <a:gd name="connsiteY20" fmla="*/ 2238797 h 6128401"/>
                  <a:gd name="connsiteX21" fmla="*/ 3305941 w 4477595"/>
                  <a:gd name="connsiteY21" fmla="*/ 4207383 h 6128401"/>
                  <a:gd name="connsiteX22" fmla="*/ 3243251 w 4477595"/>
                  <a:gd name="connsiteY22" fmla="*/ 4439941 h 6128401"/>
                  <a:gd name="connsiteX23" fmla="*/ 3243251 w 4477595"/>
                  <a:gd name="connsiteY23" fmla="*/ 5318909 h 6128401"/>
                  <a:gd name="connsiteX24" fmla="*/ 2705531 w 4477595"/>
                  <a:gd name="connsiteY24" fmla="*/ 5880081 h 6128401"/>
                  <a:gd name="connsiteX25" fmla="*/ 2650833 w 4477595"/>
                  <a:gd name="connsiteY25" fmla="*/ 5880971 h 6128401"/>
                  <a:gd name="connsiteX26" fmla="*/ 2641784 w 4477595"/>
                  <a:gd name="connsiteY26" fmla="*/ 5910123 h 6128401"/>
                  <a:gd name="connsiteX27" fmla="*/ 2312476 w 4477595"/>
                  <a:gd name="connsiteY27" fmla="*/ 6128401 h 6128401"/>
                  <a:gd name="connsiteX28" fmla="*/ 2165118 w 4477595"/>
                  <a:gd name="connsiteY28" fmla="*/ 6128401 h 6128401"/>
                  <a:gd name="connsiteX29" fmla="*/ 1835810 w 4477595"/>
                  <a:gd name="connsiteY29" fmla="*/ 5910123 h 6128401"/>
                  <a:gd name="connsiteX30" fmla="*/ 1826975 w 4477595"/>
                  <a:gd name="connsiteY30" fmla="*/ 5881661 h 6128401"/>
                  <a:gd name="connsiteX31" fmla="*/ 1699568 w 4477595"/>
                  <a:gd name="connsiteY31" fmla="*/ 5881345 h 6128401"/>
                  <a:gd name="connsiteX32" fmla="*/ 1252464 w 4477595"/>
                  <a:gd name="connsiteY32" fmla="*/ 5306553 h 6128401"/>
                  <a:gd name="connsiteX33" fmla="*/ 1260702 w 4477595"/>
                  <a:gd name="connsiteY33" fmla="*/ 4439941 h 6128401"/>
                  <a:gd name="connsiteX34" fmla="*/ 1247395 w 4477595"/>
                  <a:gd name="connsiteY34" fmla="*/ 4251681 h 6128401"/>
                  <a:gd name="connsiteX35" fmla="*/ 1171654 w 4477595"/>
                  <a:gd name="connsiteY35" fmla="*/ 4207383 h 6128401"/>
                  <a:gd name="connsiteX36" fmla="*/ 0 w 4477595"/>
                  <a:gd name="connsiteY36" fmla="*/ 2238797 h 6128401"/>
                  <a:gd name="connsiteX37" fmla="*/ 2238797 w 4477595"/>
                  <a:gd name="connsiteY37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4056807 w 4477595"/>
                  <a:gd name="connsiteY17" fmla="*/ 2238797 h 6128401"/>
                  <a:gd name="connsiteX18" fmla="*/ 2238798 w 4477595"/>
                  <a:gd name="connsiteY18" fmla="*/ 420786 h 6128401"/>
                  <a:gd name="connsiteX19" fmla="*/ 2238797 w 4477595"/>
                  <a:gd name="connsiteY19" fmla="*/ 0 h 6128401"/>
                  <a:gd name="connsiteX20" fmla="*/ 4477595 w 4477595"/>
                  <a:gd name="connsiteY20" fmla="*/ 2238797 h 6128401"/>
                  <a:gd name="connsiteX21" fmla="*/ 3305941 w 4477595"/>
                  <a:gd name="connsiteY21" fmla="*/ 4207383 h 6128401"/>
                  <a:gd name="connsiteX22" fmla="*/ 3243251 w 4477595"/>
                  <a:gd name="connsiteY22" fmla="*/ 4439941 h 6128401"/>
                  <a:gd name="connsiteX23" fmla="*/ 3243251 w 4477595"/>
                  <a:gd name="connsiteY23" fmla="*/ 5318909 h 6128401"/>
                  <a:gd name="connsiteX24" fmla="*/ 2705531 w 4477595"/>
                  <a:gd name="connsiteY24" fmla="*/ 5880081 h 6128401"/>
                  <a:gd name="connsiteX25" fmla="*/ 2650833 w 4477595"/>
                  <a:gd name="connsiteY25" fmla="*/ 5880971 h 6128401"/>
                  <a:gd name="connsiteX26" fmla="*/ 2641784 w 4477595"/>
                  <a:gd name="connsiteY26" fmla="*/ 5910123 h 6128401"/>
                  <a:gd name="connsiteX27" fmla="*/ 2312476 w 4477595"/>
                  <a:gd name="connsiteY27" fmla="*/ 6128401 h 6128401"/>
                  <a:gd name="connsiteX28" fmla="*/ 2165118 w 4477595"/>
                  <a:gd name="connsiteY28" fmla="*/ 6128401 h 6128401"/>
                  <a:gd name="connsiteX29" fmla="*/ 1835810 w 4477595"/>
                  <a:gd name="connsiteY29" fmla="*/ 5910123 h 6128401"/>
                  <a:gd name="connsiteX30" fmla="*/ 1826975 w 4477595"/>
                  <a:gd name="connsiteY30" fmla="*/ 5881661 h 6128401"/>
                  <a:gd name="connsiteX31" fmla="*/ 1699568 w 4477595"/>
                  <a:gd name="connsiteY31" fmla="*/ 5881345 h 6128401"/>
                  <a:gd name="connsiteX32" fmla="*/ 1252464 w 4477595"/>
                  <a:gd name="connsiteY32" fmla="*/ 5306553 h 6128401"/>
                  <a:gd name="connsiteX33" fmla="*/ 1260702 w 4477595"/>
                  <a:gd name="connsiteY33" fmla="*/ 4439941 h 6128401"/>
                  <a:gd name="connsiteX34" fmla="*/ 1247395 w 4477595"/>
                  <a:gd name="connsiteY34" fmla="*/ 4251681 h 6128401"/>
                  <a:gd name="connsiteX35" fmla="*/ 1171654 w 4477595"/>
                  <a:gd name="connsiteY35" fmla="*/ 4207383 h 6128401"/>
                  <a:gd name="connsiteX36" fmla="*/ 0 w 4477595"/>
                  <a:gd name="connsiteY36" fmla="*/ 2238797 h 6128401"/>
                  <a:gd name="connsiteX37" fmla="*/ 2238797 w 4477595"/>
                  <a:gd name="connsiteY37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283226 w 4477595"/>
                  <a:gd name="connsiteY11" fmla="*/ 4532987 h 6128401"/>
                  <a:gd name="connsiteX12" fmla="*/ 2539568 w 4477595"/>
                  <a:gd name="connsiteY12" fmla="*/ 4531711 h 6128401"/>
                  <a:gd name="connsiteX13" fmla="*/ 2860637 w 4477595"/>
                  <a:gd name="connsiteY13" fmla="*/ 4311091 h 6128401"/>
                  <a:gd name="connsiteX14" fmla="*/ 3109338 w 4477595"/>
                  <a:gd name="connsiteY14" fmla="*/ 3834987 h 6128401"/>
                  <a:gd name="connsiteX15" fmla="*/ 3110879 w 4477595"/>
                  <a:gd name="connsiteY15" fmla="*/ 3834037 h 6128401"/>
                  <a:gd name="connsiteX16" fmla="*/ 3181541 w 4477595"/>
                  <a:gd name="connsiteY16" fmla="*/ 3791109 h 6128401"/>
                  <a:gd name="connsiteX17" fmla="*/ 4056807 w 4477595"/>
                  <a:gd name="connsiteY17" fmla="*/ 2238797 h 6128401"/>
                  <a:gd name="connsiteX18" fmla="*/ 2238798 w 4477595"/>
                  <a:gd name="connsiteY18" fmla="*/ 420786 h 6128401"/>
                  <a:gd name="connsiteX19" fmla="*/ 2238797 w 4477595"/>
                  <a:gd name="connsiteY19" fmla="*/ 0 h 6128401"/>
                  <a:gd name="connsiteX20" fmla="*/ 4477595 w 4477595"/>
                  <a:gd name="connsiteY20" fmla="*/ 2238797 h 6128401"/>
                  <a:gd name="connsiteX21" fmla="*/ 3305941 w 4477595"/>
                  <a:gd name="connsiteY21" fmla="*/ 4207383 h 6128401"/>
                  <a:gd name="connsiteX22" fmla="*/ 3243251 w 4477595"/>
                  <a:gd name="connsiteY22" fmla="*/ 4439941 h 6128401"/>
                  <a:gd name="connsiteX23" fmla="*/ 3243251 w 4477595"/>
                  <a:gd name="connsiteY23" fmla="*/ 5318909 h 6128401"/>
                  <a:gd name="connsiteX24" fmla="*/ 2705531 w 4477595"/>
                  <a:gd name="connsiteY24" fmla="*/ 5880081 h 6128401"/>
                  <a:gd name="connsiteX25" fmla="*/ 2650833 w 4477595"/>
                  <a:gd name="connsiteY25" fmla="*/ 5880971 h 6128401"/>
                  <a:gd name="connsiteX26" fmla="*/ 2641784 w 4477595"/>
                  <a:gd name="connsiteY26" fmla="*/ 5910123 h 6128401"/>
                  <a:gd name="connsiteX27" fmla="*/ 2312476 w 4477595"/>
                  <a:gd name="connsiteY27" fmla="*/ 6128401 h 6128401"/>
                  <a:gd name="connsiteX28" fmla="*/ 2165118 w 4477595"/>
                  <a:gd name="connsiteY28" fmla="*/ 6128401 h 6128401"/>
                  <a:gd name="connsiteX29" fmla="*/ 1835810 w 4477595"/>
                  <a:gd name="connsiteY29" fmla="*/ 5910123 h 6128401"/>
                  <a:gd name="connsiteX30" fmla="*/ 1826975 w 4477595"/>
                  <a:gd name="connsiteY30" fmla="*/ 5881661 h 6128401"/>
                  <a:gd name="connsiteX31" fmla="*/ 1699568 w 4477595"/>
                  <a:gd name="connsiteY31" fmla="*/ 5881345 h 6128401"/>
                  <a:gd name="connsiteX32" fmla="*/ 1252464 w 4477595"/>
                  <a:gd name="connsiteY32" fmla="*/ 5306553 h 6128401"/>
                  <a:gd name="connsiteX33" fmla="*/ 1260702 w 4477595"/>
                  <a:gd name="connsiteY33" fmla="*/ 4439941 h 6128401"/>
                  <a:gd name="connsiteX34" fmla="*/ 1247395 w 4477595"/>
                  <a:gd name="connsiteY34" fmla="*/ 4251681 h 6128401"/>
                  <a:gd name="connsiteX35" fmla="*/ 1171654 w 4477595"/>
                  <a:gd name="connsiteY35" fmla="*/ 4207383 h 6128401"/>
                  <a:gd name="connsiteX36" fmla="*/ 0 w 4477595"/>
                  <a:gd name="connsiteY36" fmla="*/ 2238797 h 6128401"/>
                  <a:gd name="connsiteX37" fmla="*/ 2238797 w 4477595"/>
                  <a:gd name="connsiteY37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283226 w 4477595"/>
                  <a:gd name="connsiteY10" fmla="*/ 4533077 h 6128401"/>
                  <a:gd name="connsiteX11" fmla="*/ 2539568 w 4477595"/>
                  <a:gd name="connsiteY11" fmla="*/ 4531711 h 6128401"/>
                  <a:gd name="connsiteX12" fmla="*/ 2860637 w 4477595"/>
                  <a:gd name="connsiteY12" fmla="*/ 4311091 h 6128401"/>
                  <a:gd name="connsiteX13" fmla="*/ 3109338 w 4477595"/>
                  <a:gd name="connsiteY13" fmla="*/ 3834987 h 6128401"/>
                  <a:gd name="connsiteX14" fmla="*/ 3110879 w 4477595"/>
                  <a:gd name="connsiteY14" fmla="*/ 3834037 h 6128401"/>
                  <a:gd name="connsiteX15" fmla="*/ 3181541 w 4477595"/>
                  <a:gd name="connsiteY15" fmla="*/ 3791109 h 6128401"/>
                  <a:gd name="connsiteX16" fmla="*/ 4056807 w 4477595"/>
                  <a:gd name="connsiteY16" fmla="*/ 2238797 h 6128401"/>
                  <a:gd name="connsiteX17" fmla="*/ 2238798 w 4477595"/>
                  <a:gd name="connsiteY17" fmla="*/ 420786 h 6128401"/>
                  <a:gd name="connsiteX18" fmla="*/ 2238797 w 4477595"/>
                  <a:gd name="connsiteY18" fmla="*/ 0 h 6128401"/>
                  <a:gd name="connsiteX19" fmla="*/ 4477595 w 4477595"/>
                  <a:gd name="connsiteY19" fmla="*/ 2238797 h 6128401"/>
                  <a:gd name="connsiteX20" fmla="*/ 3305941 w 4477595"/>
                  <a:gd name="connsiteY20" fmla="*/ 4207383 h 6128401"/>
                  <a:gd name="connsiteX21" fmla="*/ 3243251 w 4477595"/>
                  <a:gd name="connsiteY21" fmla="*/ 4439941 h 6128401"/>
                  <a:gd name="connsiteX22" fmla="*/ 3243251 w 4477595"/>
                  <a:gd name="connsiteY22" fmla="*/ 5318909 h 6128401"/>
                  <a:gd name="connsiteX23" fmla="*/ 2705531 w 4477595"/>
                  <a:gd name="connsiteY23" fmla="*/ 5880081 h 6128401"/>
                  <a:gd name="connsiteX24" fmla="*/ 2650833 w 4477595"/>
                  <a:gd name="connsiteY24" fmla="*/ 5880971 h 6128401"/>
                  <a:gd name="connsiteX25" fmla="*/ 2641784 w 4477595"/>
                  <a:gd name="connsiteY25" fmla="*/ 5910123 h 6128401"/>
                  <a:gd name="connsiteX26" fmla="*/ 2312476 w 4477595"/>
                  <a:gd name="connsiteY26" fmla="*/ 6128401 h 6128401"/>
                  <a:gd name="connsiteX27" fmla="*/ 2165118 w 4477595"/>
                  <a:gd name="connsiteY27" fmla="*/ 6128401 h 6128401"/>
                  <a:gd name="connsiteX28" fmla="*/ 1835810 w 4477595"/>
                  <a:gd name="connsiteY28" fmla="*/ 5910123 h 6128401"/>
                  <a:gd name="connsiteX29" fmla="*/ 1826975 w 4477595"/>
                  <a:gd name="connsiteY29" fmla="*/ 5881661 h 6128401"/>
                  <a:gd name="connsiteX30" fmla="*/ 1699568 w 4477595"/>
                  <a:gd name="connsiteY30" fmla="*/ 5881345 h 6128401"/>
                  <a:gd name="connsiteX31" fmla="*/ 1252464 w 4477595"/>
                  <a:gd name="connsiteY31" fmla="*/ 5306553 h 6128401"/>
                  <a:gd name="connsiteX32" fmla="*/ 1260702 w 4477595"/>
                  <a:gd name="connsiteY32" fmla="*/ 4439941 h 6128401"/>
                  <a:gd name="connsiteX33" fmla="*/ 1247395 w 4477595"/>
                  <a:gd name="connsiteY33" fmla="*/ 4251681 h 6128401"/>
                  <a:gd name="connsiteX34" fmla="*/ 1171654 w 4477595"/>
                  <a:gd name="connsiteY34" fmla="*/ 4207383 h 6128401"/>
                  <a:gd name="connsiteX35" fmla="*/ 0 w 4477595"/>
                  <a:gd name="connsiteY35" fmla="*/ 2238797 h 6128401"/>
                  <a:gd name="connsiteX36" fmla="*/ 2238797 w 4477595"/>
                  <a:gd name="connsiteY36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240466 w 4477595"/>
                  <a:gd name="connsiteY9" fmla="*/ 4533223 h 6128401"/>
                  <a:gd name="connsiteX10" fmla="*/ 2539568 w 4477595"/>
                  <a:gd name="connsiteY10" fmla="*/ 4531711 h 6128401"/>
                  <a:gd name="connsiteX11" fmla="*/ 2860637 w 4477595"/>
                  <a:gd name="connsiteY11" fmla="*/ 4311091 h 6128401"/>
                  <a:gd name="connsiteX12" fmla="*/ 3109338 w 4477595"/>
                  <a:gd name="connsiteY12" fmla="*/ 3834987 h 6128401"/>
                  <a:gd name="connsiteX13" fmla="*/ 3110879 w 4477595"/>
                  <a:gd name="connsiteY13" fmla="*/ 3834037 h 6128401"/>
                  <a:gd name="connsiteX14" fmla="*/ 3181541 w 4477595"/>
                  <a:gd name="connsiteY14" fmla="*/ 3791109 h 6128401"/>
                  <a:gd name="connsiteX15" fmla="*/ 4056807 w 4477595"/>
                  <a:gd name="connsiteY15" fmla="*/ 2238797 h 6128401"/>
                  <a:gd name="connsiteX16" fmla="*/ 2238798 w 4477595"/>
                  <a:gd name="connsiteY16" fmla="*/ 420786 h 6128401"/>
                  <a:gd name="connsiteX17" fmla="*/ 2238797 w 4477595"/>
                  <a:gd name="connsiteY17" fmla="*/ 0 h 6128401"/>
                  <a:gd name="connsiteX18" fmla="*/ 4477595 w 4477595"/>
                  <a:gd name="connsiteY18" fmla="*/ 2238797 h 6128401"/>
                  <a:gd name="connsiteX19" fmla="*/ 3305941 w 4477595"/>
                  <a:gd name="connsiteY19" fmla="*/ 4207383 h 6128401"/>
                  <a:gd name="connsiteX20" fmla="*/ 3243251 w 4477595"/>
                  <a:gd name="connsiteY20" fmla="*/ 4439941 h 6128401"/>
                  <a:gd name="connsiteX21" fmla="*/ 3243251 w 4477595"/>
                  <a:gd name="connsiteY21" fmla="*/ 5318909 h 6128401"/>
                  <a:gd name="connsiteX22" fmla="*/ 2705531 w 4477595"/>
                  <a:gd name="connsiteY22" fmla="*/ 5880081 h 6128401"/>
                  <a:gd name="connsiteX23" fmla="*/ 2650833 w 4477595"/>
                  <a:gd name="connsiteY23" fmla="*/ 5880971 h 6128401"/>
                  <a:gd name="connsiteX24" fmla="*/ 2641784 w 4477595"/>
                  <a:gd name="connsiteY24" fmla="*/ 5910123 h 6128401"/>
                  <a:gd name="connsiteX25" fmla="*/ 2312476 w 4477595"/>
                  <a:gd name="connsiteY25" fmla="*/ 6128401 h 6128401"/>
                  <a:gd name="connsiteX26" fmla="*/ 2165118 w 4477595"/>
                  <a:gd name="connsiteY26" fmla="*/ 6128401 h 6128401"/>
                  <a:gd name="connsiteX27" fmla="*/ 1835810 w 4477595"/>
                  <a:gd name="connsiteY27" fmla="*/ 5910123 h 6128401"/>
                  <a:gd name="connsiteX28" fmla="*/ 1826975 w 4477595"/>
                  <a:gd name="connsiteY28" fmla="*/ 5881661 h 6128401"/>
                  <a:gd name="connsiteX29" fmla="*/ 1699568 w 4477595"/>
                  <a:gd name="connsiteY29" fmla="*/ 5881345 h 6128401"/>
                  <a:gd name="connsiteX30" fmla="*/ 1252464 w 4477595"/>
                  <a:gd name="connsiteY30" fmla="*/ 5306553 h 6128401"/>
                  <a:gd name="connsiteX31" fmla="*/ 1260702 w 4477595"/>
                  <a:gd name="connsiteY31" fmla="*/ 4439941 h 6128401"/>
                  <a:gd name="connsiteX32" fmla="*/ 1247395 w 4477595"/>
                  <a:gd name="connsiteY32" fmla="*/ 4251681 h 6128401"/>
                  <a:gd name="connsiteX33" fmla="*/ 1171654 w 4477595"/>
                  <a:gd name="connsiteY33" fmla="*/ 4207383 h 6128401"/>
                  <a:gd name="connsiteX34" fmla="*/ 0 w 4477595"/>
                  <a:gd name="connsiteY34" fmla="*/ 2238797 h 6128401"/>
                  <a:gd name="connsiteX35" fmla="*/ 2238797 w 4477595"/>
                  <a:gd name="connsiteY35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238254 w 4477595"/>
                  <a:gd name="connsiteY8" fmla="*/ 4533211 h 6128401"/>
                  <a:gd name="connsiteX9" fmla="*/ 2539568 w 4477595"/>
                  <a:gd name="connsiteY9" fmla="*/ 4531711 h 6128401"/>
                  <a:gd name="connsiteX10" fmla="*/ 2860637 w 4477595"/>
                  <a:gd name="connsiteY10" fmla="*/ 4311091 h 6128401"/>
                  <a:gd name="connsiteX11" fmla="*/ 3109338 w 4477595"/>
                  <a:gd name="connsiteY11" fmla="*/ 3834987 h 6128401"/>
                  <a:gd name="connsiteX12" fmla="*/ 3110879 w 4477595"/>
                  <a:gd name="connsiteY12" fmla="*/ 3834037 h 6128401"/>
                  <a:gd name="connsiteX13" fmla="*/ 3181541 w 4477595"/>
                  <a:gd name="connsiteY13" fmla="*/ 3791109 h 6128401"/>
                  <a:gd name="connsiteX14" fmla="*/ 4056807 w 4477595"/>
                  <a:gd name="connsiteY14" fmla="*/ 2238797 h 6128401"/>
                  <a:gd name="connsiteX15" fmla="*/ 2238798 w 4477595"/>
                  <a:gd name="connsiteY15" fmla="*/ 420786 h 6128401"/>
                  <a:gd name="connsiteX16" fmla="*/ 2238797 w 4477595"/>
                  <a:gd name="connsiteY16" fmla="*/ 0 h 6128401"/>
                  <a:gd name="connsiteX17" fmla="*/ 4477595 w 4477595"/>
                  <a:gd name="connsiteY17" fmla="*/ 2238797 h 6128401"/>
                  <a:gd name="connsiteX18" fmla="*/ 3305941 w 4477595"/>
                  <a:gd name="connsiteY18" fmla="*/ 4207383 h 6128401"/>
                  <a:gd name="connsiteX19" fmla="*/ 3243251 w 4477595"/>
                  <a:gd name="connsiteY19" fmla="*/ 4439941 h 6128401"/>
                  <a:gd name="connsiteX20" fmla="*/ 3243251 w 4477595"/>
                  <a:gd name="connsiteY20" fmla="*/ 5318909 h 6128401"/>
                  <a:gd name="connsiteX21" fmla="*/ 2705531 w 4477595"/>
                  <a:gd name="connsiteY21" fmla="*/ 5880081 h 6128401"/>
                  <a:gd name="connsiteX22" fmla="*/ 2650833 w 4477595"/>
                  <a:gd name="connsiteY22" fmla="*/ 5880971 h 6128401"/>
                  <a:gd name="connsiteX23" fmla="*/ 2641784 w 4477595"/>
                  <a:gd name="connsiteY23" fmla="*/ 5910123 h 6128401"/>
                  <a:gd name="connsiteX24" fmla="*/ 2312476 w 4477595"/>
                  <a:gd name="connsiteY24" fmla="*/ 6128401 h 6128401"/>
                  <a:gd name="connsiteX25" fmla="*/ 2165118 w 4477595"/>
                  <a:gd name="connsiteY25" fmla="*/ 6128401 h 6128401"/>
                  <a:gd name="connsiteX26" fmla="*/ 1835810 w 4477595"/>
                  <a:gd name="connsiteY26" fmla="*/ 5910123 h 6128401"/>
                  <a:gd name="connsiteX27" fmla="*/ 1826975 w 4477595"/>
                  <a:gd name="connsiteY27" fmla="*/ 5881661 h 6128401"/>
                  <a:gd name="connsiteX28" fmla="*/ 1699568 w 4477595"/>
                  <a:gd name="connsiteY28" fmla="*/ 5881345 h 6128401"/>
                  <a:gd name="connsiteX29" fmla="*/ 1252464 w 4477595"/>
                  <a:gd name="connsiteY29" fmla="*/ 5306553 h 6128401"/>
                  <a:gd name="connsiteX30" fmla="*/ 1260702 w 4477595"/>
                  <a:gd name="connsiteY30" fmla="*/ 4439941 h 6128401"/>
                  <a:gd name="connsiteX31" fmla="*/ 1247395 w 4477595"/>
                  <a:gd name="connsiteY31" fmla="*/ 4251681 h 6128401"/>
                  <a:gd name="connsiteX32" fmla="*/ 1171654 w 4477595"/>
                  <a:gd name="connsiteY32" fmla="*/ 4207383 h 6128401"/>
                  <a:gd name="connsiteX33" fmla="*/ 0 w 4477595"/>
                  <a:gd name="connsiteY33" fmla="*/ 2238797 h 6128401"/>
                  <a:gd name="connsiteX34" fmla="*/ 2238797 w 4477595"/>
                  <a:gd name="connsiteY34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236042 w 4477595"/>
                  <a:gd name="connsiteY7" fmla="*/ 4533223 h 6128401"/>
                  <a:gd name="connsiteX8" fmla="*/ 2539568 w 4477595"/>
                  <a:gd name="connsiteY8" fmla="*/ 4531711 h 6128401"/>
                  <a:gd name="connsiteX9" fmla="*/ 2860637 w 4477595"/>
                  <a:gd name="connsiteY9" fmla="*/ 4311091 h 6128401"/>
                  <a:gd name="connsiteX10" fmla="*/ 3109338 w 4477595"/>
                  <a:gd name="connsiteY10" fmla="*/ 3834987 h 6128401"/>
                  <a:gd name="connsiteX11" fmla="*/ 3110879 w 4477595"/>
                  <a:gd name="connsiteY11" fmla="*/ 3834037 h 6128401"/>
                  <a:gd name="connsiteX12" fmla="*/ 3181541 w 4477595"/>
                  <a:gd name="connsiteY12" fmla="*/ 3791109 h 6128401"/>
                  <a:gd name="connsiteX13" fmla="*/ 4056807 w 4477595"/>
                  <a:gd name="connsiteY13" fmla="*/ 2238797 h 6128401"/>
                  <a:gd name="connsiteX14" fmla="*/ 2238798 w 4477595"/>
                  <a:gd name="connsiteY14" fmla="*/ 420786 h 6128401"/>
                  <a:gd name="connsiteX15" fmla="*/ 2238797 w 4477595"/>
                  <a:gd name="connsiteY15" fmla="*/ 0 h 6128401"/>
                  <a:gd name="connsiteX16" fmla="*/ 4477595 w 4477595"/>
                  <a:gd name="connsiteY16" fmla="*/ 2238797 h 6128401"/>
                  <a:gd name="connsiteX17" fmla="*/ 3305941 w 4477595"/>
                  <a:gd name="connsiteY17" fmla="*/ 4207383 h 6128401"/>
                  <a:gd name="connsiteX18" fmla="*/ 3243251 w 4477595"/>
                  <a:gd name="connsiteY18" fmla="*/ 4439941 h 6128401"/>
                  <a:gd name="connsiteX19" fmla="*/ 3243251 w 4477595"/>
                  <a:gd name="connsiteY19" fmla="*/ 5318909 h 6128401"/>
                  <a:gd name="connsiteX20" fmla="*/ 2705531 w 4477595"/>
                  <a:gd name="connsiteY20" fmla="*/ 5880081 h 6128401"/>
                  <a:gd name="connsiteX21" fmla="*/ 2650833 w 4477595"/>
                  <a:gd name="connsiteY21" fmla="*/ 5880971 h 6128401"/>
                  <a:gd name="connsiteX22" fmla="*/ 2641784 w 4477595"/>
                  <a:gd name="connsiteY22" fmla="*/ 5910123 h 6128401"/>
                  <a:gd name="connsiteX23" fmla="*/ 2312476 w 4477595"/>
                  <a:gd name="connsiteY23" fmla="*/ 6128401 h 6128401"/>
                  <a:gd name="connsiteX24" fmla="*/ 2165118 w 4477595"/>
                  <a:gd name="connsiteY24" fmla="*/ 6128401 h 6128401"/>
                  <a:gd name="connsiteX25" fmla="*/ 1835810 w 4477595"/>
                  <a:gd name="connsiteY25" fmla="*/ 5910123 h 6128401"/>
                  <a:gd name="connsiteX26" fmla="*/ 1826975 w 4477595"/>
                  <a:gd name="connsiteY26" fmla="*/ 5881661 h 6128401"/>
                  <a:gd name="connsiteX27" fmla="*/ 1699568 w 4477595"/>
                  <a:gd name="connsiteY27" fmla="*/ 5881345 h 6128401"/>
                  <a:gd name="connsiteX28" fmla="*/ 1252464 w 4477595"/>
                  <a:gd name="connsiteY28" fmla="*/ 5306553 h 6128401"/>
                  <a:gd name="connsiteX29" fmla="*/ 1260702 w 4477595"/>
                  <a:gd name="connsiteY29" fmla="*/ 4439941 h 6128401"/>
                  <a:gd name="connsiteX30" fmla="*/ 1247395 w 4477595"/>
                  <a:gd name="connsiteY30" fmla="*/ 4251681 h 6128401"/>
                  <a:gd name="connsiteX31" fmla="*/ 1171654 w 4477595"/>
                  <a:gd name="connsiteY31" fmla="*/ 4207383 h 6128401"/>
                  <a:gd name="connsiteX32" fmla="*/ 0 w 4477595"/>
                  <a:gd name="connsiteY32" fmla="*/ 2238797 h 6128401"/>
                  <a:gd name="connsiteX33" fmla="*/ 2238797 w 4477595"/>
                  <a:gd name="connsiteY33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193282 w 4477595"/>
                  <a:gd name="connsiteY6" fmla="*/ 4533077 h 6128401"/>
                  <a:gd name="connsiteX7" fmla="*/ 2539568 w 4477595"/>
                  <a:gd name="connsiteY7" fmla="*/ 4531711 h 6128401"/>
                  <a:gd name="connsiteX8" fmla="*/ 2860637 w 4477595"/>
                  <a:gd name="connsiteY8" fmla="*/ 4311091 h 6128401"/>
                  <a:gd name="connsiteX9" fmla="*/ 3109338 w 4477595"/>
                  <a:gd name="connsiteY9" fmla="*/ 3834987 h 6128401"/>
                  <a:gd name="connsiteX10" fmla="*/ 3110879 w 4477595"/>
                  <a:gd name="connsiteY10" fmla="*/ 3834037 h 6128401"/>
                  <a:gd name="connsiteX11" fmla="*/ 3181541 w 4477595"/>
                  <a:gd name="connsiteY11" fmla="*/ 3791109 h 6128401"/>
                  <a:gd name="connsiteX12" fmla="*/ 4056807 w 4477595"/>
                  <a:gd name="connsiteY12" fmla="*/ 2238797 h 6128401"/>
                  <a:gd name="connsiteX13" fmla="*/ 2238798 w 4477595"/>
                  <a:gd name="connsiteY13" fmla="*/ 420786 h 6128401"/>
                  <a:gd name="connsiteX14" fmla="*/ 2238797 w 4477595"/>
                  <a:gd name="connsiteY14" fmla="*/ 0 h 6128401"/>
                  <a:gd name="connsiteX15" fmla="*/ 4477595 w 4477595"/>
                  <a:gd name="connsiteY15" fmla="*/ 2238797 h 6128401"/>
                  <a:gd name="connsiteX16" fmla="*/ 3305941 w 4477595"/>
                  <a:gd name="connsiteY16" fmla="*/ 4207383 h 6128401"/>
                  <a:gd name="connsiteX17" fmla="*/ 3243251 w 4477595"/>
                  <a:gd name="connsiteY17" fmla="*/ 4439941 h 6128401"/>
                  <a:gd name="connsiteX18" fmla="*/ 3243251 w 4477595"/>
                  <a:gd name="connsiteY18" fmla="*/ 5318909 h 6128401"/>
                  <a:gd name="connsiteX19" fmla="*/ 2705531 w 4477595"/>
                  <a:gd name="connsiteY19" fmla="*/ 5880081 h 6128401"/>
                  <a:gd name="connsiteX20" fmla="*/ 2650833 w 4477595"/>
                  <a:gd name="connsiteY20" fmla="*/ 5880971 h 6128401"/>
                  <a:gd name="connsiteX21" fmla="*/ 2641784 w 4477595"/>
                  <a:gd name="connsiteY21" fmla="*/ 5910123 h 6128401"/>
                  <a:gd name="connsiteX22" fmla="*/ 2312476 w 4477595"/>
                  <a:gd name="connsiteY22" fmla="*/ 6128401 h 6128401"/>
                  <a:gd name="connsiteX23" fmla="*/ 2165118 w 4477595"/>
                  <a:gd name="connsiteY23" fmla="*/ 6128401 h 6128401"/>
                  <a:gd name="connsiteX24" fmla="*/ 1835810 w 4477595"/>
                  <a:gd name="connsiteY24" fmla="*/ 5910123 h 6128401"/>
                  <a:gd name="connsiteX25" fmla="*/ 1826975 w 4477595"/>
                  <a:gd name="connsiteY25" fmla="*/ 5881661 h 6128401"/>
                  <a:gd name="connsiteX26" fmla="*/ 1699568 w 4477595"/>
                  <a:gd name="connsiteY26" fmla="*/ 5881345 h 6128401"/>
                  <a:gd name="connsiteX27" fmla="*/ 1252464 w 4477595"/>
                  <a:gd name="connsiteY27" fmla="*/ 5306553 h 6128401"/>
                  <a:gd name="connsiteX28" fmla="*/ 1260702 w 4477595"/>
                  <a:gd name="connsiteY28" fmla="*/ 4439941 h 6128401"/>
                  <a:gd name="connsiteX29" fmla="*/ 1247395 w 4477595"/>
                  <a:gd name="connsiteY29" fmla="*/ 4251681 h 6128401"/>
                  <a:gd name="connsiteX30" fmla="*/ 1171654 w 4477595"/>
                  <a:gd name="connsiteY30" fmla="*/ 4207383 h 6128401"/>
                  <a:gd name="connsiteX31" fmla="*/ 0 w 4477595"/>
                  <a:gd name="connsiteY31" fmla="*/ 2238797 h 6128401"/>
                  <a:gd name="connsiteX32" fmla="*/ 2238797 w 4477595"/>
                  <a:gd name="connsiteY32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193282 w 4477595"/>
                  <a:gd name="connsiteY5" fmla="*/ 4532987 h 6128401"/>
                  <a:gd name="connsiteX6" fmla="*/ 2539568 w 4477595"/>
                  <a:gd name="connsiteY6" fmla="*/ 4531711 h 6128401"/>
                  <a:gd name="connsiteX7" fmla="*/ 2860637 w 4477595"/>
                  <a:gd name="connsiteY7" fmla="*/ 4311091 h 6128401"/>
                  <a:gd name="connsiteX8" fmla="*/ 3109338 w 4477595"/>
                  <a:gd name="connsiteY8" fmla="*/ 3834987 h 6128401"/>
                  <a:gd name="connsiteX9" fmla="*/ 3110879 w 4477595"/>
                  <a:gd name="connsiteY9" fmla="*/ 3834037 h 6128401"/>
                  <a:gd name="connsiteX10" fmla="*/ 3181541 w 4477595"/>
                  <a:gd name="connsiteY10" fmla="*/ 3791109 h 6128401"/>
                  <a:gd name="connsiteX11" fmla="*/ 4056807 w 4477595"/>
                  <a:gd name="connsiteY11" fmla="*/ 2238797 h 6128401"/>
                  <a:gd name="connsiteX12" fmla="*/ 2238798 w 4477595"/>
                  <a:gd name="connsiteY12" fmla="*/ 420786 h 6128401"/>
                  <a:gd name="connsiteX13" fmla="*/ 2238797 w 4477595"/>
                  <a:gd name="connsiteY13" fmla="*/ 0 h 6128401"/>
                  <a:gd name="connsiteX14" fmla="*/ 4477595 w 4477595"/>
                  <a:gd name="connsiteY14" fmla="*/ 2238797 h 6128401"/>
                  <a:gd name="connsiteX15" fmla="*/ 3305941 w 4477595"/>
                  <a:gd name="connsiteY15" fmla="*/ 4207383 h 6128401"/>
                  <a:gd name="connsiteX16" fmla="*/ 3243251 w 4477595"/>
                  <a:gd name="connsiteY16" fmla="*/ 4439941 h 6128401"/>
                  <a:gd name="connsiteX17" fmla="*/ 3243251 w 4477595"/>
                  <a:gd name="connsiteY17" fmla="*/ 5318909 h 6128401"/>
                  <a:gd name="connsiteX18" fmla="*/ 2705531 w 4477595"/>
                  <a:gd name="connsiteY18" fmla="*/ 5880081 h 6128401"/>
                  <a:gd name="connsiteX19" fmla="*/ 2650833 w 4477595"/>
                  <a:gd name="connsiteY19" fmla="*/ 5880971 h 6128401"/>
                  <a:gd name="connsiteX20" fmla="*/ 2641784 w 4477595"/>
                  <a:gd name="connsiteY20" fmla="*/ 5910123 h 6128401"/>
                  <a:gd name="connsiteX21" fmla="*/ 2312476 w 4477595"/>
                  <a:gd name="connsiteY21" fmla="*/ 6128401 h 6128401"/>
                  <a:gd name="connsiteX22" fmla="*/ 2165118 w 4477595"/>
                  <a:gd name="connsiteY22" fmla="*/ 6128401 h 6128401"/>
                  <a:gd name="connsiteX23" fmla="*/ 1835810 w 4477595"/>
                  <a:gd name="connsiteY23" fmla="*/ 5910123 h 6128401"/>
                  <a:gd name="connsiteX24" fmla="*/ 1826975 w 4477595"/>
                  <a:gd name="connsiteY24" fmla="*/ 5881661 h 6128401"/>
                  <a:gd name="connsiteX25" fmla="*/ 1699568 w 4477595"/>
                  <a:gd name="connsiteY25" fmla="*/ 5881345 h 6128401"/>
                  <a:gd name="connsiteX26" fmla="*/ 1252464 w 4477595"/>
                  <a:gd name="connsiteY26" fmla="*/ 5306553 h 6128401"/>
                  <a:gd name="connsiteX27" fmla="*/ 1260702 w 4477595"/>
                  <a:gd name="connsiteY27" fmla="*/ 4439941 h 6128401"/>
                  <a:gd name="connsiteX28" fmla="*/ 1247395 w 4477595"/>
                  <a:gd name="connsiteY28" fmla="*/ 4251681 h 6128401"/>
                  <a:gd name="connsiteX29" fmla="*/ 1171654 w 4477595"/>
                  <a:gd name="connsiteY29" fmla="*/ 4207383 h 6128401"/>
                  <a:gd name="connsiteX30" fmla="*/ 0 w 4477595"/>
                  <a:gd name="connsiteY30" fmla="*/ 2238797 h 6128401"/>
                  <a:gd name="connsiteX31" fmla="*/ 2238797 w 4477595"/>
                  <a:gd name="connsiteY31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539568 w 4477595"/>
                  <a:gd name="connsiteY5" fmla="*/ 4531711 h 6128401"/>
                  <a:gd name="connsiteX6" fmla="*/ 2860637 w 4477595"/>
                  <a:gd name="connsiteY6" fmla="*/ 4311091 h 6128401"/>
                  <a:gd name="connsiteX7" fmla="*/ 3109338 w 4477595"/>
                  <a:gd name="connsiteY7" fmla="*/ 3834987 h 6128401"/>
                  <a:gd name="connsiteX8" fmla="*/ 3110879 w 4477595"/>
                  <a:gd name="connsiteY8" fmla="*/ 3834037 h 6128401"/>
                  <a:gd name="connsiteX9" fmla="*/ 3181541 w 4477595"/>
                  <a:gd name="connsiteY9" fmla="*/ 3791109 h 6128401"/>
                  <a:gd name="connsiteX10" fmla="*/ 4056807 w 4477595"/>
                  <a:gd name="connsiteY10" fmla="*/ 2238797 h 6128401"/>
                  <a:gd name="connsiteX11" fmla="*/ 2238798 w 4477595"/>
                  <a:gd name="connsiteY11" fmla="*/ 420786 h 6128401"/>
                  <a:gd name="connsiteX12" fmla="*/ 2238797 w 4477595"/>
                  <a:gd name="connsiteY12" fmla="*/ 0 h 6128401"/>
                  <a:gd name="connsiteX13" fmla="*/ 4477595 w 4477595"/>
                  <a:gd name="connsiteY13" fmla="*/ 2238797 h 6128401"/>
                  <a:gd name="connsiteX14" fmla="*/ 3305941 w 4477595"/>
                  <a:gd name="connsiteY14" fmla="*/ 4207383 h 6128401"/>
                  <a:gd name="connsiteX15" fmla="*/ 3243251 w 4477595"/>
                  <a:gd name="connsiteY15" fmla="*/ 4439941 h 6128401"/>
                  <a:gd name="connsiteX16" fmla="*/ 3243251 w 4477595"/>
                  <a:gd name="connsiteY16" fmla="*/ 5318909 h 6128401"/>
                  <a:gd name="connsiteX17" fmla="*/ 2705531 w 4477595"/>
                  <a:gd name="connsiteY17" fmla="*/ 5880081 h 6128401"/>
                  <a:gd name="connsiteX18" fmla="*/ 2650833 w 4477595"/>
                  <a:gd name="connsiteY18" fmla="*/ 5880971 h 6128401"/>
                  <a:gd name="connsiteX19" fmla="*/ 2641784 w 4477595"/>
                  <a:gd name="connsiteY19" fmla="*/ 5910123 h 6128401"/>
                  <a:gd name="connsiteX20" fmla="*/ 2312476 w 4477595"/>
                  <a:gd name="connsiteY20" fmla="*/ 6128401 h 6128401"/>
                  <a:gd name="connsiteX21" fmla="*/ 2165118 w 4477595"/>
                  <a:gd name="connsiteY21" fmla="*/ 6128401 h 6128401"/>
                  <a:gd name="connsiteX22" fmla="*/ 1835810 w 4477595"/>
                  <a:gd name="connsiteY22" fmla="*/ 5910123 h 6128401"/>
                  <a:gd name="connsiteX23" fmla="*/ 1826975 w 4477595"/>
                  <a:gd name="connsiteY23" fmla="*/ 5881661 h 6128401"/>
                  <a:gd name="connsiteX24" fmla="*/ 1699568 w 4477595"/>
                  <a:gd name="connsiteY24" fmla="*/ 5881345 h 6128401"/>
                  <a:gd name="connsiteX25" fmla="*/ 1252464 w 4477595"/>
                  <a:gd name="connsiteY25" fmla="*/ 5306553 h 6128401"/>
                  <a:gd name="connsiteX26" fmla="*/ 1260702 w 4477595"/>
                  <a:gd name="connsiteY26" fmla="*/ 4439941 h 6128401"/>
                  <a:gd name="connsiteX27" fmla="*/ 1247395 w 4477595"/>
                  <a:gd name="connsiteY27" fmla="*/ 4251681 h 6128401"/>
                  <a:gd name="connsiteX28" fmla="*/ 1171654 w 4477595"/>
                  <a:gd name="connsiteY28" fmla="*/ 4207383 h 6128401"/>
                  <a:gd name="connsiteX29" fmla="*/ 0 w 4477595"/>
                  <a:gd name="connsiteY29" fmla="*/ 2238797 h 6128401"/>
                  <a:gd name="connsiteX30" fmla="*/ 2238797 w 4477595"/>
                  <a:gd name="connsiteY30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15871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539568 w 4477595"/>
                  <a:gd name="connsiteY5" fmla="*/ 4531711 h 6128401"/>
                  <a:gd name="connsiteX6" fmla="*/ 2860637 w 4477595"/>
                  <a:gd name="connsiteY6" fmla="*/ 4311091 h 6128401"/>
                  <a:gd name="connsiteX7" fmla="*/ 3109338 w 4477595"/>
                  <a:gd name="connsiteY7" fmla="*/ 3834987 h 6128401"/>
                  <a:gd name="connsiteX8" fmla="*/ 3110879 w 4477595"/>
                  <a:gd name="connsiteY8" fmla="*/ 3834037 h 6128401"/>
                  <a:gd name="connsiteX9" fmla="*/ 3181541 w 4477595"/>
                  <a:gd name="connsiteY9" fmla="*/ 3791109 h 6128401"/>
                  <a:gd name="connsiteX10" fmla="*/ 4056807 w 4477595"/>
                  <a:gd name="connsiteY10" fmla="*/ 2238797 h 6128401"/>
                  <a:gd name="connsiteX11" fmla="*/ 2238798 w 4477595"/>
                  <a:gd name="connsiteY11" fmla="*/ 420786 h 6128401"/>
                  <a:gd name="connsiteX12" fmla="*/ 2238797 w 4477595"/>
                  <a:gd name="connsiteY12" fmla="*/ 0 h 6128401"/>
                  <a:gd name="connsiteX13" fmla="*/ 4477595 w 4477595"/>
                  <a:gd name="connsiteY13" fmla="*/ 2238797 h 6128401"/>
                  <a:gd name="connsiteX14" fmla="*/ 3305941 w 4477595"/>
                  <a:gd name="connsiteY14" fmla="*/ 4207383 h 6128401"/>
                  <a:gd name="connsiteX15" fmla="*/ 3243251 w 4477595"/>
                  <a:gd name="connsiteY15" fmla="*/ 4439941 h 6128401"/>
                  <a:gd name="connsiteX16" fmla="*/ 3243251 w 4477595"/>
                  <a:gd name="connsiteY16" fmla="*/ 5318909 h 6128401"/>
                  <a:gd name="connsiteX17" fmla="*/ 2705531 w 4477595"/>
                  <a:gd name="connsiteY17" fmla="*/ 5880081 h 6128401"/>
                  <a:gd name="connsiteX18" fmla="*/ 2650833 w 4477595"/>
                  <a:gd name="connsiteY18" fmla="*/ 5880971 h 6128401"/>
                  <a:gd name="connsiteX19" fmla="*/ 2641784 w 4477595"/>
                  <a:gd name="connsiteY19" fmla="*/ 5910123 h 6128401"/>
                  <a:gd name="connsiteX20" fmla="*/ 2312476 w 4477595"/>
                  <a:gd name="connsiteY20" fmla="*/ 6128401 h 6128401"/>
                  <a:gd name="connsiteX21" fmla="*/ 2165118 w 4477595"/>
                  <a:gd name="connsiteY21" fmla="*/ 6128401 h 6128401"/>
                  <a:gd name="connsiteX22" fmla="*/ 1835810 w 4477595"/>
                  <a:gd name="connsiteY22" fmla="*/ 5910123 h 6128401"/>
                  <a:gd name="connsiteX23" fmla="*/ 1826975 w 4477595"/>
                  <a:gd name="connsiteY23" fmla="*/ 5881661 h 6128401"/>
                  <a:gd name="connsiteX24" fmla="*/ 1699568 w 4477595"/>
                  <a:gd name="connsiteY24" fmla="*/ 5881345 h 6128401"/>
                  <a:gd name="connsiteX25" fmla="*/ 1252464 w 4477595"/>
                  <a:gd name="connsiteY25" fmla="*/ 5306553 h 6128401"/>
                  <a:gd name="connsiteX26" fmla="*/ 1260702 w 4477595"/>
                  <a:gd name="connsiteY26" fmla="*/ 4439941 h 6128401"/>
                  <a:gd name="connsiteX27" fmla="*/ 1247395 w 4477595"/>
                  <a:gd name="connsiteY27" fmla="*/ 4251681 h 6128401"/>
                  <a:gd name="connsiteX28" fmla="*/ 1171654 w 4477595"/>
                  <a:gd name="connsiteY28" fmla="*/ 4207383 h 6128401"/>
                  <a:gd name="connsiteX29" fmla="*/ 0 w 4477595"/>
                  <a:gd name="connsiteY29" fmla="*/ 2238797 h 6128401"/>
                  <a:gd name="connsiteX30" fmla="*/ 2238797 w 4477595"/>
                  <a:gd name="connsiteY30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27594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539568 w 4477595"/>
                  <a:gd name="connsiteY5" fmla="*/ 4531711 h 6128401"/>
                  <a:gd name="connsiteX6" fmla="*/ 2860637 w 4477595"/>
                  <a:gd name="connsiteY6" fmla="*/ 4311091 h 6128401"/>
                  <a:gd name="connsiteX7" fmla="*/ 3109338 w 4477595"/>
                  <a:gd name="connsiteY7" fmla="*/ 3834987 h 6128401"/>
                  <a:gd name="connsiteX8" fmla="*/ 3110879 w 4477595"/>
                  <a:gd name="connsiteY8" fmla="*/ 3834037 h 6128401"/>
                  <a:gd name="connsiteX9" fmla="*/ 3181541 w 4477595"/>
                  <a:gd name="connsiteY9" fmla="*/ 3791109 h 6128401"/>
                  <a:gd name="connsiteX10" fmla="*/ 4056807 w 4477595"/>
                  <a:gd name="connsiteY10" fmla="*/ 2238797 h 6128401"/>
                  <a:gd name="connsiteX11" fmla="*/ 2238798 w 4477595"/>
                  <a:gd name="connsiteY11" fmla="*/ 420786 h 6128401"/>
                  <a:gd name="connsiteX12" fmla="*/ 2238797 w 4477595"/>
                  <a:gd name="connsiteY12" fmla="*/ 0 h 6128401"/>
                  <a:gd name="connsiteX13" fmla="*/ 4477595 w 4477595"/>
                  <a:gd name="connsiteY13" fmla="*/ 2238797 h 6128401"/>
                  <a:gd name="connsiteX14" fmla="*/ 3305941 w 4477595"/>
                  <a:gd name="connsiteY14" fmla="*/ 4207383 h 6128401"/>
                  <a:gd name="connsiteX15" fmla="*/ 3243251 w 4477595"/>
                  <a:gd name="connsiteY15" fmla="*/ 4439941 h 6128401"/>
                  <a:gd name="connsiteX16" fmla="*/ 3243251 w 4477595"/>
                  <a:gd name="connsiteY16" fmla="*/ 5318909 h 6128401"/>
                  <a:gd name="connsiteX17" fmla="*/ 2705531 w 4477595"/>
                  <a:gd name="connsiteY17" fmla="*/ 5880081 h 6128401"/>
                  <a:gd name="connsiteX18" fmla="*/ 2650833 w 4477595"/>
                  <a:gd name="connsiteY18" fmla="*/ 5880971 h 6128401"/>
                  <a:gd name="connsiteX19" fmla="*/ 2641784 w 4477595"/>
                  <a:gd name="connsiteY19" fmla="*/ 5910123 h 6128401"/>
                  <a:gd name="connsiteX20" fmla="*/ 2312476 w 4477595"/>
                  <a:gd name="connsiteY20" fmla="*/ 6128401 h 6128401"/>
                  <a:gd name="connsiteX21" fmla="*/ 2165118 w 4477595"/>
                  <a:gd name="connsiteY21" fmla="*/ 6128401 h 6128401"/>
                  <a:gd name="connsiteX22" fmla="*/ 1835810 w 4477595"/>
                  <a:gd name="connsiteY22" fmla="*/ 5910123 h 6128401"/>
                  <a:gd name="connsiteX23" fmla="*/ 1826975 w 4477595"/>
                  <a:gd name="connsiteY23" fmla="*/ 5881661 h 6128401"/>
                  <a:gd name="connsiteX24" fmla="*/ 1699568 w 4477595"/>
                  <a:gd name="connsiteY24" fmla="*/ 5881345 h 6128401"/>
                  <a:gd name="connsiteX25" fmla="*/ 1252464 w 4477595"/>
                  <a:gd name="connsiteY25" fmla="*/ 5306553 h 6128401"/>
                  <a:gd name="connsiteX26" fmla="*/ 1260702 w 4477595"/>
                  <a:gd name="connsiteY26" fmla="*/ 4439941 h 6128401"/>
                  <a:gd name="connsiteX27" fmla="*/ 1247395 w 4477595"/>
                  <a:gd name="connsiteY27" fmla="*/ 4251681 h 6128401"/>
                  <a:gd name="connsiteX28" fmla="*/ 1171654 w 4477595"/>
                  <a:gd name="connsiteY28" fmla="*/ 4207383 h 6128401"/>
                  <a:gd name="connsiteX29" fmla="*/ 0 w 4477595"/>
                  <a:gd name="connsiteY29" fmla="*/ 2238797 h 6128401"/>
                  <a:gd name="connsiteX30" fmla="*/ 2238797 w 4477595"/>
                  <a:gd name="connsiteY30" fmla="*/ 0 h 6128401"/>
                  <a:gd name="connsiteX0" fmla="*/ 2238798 w 4477595"/>
                  <a:gd name="connsiteY0" fmla="*/ 420786 h 6128401"/>
                  <a:gd name="connsiteX1" fmla="*/ 420787 w 4477595"/>
                  <a:gd name="connsiteY1" fmla="*/ 2238797 h 6128401"/>
                  <a:gd name="connsiteX2" fmla="*/ 1223247 w 4477595"/>
                  <a:gd name="connsiteY2" fmla="*/ 3754007 h 6128401"/>
                  <a:gd name="connsiteX3" fmla="*/ 1627594 w 4477595"/>
                  <a:gd name="connsiteY3" fmla="*/ 4311091 h 6128401"/>
                  <a:gd name="connsiteX4" fmla="*/ 1936940 w 4477595"/>
                  <a:gd name="connsiteY4" fmla="*/ 4531711 h 6128401"/>
                  <a:gd name="connsiteX5" fmla="*/ 2539568 w 4477595"/>
                  <a:gd name="connsiteY5" fmla="*/ 4531711 h 6128401"/>
                  <a:gd name="connsiteX6" fmla="*/ 2860637 w 4477595"/>
                  <a:gd name="connsiteY6" fmla="*/ 4311091 h 6128401"/>
                  <a:gd name="connsiteX7" fmla="*/ 3109338 w 4477595"/>
                  <a:gd name="connsiteY7" fmla="*/ 3834987 h 6128401"/>
                  <a:gd name="connsiteX8" fmla="*/ 3110879 w 4477595"/>
                  <a:gd name="connsiteY8" fmla="*/ 3834037 h 6128401"/>
                  <a:gd name="connsiteX9" fmla="*/ 3181541 w 4477595"/>
                  <a:gd name="connsiteY9" fmla="*/ 3791109 h 6128401"/>
                  <a:gd name="connsiteX10" fmla="*/ 4056807 w 4477595"/>
                  <a:gd name="connsiteY10" fmla="*/ 2238797 h 6128401"/>
                  <a:gd name="connsiteX11" fmla="*/ 2238798 w 4477595"/>
                  <a:gd name="connsiteY11" fmla="*/ 420786 h 6128401"/>
                  <a:gd name="connsiteX12" fmla="*/ 2238797 w 4477595"/>
                  <a:gd name="connsiteY12" fmla="*/ 0 h 6128401"/>
                  <a:gd name="connsiteX13" fmla="*/ 4477595 w 4477595"/>
                  <a:gd name="connsiteY13" fmla="*/ 2238797 h 6128401"/>
                  <a:gd name="connsiteX14" fmla="*/ 3305941 w 4477595"/>
                  <a:gd name="connsiteY14" fmla="*/ 4207383 h 6128401"/>
                  <a:gd name="connsiteX15" fmla="*/ 3243251 w 4477595"/>
                  <a:gd name="connsiteY15" fmla="*/ 4439941 h 6128401"/>
                  <a:gd name="connsiteX16" fmla="*/ 3243251 w 4477595"/>
                  <a:gd name="connsiteY16" fmla="*/ 5318909 h 6128401"/>
                  <a:gd name="connsiteX17" fmla="*/ 2705531 w 4477595"/>
                  <a:gd name="connsiteY17" fmla="*/ 5880081 h 6128401"/>
                  <a:gd name="connsiteX18" fmla="*/ 2650833 w 4477595"/>
                  <a:gd name="connsiteY18" fmla="*/ 5880971 h 6128401"/>
                  <a:gd name="connsiteX19" fmla="*/ 2641784 w 4477595"/>
                  <a:gd name="connsiteY19" fmla="*/ 5910123 h 6128401"/>
                  <a:gd name="connsiteX20" fmla="*/ 2312476 w 4477595"/>
                  <a:gd name="connsiteY20" fmla="*/ 6128401 h 6128401"/>
                  <a:gd name="connsiteX21" fmla="*/ 2165118 w 4477595"/>
                  <a:gd name="connsiteY21" fmla="*/ 6128401 h 6128401"/>
                  <a:gd name="connsiteX22" fmla="*/ 1835810 w 4477595"/>
                  <a:gd name="connsiteY22" fmla="*/ 5910123 h 6128401"/>
                  <a:gd name="connsiteX23" fmla="*/ 1826975 w 4477595"/>
                  <a:gd name="connsiteY23" fmla="*/ 5881661 h 6128401"/>
                  <a:gd name="connsiteX24" fmla="*/ 1699568 w 4477595"/>
                  <a:gd name="connsiteY24" fmla="*/ 5881345 h 6128401"/>
                  <a:gd name="connsiteX25" fmla="*/ 1252464 w 4477595"/>
                  <a:gd name="connsiteY25" fmla="*/ 5306553 h 6128401"/>
                  <a:gd name="connsiteX26" fmla="*/ 1260702 w 4477595"/>
                  <a:gd name="connsiteY26" fmla="*/ 4439941 h 6128401"/>
                  <a:gd name="connsiteX27" fmla="*/ 1247395 w 4477595"/>
                  <a:gd name="connsiteY27" fmla="*/ 4251681 h 6128401"/>
                  <a:gd name="connsiteX28" fmla="*/ 1171654 w 4477595"/>
                  <a:gd name="connsiteY28" fmla="*/ 4207383 h 6128401"/>
                  <a:gd name="connsiteX29" fmla="*/ 0 w 4477595"/>
                  <a:gd name="connsiteY29" fmla="*/ 2238797 h 6128401"/>
                  <a:gd name="connsiteX30" fmla="*/ 2238797 w 4477595"/>
                  <a:gd name="connsiteY30" fmla="*/ 0 h 6128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4477595" h="6128401">
                    <a:moveTo>
                      <a:pt x="2238798" y="420786"/>
                    </a:moveTo>
                    <a:cubicBezTo>
                      <a:pt x="1234738" y="420786"/>
                      <a:pt x="420787" y="1234737"/>
                      <a:pt x="420787" y="2238797"/>
                    </a:cubicBezTo>
                    <a:cubicBezTo>
                      <a:pt x="423730" y="2352803"/>
                      <a:pt x="351911" y="3087911"/>
                      <a:pt x="1223247" y="3754007"/>
                    </a:cubicBezTo>
                    <a:cubicBezTo>
                      <a:pt x="1717667" y="4011636"/>
                      <a:pt x="1619902" y="4226675"/>
                      <a:pt x="1627594" y="4311091"/>
                    </a:cubicBezTo>
                    <a:cubicBezTo>
                      <a:pt x="1617757" y="4418123"/>
                      <a:pt x="1705319" y="4534189"/>
                      <a:pt x="1936940" y="4531711"/>
                    </a:cubicBezTo>
                    <a:lnTo>
                      <a:pt x="2539568" y="4531711"/>
                    </a:lnTo>
                    <a:cubicBezTo>
                      <a:pt x="2771189" y="4534189"/>
                      <a:pt x="2870474" y="4418123"/>
                      <a:pt x="2860637" y="4311091"/>
                    </a:cubicBezTo>
                    <a:cubicBezTo>
                      <a:pt x="2867368" y="4237227"/>
                      <a:pt x="2823275" y="4027453"/>
                      <a:pt x="3109338" y="3834987"/>
                    </a:cubicBezTo>
                    <a:lnTo>
                      <a:pt x="3110879" y="3834037"/>
                    </a:lnTo>
                    <a:lnTo>
                      <a:pt x="3181541" y="3791109"/>
                    </a:lnTo>
                    <a:cubicBezTo>
                      <a:pt x="3939122" y="3371438"/>
                      <a:pt x="4058350" y="2583705"/>
                      <a:pt x="4056807" y="2238797"/>
                    </a:cubicBezTo>
                    <a:cubicBezTo>
                      <a:pt x="4056807" y="1234737"/>
                      <a:pt x="3242858" y="420786"/>
                      <a:pt x="2238798" y="420786"/>
                    </a:cubicBezTo>
                    <a:close/>
                    <a:moveTo>
                      <a:pt x="2238797" y="0"/>
                    </a:moveTo>
                    <a:cubicBezTo>
                      <a:pt x="3475250" y="0"/>
                      <a:pt x="4477595" y="1002344"/>
                      <a:pt x="4477595" y="2238797"/>
                    </a:cubicBezTo>
                    <a:cubicBezTo>
                      <a:pt x="4477595" y="3088857"/>
                      <a:pt x="4003830" y="3828265"/>
                      <a:pt x="3305941" y="4207383"/>
                    </a:cubicBezTo>
                    <a:cubicBezTo>
                      <a:pt x="3307381" y="4222369"/>
                      <a:pt x="3228811" y="4212497"/>
                      <a:pt x="3243251" y="4439941"/>
                    </a:cubicBezTo>
                    <a:lnTo>
                      <a:pt x="3243251" y="5318909"/>
                    </a:lnTo>
                    <a:cubicBezTo>
                      <a:pt x="3259726" y="5591157"/>
                      <a:pt x="3093445" y="5886389"/>
                      <a:pt x="2705531" y="5880081"/>
                    </a:cubicBezTo>
                    <a:lnTo>
                      <a:pt x="2650833" y="5880971"/>
                    </a:lnTo>
                    <a:lnTo>
                      <a:pt x="2641784" y="5910123"/>
                    </a:lnTo>
                    <a:cubicBezTo>
                      <a:pt x="2587529" y="6038395"/>
                      <a:pt x="2460513" y="6128401"/>
                      <a:pt x="2312476" y="6128401"/>
                    </a:cubicBezTo>
                    <a:lnTo>
                      <a:pt x="2165118" y="6128401"/>
                    </a:lnTo>
                    <a:cubicBezTo>
                      <a:pt x="2017081" y="6128401"/>
                      <a:pt x="1890065" y="6038395"/>
                      <a:pt x="1835810" y="5910123"/>
                    </a:cubicBezTo>
                    <a:lnTo>
                      <a:pt x="1826975" y="5881661"/>
                    </a:lnTo>
                    <a:lnTo>
                      <a:pt x="1699568" y="5881345"/>
                    </a:lnTo>
                    <a:cubicBezTo>
                      <a:pt x="1373774" y="5889581"/>
                      <a:pt x="1241446" y="5564849"/>
                      <a:pt x="1252464" y="5306553"/>
                    </a:cubicBezTo>
                    <a:lnTo>
                      <a:pt x="1260702" y="4439941"/>
                    </a:lnTo>
                    <a:cubicBezTo>
                      <a:pt x="1260702" y="4367661"/>
                      <a:pt x="1281375" y="4321187"/>
                      <a:pt x="1247395" y="4251681"/>
                    </a:cubicBezTo>
                    <a:lnTo>
                      <a:pt x="1171654" y="4207383"/>
                    </a:lnTo>
                    <a:cubicBezTo>
                      <a:pt x="473764" y="3828265"/>
                      <a:pt x="0" y="3088857"/>
                      <a:pt x="0" y="2238797"/>
                    </a:cubicBezTo>
                    <a:cubicBezTo>
                      <a:pt x="0" y="1002344"/>
                      <a:pt x="1002344" y="0"/>
                      <a:pt x="2238797" y="0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519970">
                  <a:defRPr/>
                </a:pPr>
                <a:r>
                  <a:rPr lang="en-US" sz="1842" kern="0">
                    <a:solidFill>
                      <a:prstClr val="white"/>
                    </a:solidFill>
                    <a:latin typeface="Calibri"/>
                  </a:rPr>
                  <a:t>  </a:t>
                </a:r>
              </a:p>
            </p:txBody>
          </p:sp>
          <p:grpSp>
            <p:nvGrpSpPr>
              <p:cNvPr id="569" name="Group 206"/>
              <p:cNvGrpSpPr/>
              <p:nvPr/>
            </p:nvGrpSpPr>
            <p:grpSpPr>
              <a:xfrm>
                <a:off x="11961036" y="15547980"/>
                <a:ext cx="6135815" cy="3060371"/>
                <a:chOff x="11961036" y="15547980"/>
                <a:chExt cx="6135815" cy="3060371"/>
              </a:xfrm>
              <a:grpFill/>
            </p:grpSpPr>
            <p:sp>
              <p:nvSpPr>
                <p:cNvPr id="570" name="Rounded Rectangle 207"/>
                <p:cNvSpPr/>
                <p:nvPr/>
              </p:nvSpPr>
              <p:spPr>
                <a:xfrm rot="16200000" flipH="1">
                  <a:off x="12119095" y="16790050"/>
                  <a:ext cx="271696" cy="587813"/>
                </a:xfrm>
                <a:prstGeom prst="roundRect">
                  <a:avLst>
                    <a:gd name="adj" fmla="val 46875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519970">
                    <a:defRPr/>
                  </a:pPr>
                  <a:endParaRPr lang="en-US" sz="1842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571" name="Rounded Rectangle 208"/>
                <p:cNvSpPr/>
                <p:nvPr/>
              </p:nvSpPr>
              <p:spPr>
                <a:xfrm rot="17791932" flipH="1">
                  <a:off x="12487809" y="15407565"/>
                  <a:ext cx="271696" cy="587813"/>
                </a:xfrm>
                <a:prstGeom prst="roundRect">
                  <a:avLst>
                    <a:gd name="adj" fmla="val 46875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519970">
                    <a:defRPr/>
                  </a:pPr>
                  <a:endParaRPr lang="en-US" sz="1842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572" name="Rounded Rectangle 209"/>
                <p:cNvSpPr/>
                <p:nvPr/>
              </p:nvSpPr>
              <p:spPr>
                <a:xfrm rot="3328556" flipH="1">
                  <a:off x="17277054" y="15389921"/>
                  <a:ext cx="271696" cy="587813"/>
                </a:xfrm>
                <a:prstGeom prst="roundRect">
                  <a:avLst>
                    <a:gd name="adj" fmla="val 46875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519970">
                    <a:defRPr/>
                  </a:pPr>
                  <a:endParaRPr lang="en-US" sz="1842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573" name="Rounded Rectangle 210"/>
                <p:cNvSpPr/>
                <p:nvPr/>
              </p:nvSpPr>
              <p:spPr>
                <a:xfrm rot="5578962" flipH="1">
                  <a:off x="17667097" y="16790050"/>
                  <a:ext cx="271696" cy="587813"/>
                </a:xfrm>
                <a:prstGeom prst="roundRect">
                  <a:avLst>
                    <a:gd name="adj" fmla="val 46875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519970">
                    <a:defRPr/>
                  </a:pPr>
                  <a:endParaRPr lang="en-US" sz="1842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574" name="Rounded Rectangle 211"/>
                <p:cNvSpPr/>
                <p:nvPr/>
              </p:nvSpPr>
              <p:spPr>
                <a:xfrm rot="7381646" flipH="1">
                  <a:off x="17287055" y="18178596"/>
                  <a:ext cx="271696" cy="587813"/>
                </a:xfrm>
                <a:prstGeom prst="roundRect">
                  <a:avLst>
                    <a:gd name="adj" fmla="val 46875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519970">
                    <a:defRPr/>
                  </a:pPr>
                  <a:endParaRPr lang="en-US" sz="1842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575" name="Rounded Rectangle 212"/>
                <p:cNvSpPr/>
                <p:nvPr/>
              </p:nvSpPr>
              <p:spPr>
                <a:xfrm rot="14497153" flipH="1">
                  <a:off x="12487809" y="18178594"/>
                  <a:ext cx="271696" cy="587813"/>
                </a:xfrm>
                <a:prstGeom prst="roundRect">
                  <a:avLst>
                    <a:gd name="adj" fmla="val 46875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519970">
                    <a:defRPr/>
                  </a:pPr>
                  <a:endParaRPr lang="en-US" sz="1842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</p:grpSp>
        </p:grpSp>
      </p:grp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7CCF248-FA51-4868-B03B-20A875196B2F}"/>
              </a:ext>
            </a:extLst>
          </p:cNvPr>
          <p:cNvCxnSpPr>
            <a:cxnSpLocks/>
          </p:cNvCxnSpPr>
          <p:nvPr/>
        </p:nvCxnSpPr>
        <p:spPr>
          <a:xfrm>
            <a:off x="8663908" y="4501192"/>
            <a:ext cx="0" cy="1732391"/>
          </a:xfrm>
          <a:prstGeom prst="line">
            <a:avLst/>
          </a:prstGeom>
          <a:ln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4" name="Rectangle 373">
            <a:extLst>
              <a:ext uri="{FF2B5EF4-FFF2-40B4-BE49-F238E27FC236}">
                <a16:creationId xmlns:a16="http://schemas.microsoft.com/office/drawing/2014/main" id="{B6BB4AB2-435E-4F51-B8E8-501296A583F0}"/>
              </a:ext>
            </a:extLst>
          </p:cNvPr>
          <p:cNvSpPr/>
          <p:nvPr/>
        </p:nvSpPr>
        <p:spPr>
          <a:xfrm>
            <a:off x="8437882" y="6368192"/>
            <a:ext cx="463588" cy="2120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27"/>
            <a:r>
              <a:rPr lang="en-US" sz="778" i="1">
                <a:solidFill>
                  <a:prstClr val="white">
                    <a:lumMod val="50000"/>
                  </a:prstClr>
                </a:solidFill>
                <a:latin typeface="Arial"/>
                <a:cs typeface="Arial" panose="020B0604020202020204" pitchFamily="34" charset="0"/>
              </a:rPr>
              <a:t>Today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9A5CE73-02A9-434F-A10E-E693C9DCEE33}"/>
              </a:ext>
            </a:extLst>
          </p:cNvPr>
          <p:cNvGrpSpPr/>
          <p:nvPr/>
        </p:nvGrpSpPr>
        <p:grpSpPr>
          <a:xfrm>
            <a:off x="203515" y="1144822"/>
            <a:ext cx="3182519" cy="709656"/>
            <a:chOff x="139137" y="1030340"/>
            <a:chExt cx="2864267" cy="638690"/>
          </a:xfrm>
        </p:grpSpPr>
        <p:sp>
          <p:nvSpPr>
            <p:cNvPr id="23" name="Round Same Side Corner Rectangle 22"/>
            <p:cNvSpPr/>
            <p:nvPr/>
          </p:nvSpPr>
          <p:spPr>
            <a:xfrm>
              <a:off x="139137" y="1030340"/>
              <a:ext cx="2864267" cy="298244"/>
            </a:xfrm>
            <a:prstGeom prst="round2SameRect">
              <a:avLst/>
            </a:prstGeom>
            <a:gradFill flip="none" rotWithShape="1">
              <a:gsLst>
                <a:gs pos="0">
                  <a:schemeClr val="tx2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8900000" scaled="1"/>
              <a:tileRect/>
            </a:gradFill>
          </p:spPr>
          <p:txBody>
            <a:bodyPr wrap="square" lIns="121920" tIns="0" bIns="60960" anchor="ctr">
              <a:noAutofit/>
            </a:bodyPr>
            <a:lstStyle/>
            <a:p>
              <a:pPr algn="ctr" defTabSz="1058286"/>
              <a:r>
                <a:rPr lang="en-US" sz="1400" b="1">
                  <a:solidFill>
                    <a:prstClr val="white"/>
                  </a:solidFill>
                  <a:latin typeface="Arial"/>
                  <a:cs typeface="DIN Next LT Arabic"/>
                </a:rPr>
                <a:t>Project Manager</a:t>
              </a:r>
            </a:p>
          </p:txBody>
        </p:sp>
        <p:sp>
          <p:nvSpPr>
            <p:cNvPr id="381" name="Rectangle 380">
              <a:extLst>
                <a:ext uri="{FF2B5EF4-FFF2-40B4-BE49-F238E27FC236}">
                  <a16:creationId xmlns:a16="http://schemas.microsoft.com/office/drawing/2014/main" id="{7D779BF8-3B5C-4B82-98FC-7644DB10E2C1}"/>
                </a:ext>
              </a:extLst>
            </p:cNvPr>
            <p:cNvSpPr/>
            <p:nvPr/>
          </p:nvSpPr>
          <p:spPr>
            <a:xfrm>
              <a:off x="139137" y="1306150"/>
              <a:ext cx="2864267" cy="3628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algn="ctr"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92" name="Rectangle 391">
              <a:extLst>
                <a:ext uri="{FF2B5EF4-FFF2-40B4-BE49-F238E27FC236}">
                  <a16:creationId xmlns:a16="http://schemas.microsoft.com/office/drawing/2014/main" id="{80FC6DC5-4FE4-4476-ABEF-A97BB110834C}"/>
                </a:ext>
              </a:extLst>
            </p:cNvPr>
            <p:cNvSpPr/>
            <p:nvPr/>
          </p:nvSpPr>
          <p:spPr>
            <a:xfrm>
              <a:off x="169029" y="1367714"/>
              <a:ext cx="2712040" cy="25235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pt-BR" sz="1222" b="1"/>
                <a:t>Faris Abomelha</a:t>
              </a:r>
              <a:endParaRPr lang="en-US" sz="1222" b="1"/>
            </a:p>
          </p:txBody>
        </p:sp>
      </p:grpSp>
      <p:grpSp>
        <p:nvGrpSpPr>
          <p:cNvPr id="393" name="Group 392">
            <a:extLst>
              <a:ext uri="{FF2B5EF4-FFF2-40B4-BE49-F238E27FC236}">
                <a16:creationId xmlns:a16="http://schemas.microsoft.com/office/drawing/2014/main" id="{B8D3427F-F685-4F6F-AAFC-5B0EAD38E18B}"/>
              </a:ext>
            </a:extLst>
          </p:cNvPr>
          <p:cNvGrpSpPr/>
          <p:nvPr/>
        </p:nvGrpSpPr>
        <p:grpSpPr>
          <a:xfrm>
            <a:off x="3945521" y="1144821"/>
            <a:ext cx="3182519" cy="709655"/>
            <a:chOff x="139137" y="1030340"/>
            <a:chExt cx="2864267" cy="638690"/>
          </a:xfrm>
        </p:grpSpPr>
        <p:sp>
          <p:nvSpPr>
            <p:cNvPr id="394" name="Round Same Side Corner Rectangle 22">
              <a:extLst>
                <a:ext uri="{FF2B5EF4-FFF2-40B4-BE49-F238E27FC236}">
                  <a16:creationId xmlns:a16="http://schemas.microsoft.com/office/drawing/2014/main" id="{54AA7BCD-3F0B-48E2-A6C2-28238D50BAF6}"/>
                </a:ext>
              </a:extLst>
            </p:cNvPr>
            <p:cNvSpPr/>
            <p:nvPr/>
          </p:nvSpPr>
          <p:spPr>
            <a:xfrm>
              <a:off x="139137" y="1030340"/>
              <a:ext cx="2864267" cy="298244"/>
            </a:xfrm>
            <a:prstGeom prst="round2SameRect">
              <a:avLst/>
            </a:prstGeom>
            <a:gradFill flip="none" rotWithShape="1">
              <a:gsLst>
                <a:gs pos="0">
                  <a:schemeClr val="tx2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8900000" scaled="1"/>
              <a:tileRect/>
            </a:gradFill>
          </p:spPr>
          <p:txBody>
            <a:bodyPr wrap="square" lIns="121920" tIns="0" bIns="60960" anchor="ctr">
              <a:noAutofit/>
            </a:bodyPr>
            <a:lstStyle/>
            <a:p>
              <a:pPr algn="ctr" defTabSz="1058286"/>
              <a:r>
                <a:rPr lang="en-US" sz="1400" b="1">
                  <a:solidFill>
                    <a:prstClr val="white"/>
                  </a:solidFill>
                  <a:latin typeface="Arial"/>
                  <a:cs typeface="DIN Next LT Arabic"/>
                </a:rPr>
                <a:t>Sponsor</a:t>
              </a:r>
            </a:p>
          </p:txBody>
        </p:sp>
        <p:sp>
          <p:nvSpPr>
            <p:cNvPr id="395" name="Rectangle 394">
              <a:extLst>
                <a:ext uri="{FF2B5EF4-FFF2-40B4-BE49-F238E27FC236}">
                  <a16:creationId xmlns:a16="http://schemas.microsoft.com/office/drawing/2014/main" id="{4060BCD0-1A60-4A53-8D45-148EB7FFF52D}"/>
                </a:ext>
              </a:extLst>
            </p:cNvPr>
            <p:cNvSpPr/>
            <p:nvPr/>
          </p:nvSpPr>
          <p:spPr>
            <a:xfrm>
              <a:off x="139137" y="1306150"/>
              <a:ext cx="2864267" cy="3628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1" tIns="54611" rIns="54611" bIns="54611" rtlCol="0" anchor="ctr"/>
            <a:lstStyle/>
            <a:p>
              <a:pPr algn="ctr" defTabSz="1058286"/>
              <a:endParaRPr lang="en-US" sz="1500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96" name="Rectangle 395">
              <a:extLst>
                <a:ext uri="{FF2B5EF4-FFF2-40B4-BE49-F238E27FC236}">
                  <a16:creationId xmlns:a16="http://schemas.microsoft.com/office/drawing/2014/main" id="{E83DC2C4-A45D-47D3-B1E0-3C1FF243D9B8}"/>
                </a:ext>
              </a:extLst>
            </p:cNvPr>
            <p:cNvSpPr/>
            <p:nvPr/>
          </p:nvSpPr>
          <p:spPr>
            <a:xfrm>
              <a:off x="169029" y="1367714"/>
              <a:ext cx="2712040" cy="252358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en-US" sz="1200" b="1"/>
                <a:t>Maz Hussain</a:t>
              </a:r>
              <a:endParaRPr lang="en-US"/>
            </a:p>
          </p:txBody>
        </p:sp>
      </p:grpSp>
      <p:grpSp>
        <p:nvGrpSpPr>
          <p:cNvPr id="397" name="Group 396">
            <a:extLst>
              <a:ext uri="{FF2B5EF4-FFF2-40B4-BE49-F238E27FC236}">
                <a16:creationId xmlns:a16="http://schemas.microsoft.com/office/drawing/2014/main" id="{C733F652-2C64-42E0-9D60-E5666F31750A}"/>
              </a:ext>
            </a:extLst>
          </p:cNvPr>
          <p:cNvGrpSpPr/>
          <p:nvPr/>
        </p:nvGrpSpPr>
        <p:grpSpPr>
          <a:xfrm>
            <a:off x="9968164" y="2012376"/>
            <a:ext cx="1858458" cy="215793"/>
            <a:chOff x="2611840" y="2749253"/>
            <a:chExt cx="5845536" cy="225865"/>
          </a:xfrm>
        </p:grpSpPr>
        <p:sp>
          <p:nvSpPr>
            <p:cNvPr id="398" name="Rounded Rectangle 385">
              <a:extLst>
                <a:ext uri="{FF2B5EF4-FFF2-40B4-BE49-F238E27FC236}">
                  <a16:creationId xmlns:a16="http://schemas.microsoft.com/office/drawing/2014/main" id="{C441C946-799C-4E56-AC65-8B9DBF1F1832}"/>
                </a:ext>
              </a:extLst>
            </p:cNvPr>
            <p:cNvSpPr/>
            <p:nvPr/>
          </p:nvSpPr>
          <p:spPr>
            <a:xfrm>
              <a:off x="2611843" y="2749253"/>
              <a:ext cx="5845533" cy="225865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 w="10172">
              <a:noFill/>
            </a:ln>
          </p:spPr>
          <p:txBody>
            <a:bodyPr wrap="square" lIns="121920" tIns="121920" rIns="121920" bIns="121920" rtlCol="0" anchor="ctr"/>
            <a:lstStyle/>
            <a:p>
              <a:pPr defTabSz="1219176">
                <a:lnSpc>
                  <a:spcPts val="1467"/>
                </a:lnSpc>
              </a:pPr>
              <a:endParaRPr lang="en-US" sz="1333">
                <a:solidFill>
                  <a:srgbClr val="000000"/>
                </a:solidFill>
                <a:latin typeface="Arial"/>
                <a:ea typeface="Univers for KPMG Light" charset="0"/>
                <a:cs typeface="Univers for KPMG Light" charset="0"/>
              </a:endParaRPr>
            </a:p>
          </p:txBody>
        </p:sp>
        <p:sp>
          <p:nvSpPr>
            <p:cNvPr id="399" name="Rounded Rectangle 386">
              <a:extLst>
                <a:ext uri="{FF2B5EF4-FFF2-40B4-BE49-F238E27FC236}">
                  <a16:creationId xmlns:a16="http://schemas.microsoft.com/office/drawing/2014/main" id="{BCEC1C92-FB1E-4F9B-A257-B7DC4A28EC13}"/>
                </a:ext>
              </a:extLst>
            </p:cNvPr>
            <p:cNvSpPr/>
            <p:nvPr/>
          </p:nvSpPr>
          <p:spPr>
            <a:xfrm>
              <a:off x="2611840" y="2768725"/>
              <a:ext cx="5067120" cy="206393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tx2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8900000" scaled="1"/>
              <a:tileRect/>
            </a:gradFill>
          </p:spPr>
          <p:txBody>
            <a:bodyPr wrap="square" lIns="121920" tIns="0" bIns="60960" anchor="ctr">
              <a:noAutofit/>
            </a:bodyPr>
            <a:lstStyle/>
            <a:p>
              <a:pPr algn="ctr" defTabSz="1058286"/>
              <a:endParaRPr lang="en-US" sz="1400" b="1">
                <a:solidFill>
                  <a:prstClr val="white"/>
                </a:solidFill>
                <a:latin typeface="Arial"/>
                <a:cs typeface="DIN Next LT Arabic"/>
              </a:endParaRPr>
            </a:p>
          </p:txBody>
        </p:sp>
      </p:grp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7D55C1C-3F64-4129-B4C8-A12260C96ED9}"/>
              </a:ext>
            </a:extLst>
          </p:cNvPr>
          <p:cNvCxnSpPr/>
          <p:nvPr/>
        </p:nvCxnSpPr>
        <p:spPr>
          <a:xfrm>
            <a:off x="11779701" y="1956377"/>
            <a:ext cx="0" cy="316907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0" name="Rectangle 399">
            <a:extLst>
              <a:ext uri="{FF2B5EF4-FFF2-40B4-BE49-F238E27FC236}">
                <a16:creationId xmlns:a16="http://schemas.microsoft.com/office/drawing/2014/main" id="{223DE6C2-F6A2-4F77-9F17-16658C151A76}"/>
              </a:ext>
            </a:extLst>
          </p:cNvPr>
          <p:cNvSpPr/>
          <p:nvPr/>
        </p:nvSpPr>
        <p:spPr>
          <a:xfrm>
            <a:off x="11354354" y="1721242"/>
            <a:ext cx="865943" cy="2120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27"/>
            <a:r>
              <a:rPr lang="en-US" sz="778" i="1">
                <a:solidFill>
                  <a:prstClr val="white">
                    <a:lumMod val="50000"/>
                  </a:prstClr>
                </a:solidFill>
                <a:latin typeface="Arial"/>
                <a:cs typeface="Arial" panose="020B0604020202020204" pitchFamily="34" charset="0"/>
              </a:rPr>
              <a:t>Planned: 100%</a:t>
            </a:r>
          </a:p>
        </p:txBody>
      </p:sp>
      <p:sp>
        <p:nvSpPr>
          <p:cNvPr id="404" name="Rectangle 403">
            <a:extLst>
              <a:ext uri="{FF2B5EF4-FFF2-40B4-BE49-F238E27FC236}">
                <a16:creationId xmlns:a16="http://schemas.microsoft.com/office/drawing/2014/main" id="{2ADF1972-6919-42F3-88A4-E64A07BFF412}"/>
              </a:ext>
            </a:extLst>
          </p:cNvPr>
          <p:cNvSpPr/>
          <p:nvPr/>
        </p:nvSpPr>
        <p:spPr>
          <a:xfrm>
            <a:off x="10670604" y="2001938"/>
            <a:ext cx="375423" cy="207749"/>
          </a:xfrm>
          <a:prstGeom prst="rect">
            <a:avLst/>
          </a:prstGeom>
        </p:spPr>
        <p:txBody>
          <a:bodyPr wrap="none" lIns="91440" tIns="45720" rIns="91440" bIns="45720" anchor="t">
            <a:spAutoFit/>
          </a:bodyPr>
          <a:lstStyle/>
          <a:p>
            <a:pPr algn="ctr" defTabSz="1219127"/>
            <a:r>
              <a:rPr lang="en-US" sz="750" b="1" i="1">
                <a:solidFill>
                  <a:schemeClr val="bg1"/>
                </a:solidFill>
                <a:latin typeface="Arial"/>
                <a:cs typeface="Arial"/>
              </a:rPr>
              <a:t>95%</a:t>
            </a:r>
            <a:endParaRPr lang="en-US" sz="778" b="1" i="1">
              <a:solidFill>
                <a:schemeClr val="bg1"/>
              </a:solidFill>
              <a:latin typeface="Arial"/>
              <a:cs typeface="Arial" panose="020B0604020202020204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75E5899-6A04-49E8-9A1E-069A4424B858}"/>
              </a:ext>
            </a:extLst>
          </p:cNvPr>
          <p:cNvGrpSpPr/>
          <p:nvPr/>
        </p:nvGrpSpPr>
        <p:grpSpPr>
          <a:xfrm>
            <a:off x="107603" y="2034817"/>
            <a:ext cx="7014957" cy="2070160"/>
            <a:chOff x="638591" y="1470488"/>
            <a:chExt cx="6313461" cy="1863144"/>
          </a:xfrm>
        </p:grpSpPr>
        <p:graphicFrame>
          <p:nvGraphicFramePr>
            <p:cNvPr id="407" name="Chart 406">
              <a:extLst>
                <a:ext uri="{FF2B5EF4-FFF2-40B4-BE49-F238E27FC236}">
                  <a16:creationId xmlns:a16="http://schemas.microsoft.com/office/drawing/2014/main" id="{2DC1ED9C-6857-4C83-B158-AA08BB5CCA5F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884322474"/>
                </p:ext>
              </p:extLst>
            </p:nvPr>
          </p:nvGraphicFramePr>
          <p:xfrm>
            <a:off x="4160327" y="1470488"/>
            <a:ext cx="2791725" cy="178171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cxnSp>
          <p:nvCxnSpPr>
            <p:cNvPr id="411" name="Straight Connector 410">
              <a:extLst>
                <a:ext uri="{FF2B5EF4-FFF2-40B4-BE49-F238E27FC236}">
                  <a16:creationId xmlns:a16="http://schemas.microsoft.com/office/drawing/2014/main" id="{89A117CA-CFF6-412E-AE1E-90E1352BAE6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527496" y="1478297"/>
              <a:ext cx="2" cy="1828381"/>
            </a:xfrm>
            <a:prstGeom prst="line">
              <a:avLst/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aphicFrame>
          <p:nvGraphicFramePr>
            <p:cNvPr id="414" name="Chart 413">
              <a:extLst>
                <a:ext uri="{FF2B5EF4-FFF2-40B4-BE49-F238E27FC236}">
                  <a16:creationId xmlns:a16="http://schemas.microsoft.com/office/drawing/2014/main" id="{F77E409F-B826-410B-9FD0-844EEE807211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045811870"/>
                </p:ext>
              </p:extLst>
            </p:nvPr>
          </p:nvGraphicFramePr>
          <p:xfrm>
            <a:off x="638591" y="1477877"/>
            <a:ext cx="3789628" cy="185575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</p:grpSp>
      <p:pic>
        <p:nvPicPr>
          <p:cNvPr id="124" name="Picture 2" descr="Communications and Information Technology Commission">
            <a:extLst>
              <a:ext uri="{FF2B5EF4-FFF2-40B4-BE49-F238E27FC236}">
                <a16:creationId xmlns:a16="http://schemas.microsoft.com/office/drawing/2014/main" id="{907A7CA9-69A4-411C-8D84-AA0F83AA27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4507" y="180572"/>
            <a:ext cx="2751011" cy="627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356329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think-cell Slide" r:id="rId5" imgW="293" imgH="274" progId="TCLayout.ActiveDocument.1">
                  <p:embed/>
                </p:oleObj>
              </mc:Choice>
              <mc:Fallback>
                <p:oleObj name="think-cell Slide" r:id="rId5" imgW="293" imgH="274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1" name="Title 5"/>
          <p:cNvSpPr txBox="1">
            <a:spLocks/>
          </p:cNvSpPr>
          <p:nvPr/>
        </p:nvSpPr>
        <p:spPr>
          <a:xfrm>
            <a:off x="0" y="-4772"/>
            <a:ext cx="12192000" cy="1081733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61427" y="266394"/>
            <a:ext cx="8154804" cy="416216"/>
          </a:xfrm>
          <a:noFill/>
        </p:spPr>
        <p:txBody>
          <a:bodyPr anchor="t"/>
          <a:lstStyle/>
          <a:p>
            <a:pPr algn="l"/>
            <a:r>
              <a:rPr lang="en-US" sz="4889">
                <a:solidFill>
                  <a:schemeClr val="bg1"/>
                </a:solidFill>
              </a:rPr>
              <a:t>Week Planned Activities</a:t>
            </a:r>
            <a:br>
              <a:rPr lang="en-US" sz="4889">
                <a:solidFill>
                  <a:schemeClr val="bg1"/>
                </a:solidFill>
              </a:rPr>
            </a:br>
            <a:endParaRPr lang="en-US" sz="4889">
              <a:solidFill>
                <a:schemeClr val="bg1"/>
              </a:solidFill>
            </a:endParaRPr>
          </a:p>
        </p:txBody>
      </p:sp>
      <p:sp>
        <p:nvSpPr>
          <p:cNvPr id="235" name="Title 5"/>
          <p:cNvSpPr txBox="1">
            <a:spLocks/>
          </p:cNvSpPr>
          <p:nvPr/>
        </p:nvSpPr>
        <p:spPr>
          <a:xfrm>
            <a:off x="3" y="-4772"/>
            <a:ext cx="60959" cy="1081733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pic>
        <p:nvPicPr>
          <p:cNvPr id="415" name="Picture 2" descr="Communications and Information Technology Commission">
            <a:extLst>
              <a:ext uri="{FF2B5EF4-FFF2-40B4-BE49-F238E27FC236}">
                <a16:creationId xmlns:a16="http://schemas.microsoft.com/office/drawing/2014/main" id="{B1BFD53C-8E2C-4BBD-BFD0-5D2E657744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4507" y="180572"/>
            <a:ext cx="2751011" cy="627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26" name="Table 17">
            <a:extLst>
              <a:ext uri="{FF2B5EF4-FFF2-40B4-BE49-F238E27FC236}">
                <a16:creationId xmlns:a16="http://schemas.microsoft.com/office/drawing/2014/main" id="{C61DB3E8-4094-4EC0-8DD8-41D5437FD1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3040024"/>
              </p:ext>
            </p:extLst>
          </p:nvPr>
        </p:nvGraphicFramePr>
        <p:xfrm>
          <a:off x="313762" y="1924079"/>
          <a:ext cx="4997101" cy="14868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33211">
                  <a:extLst>
                    <a:ext uri="{9D8B030D-6E8A-4147-A177-3AD203B41FA5}">
                      <a16:colId xmlns:a16="http://schemas.microsoft.com/office/drawing/2014/main" val="296437597"/>
                    </a:ext>
                  </a:extLst>
                </a:gridCol>
                <a:gridCol w="1563890">
                  <a:extLst>
                    <a:ext uri="{9D8B030D-6E8A-4147-A177-3AD203B41FA5}">
                      <a16:colId xmlns:a16="http://schemas.microsoft.com/office/drawing/2014/main" val="499901164"/>
                    </a:ext>
                  </a:extLst>
                </a:gridCol>
              </a:tblGrid>
              <a:tr h="486867">
                <a:tc>
                  <a:txBody>
                    <a:bodyPr/>
                    <a:lstStyle/>
                    <a:p>
                      <a:r>
                        <a:rPr lang="en-US"/>
                        <a:t>Action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Owner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3193029576"/>
                  </a:ext>
                </a:extLst>
              </a:tr>
              <a:tr h="1000010">
                <a:tc>
                  <a:txBody>
                    <a:bodyPr/>
                    <a:lstStyle/>
                    <a:p>
                      <a:r>
                        <a:rPr lang="en-US" sz="1800"/>
                        <a:t>Working on stakeholders comments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Faris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0684926"/>
                  </a:ext>
                </a:extLst>
              </a:tr>
            </a:tbl>
          </a:graphicData>
        </a:graphic>
      </p:graphicFrame>
      <p:graphicFrame>
        <p:nvGraphicFramePr>
          <p:cNvPr id="127" name="Table 17">
            <a:extLst>
              <a:ext uri="{FF2B5EF4-FFF2-40B4-BE49-F238E27FC236}">
                <a16:creationId xmlns:a16="http://schemas.microsoft.com/office/drawing/2014/main" id="{6BB49F05-B6D6-4A98-B667-DDCA133051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1900081"/>
              </p:ext>
            </p:extLst>
          </p:nvPr>
        </p:nvGraphicFramePr>
        <p:xfrm>
          <a:off x="6218549" y="1924079"/>
          <a:ext cx="5235018" cy="12590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46640">
                  <a:extLst>
                    <a:ext uri="{9D8B030D-6E8A-4147-A177-3AD203B41FA5}">
                      <a16:colId xmlns:a16="http://schemas.microsoft.com/office/drawing/2014/main" val="296437597"/>
                    </a:ext>
                  </a:extLst>
                </a:gridCol>
                <a:gridCol w="1288378">
                  <a:extLst>
                    <a:ext uri="{9D8B030D-6E8A-4147-A177-3AD203B41FA5}">
                      <a16:colId xmlns:a16="http://schemas.microsoft.com/office/drawing/2014/main" val="499901164"/>
                    </a:ext>
                  </a:extLst>
                </a:gridCol>
              </a:tblGrid>
              <a:tr h="516492">
                <a:tc>
                  <a:txBody>
                    <a:bodyPr/>
                    <a:lstStyle/>
                    <a:p>
                      <a:r>
                        <a:rPr lang="en-US"/>
                        <a:t>Action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Owner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3193029576"/>
                  </a:ext>
                </a:extLst>
              </a:tr>
              <a:tr h="742601">
                <a:tc>
                  <a:txBody>
                    <a:bodyPr/>
                    <a:lstStyle/>
                    <a:p>
                      <a:r>
                        <a:rPr lang="en-CA" sz="1800"/>
                        <a:t>If comments are finalized then project can proceed to completeness</a:t>
                      </a:r>
                      <a:endParaRPr lang="en-US" sz="180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Faris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0684926"/>
                  </a:ext>
                </a:extLst>
              </a:tr>
            </a:tbl>
          </a:graphicData>
        </a:graphic>
      </p:graphicFrame>
      <p:sp>
        <p:nvSpPr>
          <p:cNvPr id="128" name="TextBox 127">
            <a:extLst>
              <a:ext uri="{FF2B5EF4-FFF2-40B4-BE49-F238E27FC236}">
                <a16:creationId xmlns:a16="http://schemas.microsoft.com/office/drawing/2014/main" id="{EEF0C109-852E-4562-9C9E-36891A97C81F}"/>
              </a:ext>
            </a:extLst>
          </p:cNvPr>
          <p:cNvSpPr txBox="1"/>
          <p:nvPr/>
        </p:nvSpPr>
        <p:spPr>
          <a:xfrm>
            <a:off x="5692618" y="1289219"/>
            <a:ext cx="468983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2"/>
            <a:r>
              <a:rPr lang="en-US" b="1"/>
              <a:t>Next Week Activities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1588BF1D-E64C-495F-A40A-34195FDCFF69}"/>
              </a:ext>
            </a:extLst>
          </p:cNvPr>
          <p:cNvSpPr txBox="1"/>
          <p:nvPr/>
        </p:nvSpPr>
        <p:spPr>
          <a:xfrm>
            <a:off x="161427" y="1253098"/>
            <a:ext cx="468983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2"/>
            <a:r>
              <a:rPr lang="en-US" b="1"/>
              <a:t>Key Planned Activiti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D55E246-3967-490A-8950-4BC4222F8444}"/>
              </a:ext>
            </a:extLst>
          </p:cNvPr>
          <p:cNvGrpSpPr/>
          <p:nvPr/>
        </p:nvGrpSpPr>
        <p:grpSpPr>
          <a:xfrm>
            <a:off x="245905" y="1721690"/>
            <a:ext cx="11537600" cy="4324831"/>
            <a:chOff x="820940" y="1345294"/>
            <a:chExt cx="9714968" cy="4260578"/>
          </a:xfrm>
          <a:solidFill>
            <a:schemeClr val="accent1"/>
          </a:solidFill>
        </p:grpSpPr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15F18D54-B8EB-47C0-8A74-23B914C9439C}"/>
                </a:ext>
              </a:extLst>
            </p:cNvPr>
            <p:cNvCxnSpPr/>
            <p:nvPr/>
          </p:nvCxnSpPr>
          <p:spPr>
            <a:xfrm>
              <a:off x="820940" y="1348740"/>
              <a:ext cx="4389120" cy="0"/>
            </a:xfrm>
            <a:prstGeom prst="line">
              <a:avLst/>
            </a:prstGeom>
            <a:grpFill/>
            <a:ln w="19050">
              <a:solidFill>
                <a:schemeClr val="accent1"/>
              </a:solidFill>
              <a:round/>
              <a:headEnd/>
              <a:tailEnd/>
            </a:ln>
          </p:spPr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A1AA525-5A93-41C4-B85F-348B4C9410EF}"/>
                </a:ext>
              </a:extLst>
            </p:cNvPr>
            <p:cNvCxnSpPr/>
            <p:nvPr/>
          </p:nvCxnSpPr>
          <p:spPr>
            <a:xfrm>
              <a:off x="5488420" y="1345294"/>
              <a:ext cx="5047488" cy="0"/>
            </a:xfrm>
            <a:prstGeom prst="line">
              <a:avLst/>
            </a:prstGeom>
            <a:grpFill/>
            <a:ln w="19050">
              <a:solidFill>
                <a:schemeClr val="accent1"/>
              </a:solidFill>
              <a:round/>
              <a:headEnd/>
              <a:tailEnd/>
            </a:ln>
          </p:spPr>
        </p:cxnSp>
        <p:grpSp>
          <p:nvGrpSpPr>
            <p:cNvPr id="133" name="Group 132">
              <a:extLst>
                <a:ext uri="{FF2B5EF4-FFF2-40B4-BE49-F238E27FC236}">
                  <a16:creationId xmlns:a16="http://schemas.microsoft.com/office/drawing/2014/main" id="{A607214F-07F5-4EFE-B00E-52D7837A97F1}"/>
                </a:ext>
              </a:extLst>
            </p:cNvPr>
            <p:cNvGrpSpPr/>
            <p:nvPr/>
          </p:nvGrpSpPr>
          <p:grpSpPr>
            <a:xfrm>
              <a:off x="5357998" y="1407495"/>
              <a:ext cx="219842" cy="4198377"/>
              <a:chOff x="7792398" y="2498501"/>
              <a:chExt cx="148875" cy="2182369"/>
            </a:xfrm>
            <a:grpFill/>
          </p:grpSpPr>
          <p:sp>
            <p:nvSpPr>
              <p:cNvPr id="134" name="Rechteck 10">
                <a:extLst>
                  <a:ext uri="{FF2B5EF4-FFF2-40B4-BE49-F238E27FC236}">
                    <a16:creationId xmlns:a16="http://schemas.microsoft.com/office/drawing/2014/main" id="{C37C57D0-5A6A-4480-8822-C02E391FCA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6701213" y="3589686"/>
                <a:ext cx="2182369" cy="0"/>
              </a:xfrm>
              <a:custGeom>
                <a:avLst/>
                <a:gdLst>
                  <a:gd name="connsiteX0" fmla="*/ 0 w 8928000"/>
                  <a:gd name="connsiteY0" fmla="*/ 0 h 216000"/>
                  <a:gd name="connsiteX1" fmla="*/ 8928000 w 8928000"/>
                  <a:gd name="connsiteY1" fmla="*/ 0 h 216000"/>
                  <a:gd name="connsiteX2" fmla="*/ 8928000 w 8928000"/>
                  <a:gd name="connsiteY2" fmla="*/ 216000 h 216000"/>
                  <a:gd name="connsiteX3" fmla="*/ 0 w 8928000"/>
                  <a:gd name="connsiteY3" fmla="*/ 216000 h 216000"/>
                  <a:gd name="connsiteX4" fmla="*/ 0 w 8928000"/>
                  <a:gd name="connsiteY4" fmla="*/ 0 h 216000"/>
                  <a:gd name="connsiteX0" fmla="*/ 8928000 w 9019440"/>
                  <a:gd name="connsiteY0" fmla="*/ 0 h 216000"/>
                  <a:gd name="connsiteX1" fmla="*/ 8928000 w 9019440"/>
                  <a:gd name="connsiteY1" fmla="*/ 216000 h 216000"/>
                  <a:gd name="connsiteX2" fmla="*/ 0 w 9019440"/>
                  <a:gd name="connsiteY2" fmla="*/ 216000 h 216000"/>
                  <a:gd name="connsiteX3" fmla="*/ 0 w 9019440"/>
                  <a:gd name="connsiteY3" fmla="*/ 0 h 216000"/>
                  <a:gd name="connsiteX4" fmla="*/ 9019440 w 9019440"/>
                  <a:gd name="connsiteY4" fmla="*/ 91440 h 216000"/>
                  <a:gd name="connsiteX0" fmla="*/ 8928000 w 8928000"/>
                  <a:gd name="connsiteY0" fmla="*/ 0 h 216000"/>
                  <a:gd name="connsiteX1" fmla="*/ 8928000 w 8928000"/>
                  <a:gd name="connsiteY1" fmla="*/ 216000 h 216000"/>
                  <a:gd name="connsiteX2" fmla="*/ 0 w 8928000"/>
                  <a:gd name="connsiteY2" fmla="*/ 216000 h 216000"/>
                  <a:gd name="connsiteX3" fmla="*/ 0 w 8928000"/>
                  <a:gd name="connsiteY3" fmla="*/ 0 h 216000"/>
                  <a:gd name="connsiteX0" fmla="*/ 8928000 w 8928000"/>
                  <a:gd name="connsiteY0" fmla="*/ 216000 h 216000"/>
                  <a:gd name="connsiteX1" fmla="*/ 0 w 8928000"/>
                  <a:gd name="connsiteY1" fmla="*/ 216000 h 216000"/>
                  <a:gd name="connsiteX2" fmla="*/ 0 w 8928000"/>
                  <a:gd name="connsiteY2" fmla="*/ 0 h 216000"/>
                  <a:gd name="connsiteX0" fmla="*/ 8928000 w 8928000"/>
                  <a:gd name="connsiteY0" fmla="*/ 0 h 0"/>
                  <a:gd name="connsiteX1" fmla="*/ 0 w 8928000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928000">
                    <a:moveTo>
                      <a:pt x="8928000" y="0"/>
                    </a:moveTo>
                    <a:lnTo>
                      <a:pt x="0" y="0"/>
                    </a:lnTo>
                  </a:path>
                </a:pathLst>
              </a:custGeom>
              <a:grpFill/>
              <a:ln w="1905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lIns="0" tIns="0" rIns="0" bIns="34368" anchor="b" anchorCtr="0"/>
              <a:lstStyle/>
              <a:p>
                <a:pPr algn="ctr" defTabSz="872947">
                  <a:defRPr/>
                </a:pPr>
                <a:endParaRPr lang="en-US" sz="954" b="1" kern="0">
                  <a:solidFill>
                    <a:srgbClr val="00338D"/>
                  </a:solidFill>
                </a:endParaRPr>
              </a:p>
            </p:txBody>
          </p:sp>
          <p:sp>
            <p:nvSpPr>
              <p:cNvPr id="135" name="Gleichschenkliges Dreieck 18">
                <a:extLst>
                  <a:ext uri="{FF2B5EF4-FFF2-40B4-BE49-F238E27FC236}">
                    <a16:creationId xmlns:a16="http://schemas.microsoft.com/office/drawing/2014/main" id="{0400274D-634D-4EE3-9E59-41B9B9D02ADC}"/>
                  </a:ext>
                </a:extLst>
              </p:cNvPr>
              <p:cNvSpPr/>
              <p:nvPr/>
            </p:nvSpPr>
            <p:spPr>
              <a:xfrm rot="5400000">
                <a:off x="7584763" y="3509320"/>
                <a:ext cx="567530" cy="145491"/>
              </a:xfrm>
              <a:prstGeom prst="triangle">
                <a:avLst/>
              </a:prstGeom>
              <a:grpFill/>
              <a:ln w="12700" cap="flat" cmpd="sng" algn="ctr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1552" tIns="51552" rIns="51552" bIns="51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06221" indent="-206221" algn="ctr" defTabSz="872947">
                  <a:spcAft>
                    <a:spcPts val="572"/>
                  </a:spcAft>
                  <a:buFont typeface="Arial" panose="020B0604020202020204" pitchFamily="34" charset="0"/>
                  <a:buChar char="—"/>
                  <a:defRPr/>
                </a:pPr>
                <a:endParaRPr lang="en-US" sz="860" kern="0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488873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" name="think-cell Slide" r:id="rId5" imgW="293" imgH="274" progId="TCLayout.ActiveDocument.1">
                  <p:embed/>
                </p:oleObj>
              </mc:Choice>
              <mc:Fallback>
                <p:oleObj name="think-cell Slide" r:id="rId5" imgW="293" imgH="274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1" name="Title 5"/>
          <p:cNvSpPr txBox="1">
            <a:spLocks/>
          </p:cNvSpPr>
          <p:nvPr/>
        </p:nvSpPr>
        <p:spPr>
          <a:xfrm>
            <a:off x="0" y="-4772"/>
            <a:ext cx="12192000" cy="1081733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61427" y="266394"/>
            <a:ext cx="8154804" cy="416216"/>
          </a:xfrm>
          <a:noFill/>
        </p:spPr>
        <p:txBody>
          <a:bodyPr anchor="t"/>
          <a:lstStyle/>
          <a:p>
            <a:r>
              <a:rPr lang="en-US" sz="4850">
                <a:solidFill>
                  <a:schemeClr val="bg1"/>
                </a:solidFill>
              </a:rPr>
              <a:t>Risks or issues</a:t>
            </a:r>
            <a:endParaRPr lang="en-US"/>
          </a:p>
        </p:txBody>
      </p:sp>
      <p:sp>
        <p:nvSpPr>
          <p:cNvPr id="235" name="Title 5"/>
          <p:cNvSpPr txBox="1">
            <a:spLocks/>
          </p:cNvSpPr>
          <p:nvPr/>
        </p:nvSpPr>
        <p:spPr>
          <a:xfrm>
            <a:off x="3" y="-4772"/>
            <a:ext cx="60959" cy="1081733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91"/>
            <a:endParaRPr lang="en-US" sz="3600">
              <a:solidFill>
                <a:prstClr val="white"/>
              </a:solidFill>
              <a:latin typeface="KPMG Extralight"/>
            </a:endParaRPr>
          </a:p>
        </p:txBody>
      </p:sp>
      <p:pic>
        <p:nvPicPr>
          <p:cNvPr id="415" name="Picture 2" descr="Communications and Information Technology Commission">
            <a:extLst>
              <a:ext uri="{FF2B5EF4-FFF2-40B4-BE49-F238E27FC236}">
                <a16:creationId xmlns:a16="http://schemas.microsoft.com/office/drawing/2014/main" id="{B1BFD53C-8E2C-4BBD-BFD0-5D2E657744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4507" y="180572"/>
            <a:ext cx="2751011" cy="627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Table 2">
            <a:extLst>
              <a:ext uri="{FF2B5EF4-FFF2-40B4-BE49-F238E27FC236}">
                <a16:creationId xmlns:a16="http://schemas.microsoft.com/office/drawing/2014/main" id="{2793979A-DDCD-48F1-AB14-6021A109B3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3446076"/>
              </p:ext>
            </p:extLst>
          </p:nvPr>
        </p:nvGraphicFramePr>
        <p:xfrm>
          <a:off x="161427" y="1348127"/>
          <a:ext cx="11420974" cy="11780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7549">
                  <a:extLst>
                    <a:ext uri="{9D8B030D-6E8A-4147-A177-3AD203B41FA5}">
                      <a16:colId xmlns:a16="http://schemas.microsoft.com/office/drawing/2014/main" val="1196179294"/>
                    </a:ext>
                  </a:extLst>
                </a:gridCol>
                <a:gridCol w="4453960">
                  <a:extLst>
                    <a:ext uri="{9D8B030D-6E8A-4147-A177-3AD203B41FA5}">
                      <a16:colId xmlns:a16="http://schemas.microsoft.com/office/drawing/2014/main" val="2144674027"/>
                    </a:ext>
                  </a:extLst>
                </a:gridCol>
                <a:gridCol w="1861075">
                  <a:extLst>
                    <a:ext uri="{9D8B030D-6E8A-4147-A177-3AD203B41FA5}">
                      <a16:colId xmlns:a16="http://schemas.microsoft.com/office/drawing/2014/main" val="3809724858"/>
                    </a:ext>
                  </a:extLst>
                </a:gridCol>
                <a:gridCol w="2284195">
                  <a:extLst>
                    <a:ext uri="{9D8B030D-6E8A-4147-A177-3AD203B41FA5}">
                      <a16:colId xmlns:a16="http://schemas.microsoft.com/office/drawing/2014/main" val="2590904650"/>
                    </a:ext>
                  </a:extLst>
                </a:gridCol>
                <a:gridCol w="2284195">
                  <a:extLst>
                    <a:ext uri="{9D8B030D-6E8A-4147-A177-3AD203B41FA5}">
                      <a16:colId xmlns:a16="http://schemas.microsoft.com/office/drawing/2014/main" val="1885760172"/>
                    </a:ext>
                  </a:extLst>
                </a:gridCol>
              </a:tblGrid>
              <a:tr h="537922">
                <a:tc>
                  <a:txBody>
                    <a:bodyPr/>
                    <a:lstStyle/>
                    <a:p>
                      <a:r>
                        <a:rPr lang="en-US"/>
                        <a:t>#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Risk or Issue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Priority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Plan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Owner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tx2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89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2666802610"/>
                  </a:ext>
                </a:extLst>
              </a:tr>
              <a:tr h="537922"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lient may not pay KPMG full invoice amount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emediation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inalize comments as soon as possible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aris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0138590"/>
                  </a:ext>
                </a:extLst>
              </a:tr>
            </a:tbl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36B63273-42B6-4608-8B06-A3BC3CC2D0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8563901"/>
              </p:ext>
            </p:extLst>
          </p:nvPr>
        </p:nvGraphicFramePr>
        <p:xfrm>
          <a:off x="160823" y="2535038"/>
          <a:ext cx="11420974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7549">
                  <a:extLst>
                    <a:ext uri="{9D8B030D-6E8A-4147-A177-3AD203B41FA5}">
                      <a16:colId xmlns:a16="http://schemas.microsoft.com/office/drawing/2014/main" val="2269342720"/>
                    </a:ext>
                  </a:extLst>
                </a:gridCol>
                <a:gridCol w="4453960">
                  <a:extLst>
                    <a:ext uri="{9D8B030D-6E8A-4147-A177-3AD203B41FA5}">
                      <a16:colId xmlns:a16="http://schemas.microsoft.com/office/drawing/2014/main" val="2733240403"/>
                    </a:ext>
                  </a:extLst>
                </a:gridCol>
                <a:gridCol w="1861075">
                  <a:extLst>
                    <a:ext uri="{9D8B030D-6E8A-4147-A177-3AD203B41FA5}">
                      <a16:colId xmlns:a16="http://schemas.microsoft.com/office/drawing/2014/main" val="357480484"/>
                    </a:ext>
                  </a:extLst>
                </a:gridCol>
                <a:gridCol w="2284195">
                  <a:extLst>
                    <a:ext uri="{9D8B030D-6E8A-4147-A177-3AD203B41FA5}">
                      <a16:colId xmlns:a16="http://schemas.microsoft.com/office/drawing/2014/main" val="1882974041"/>
                    </a:ext>
                  </a:extLst>
                </a:gridCol>
                <a:gridCol w="2284195">
                  <a:extLst>
                    <a:ext uri="{9D8B030D-6E8A-4147-A177-3AD203B41FA5}">
                      <a16:colId xmlns:a16="http://schemas.microsoft.com/office/drawing/2014/main" val="3384682682"/>
                    </a:ext>
                  </a:extLst>
                </a:gridCol>
              </a:tblGrid>
              <a:tr h="537922">
                <a:tc>
                  <a:txBody>
                    <a:bodyPr/>
                    <a:lstStyle/>
                    <a:p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Client is not satisfied with the awareness material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Remediation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Take feedback from client and check feasibility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Faris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73765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3415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Global PowerPoint Toolbar"/>
  <p:tag name="TOOLBARVERSION" val="5.1"/>
  <p:tag name="TYPE" val="Screen"/>
  <p:tag name="KEYWORD" val="SCREEN"/>
  <p:tag name="TEMPLATEVERSION" val="12/02/2016 04:09:5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PMG_Standard_4x3_0922_2015">
  <a:themeElements>
    <a:clrScheme name="New KPMG Colours">
      <a:dk1>
        <a:srgbClr val="000000"/>
      </a:dk1>
      <a:lt1>
        <a:sysClr val="window" lastClr="FFFFFF"/>
      </a:lt1>
      <a:dk2>
        <a:srgbClr val="00338D"/>
      </a:dk2>
      <a:lt2>
        <a:srgbClr val="F0F0F0"/>
      </a:lt2>
      <a:accent1>
        <a:srgbClr val="0091DA"/>
      </a:accent1>
      <a:accent2>
        <a:srgbClr val="6D2077"/>
      </a:accent2>
      <a:accent3>
        <a:srgbClr val="005EB8"/>
      </a:accent3>
      <a:accent4>
        <a:srgbClr val="00A3A1"/>
      </a:accent4>
      <a:accent5>
        <a:srgbClr val="EAAA00"/>
      </a:accent5>
      <a:accent6>
        <a:srgbClr val="43B02A"/>
      </a:accent6>
      <a:hlink>
        <a:srgbClr val="0091DA"/>
      </a:hlink>
      <a:folHlink>
        <a:srgbClr val="0091DA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610" tIns="54610" rIns="54610" bIns="54610" rtlCol="0" anchor="ctr"/>
      <a:lstStyle>
        <a:defPPr algn="l">
          <a:defRPr sz="15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15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KPMG Screen Standard Template.potx" id="{32F9CA8E-23B2-4F27-97D5-D13B48472974}" vid="{41B3CA61-CA54-45BF-A8CA-F3559622C17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B8D8CD6AA7A04BAC7295730D77BCF8" ma:contentTypeVersion="13" ma:contentTypeDescription="Create a new document." ma:contentTypeScope="" ma:versionID="66de82d430764474f599902baeccb5fd">
  <xsd:schema xmlns:xsd="http://www.w3.org/2001/XMLSchema" xmlns:xs="http://www.w3.org/2001/XMLSchema" xmlns:p="http://schemas.microsoft.com/office/2006/metadata/properties" xmlns:ns2="032d79de-1388-46a4-965a-bed008daa812" xmlns:ns3="7d31adbb-d397-40d5-a5f9-ed7815d42063" targetNamespace="http://schemas.microsoft.com/office/2006/metadata/properties" ma:root="true" ma:fieldsID="e3a14e9198f3d6d38679e33d32f33301" ns2:_="" ns3:_="">
    <xsd:import namespace="032d79de-1388-46a4-965a-bed008daa812"/>
    <xsd:import namespace="7d31adbb-d397-40d5-a5f9-ed7815d4206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2d79de-1388-46a4-965a-bed008daa81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31adbb-d397-40d5-a5f9-ed7815d42063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D002A83-94B7-4592-A191-3450AABE00A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2A1043C-0326-4BFD-BDD8-1FA1F6D98F02}">
  <ds:schemaRefs>
    <ds:schemaRef ds:uri="032d79de-1388-46a4-965a-bed008daa812"/>
    <ds:schemaRef ds:uri="7d31adbb-d397-40d5-a5f9-ed7815d4206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8B489723-F597-472C-B41A-B2B1A3630823}">
  <ds:schemaRefs>
    <ds:schemaRef ds:uri="032d79de-1388-46a4-965a-bed008daa812"/>
    <ds:schemaRef ds:uri="7d31adbb-d397-40d5-a5f9-ed7815d4206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631</Words>
  <Application>Microsoft Office PowerPoint</Application>
  <PresentationFormat>Widescreen</PresentationFormat>
  <Paragraphs>645</Paragraphs>
  <Slides>33</Slides>
  <Notes>23</Notes>
  <HiddenSlides>1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3" baseType="lpstr">
      <vt:lpstr>Arial</vt:lpstr>
      <vt:lpstr>Calibri</vt:lpstr>
      <vt:lpstr>DIN Next LT Arabic</vt:lpstr>
      <vt:lpstr>DIN Next LT Arabic Light</vt:lpstr>
      <vt:lpstr>KPMG Extralight</vt:lpstr>
      <vt:lpstr>KPMG Thin</vt:lpstr>
      <vt:lpstr>Trebuchet MS</vt:lpstr>
      <vt:lpstr>Univers 45 Light</vt:lpstr>
      <vt:lpstr>KPMG_Standard_4x3_0922_2015</vt:lpstr>
      <vt:lpstr>think-cell Slide</vt:lpstr>
      <vt:lpstr>DLH Projects Status Report  PMO Weekly Report     from:     05\06\22     to      09\06\22</vt:lpstr>
      <vt:lpstr>Table of Contents</vt:lpstr>
      <vt:lpstr>Executive summary projects portfolio </vt:lpstr>
      <vt:lpstr>Resource Utilization 2022</vt:lpstr>
      <vt:lpstr>Financial Dashboard</vt:lpstr>
      <vt:lpstr>DLH Invoices</vt:lpstr>
      <vt:lpstr>CITC Project Health</vt:lpstr>
      <vt:lpstr>Week Planned Activities </vt:lpstr>
      <vt:lpstr>Risks or issues</vt:lpstr>
      <vt:lpstr>MA’Aden Project Health</vt:lpstr>
      <vt:lpstr>Week Planned Activities </vt:lpstr>
      <vt:lpstr>Key Accomplishments </vt:lpstr>
      <vt:lpstr>Risks or Issues</vt:lpstr>
      <vt:lpstr>MHRSD Project Health</vt:lpstr>
      <vt:lpstr>Week Planned Activities </vt:lpstr>
      <vt:lpstr>Key Accomplishments </vt:lpstr>
      <vt:lpstr>Risks or Issues</vt:lpstr>
      <vt:lpstr>STC Corporate Analytics &amp; Data (CAD) Sector Audit</vt:lpstr>
      <vt:lpstr>Week Planned Activities </vt:lpstr>
      <vt:lpstr>Key Accomplishments </vt:lpstr>
      <vt:lpstr>Risks or Issues</vt:lpstr>
      <vt:lpstr>Key Accomplishments </vt:lpstr>
      <vt:lpstr>Contact Centers CO</vt:lpstr>
      <vt:lpstr>Week Planned Activities </vt:lpstr>
      <vt:lpstr>Key Accomplishments </vt:lpstr>
      <vt:lpstr>Risks or Issues</vt:lpstr>
      <vt:lpstr>MMIR Project Health</vt:lpstr>
      <vt:lpstr>SABIC</vt:lpstr>
      <vt:lpstr>Next Week Resource Planning</vt:lpstr>
      <vt:lpstr>Appendix A – Risk Register</vt:lpstr>
      <vt:lpstr>Appendix B – Issues Log</vt:lpstr>
      <vt:lpstr>Appendix C – Action Register 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Status</dc:title>
  <dc:creator>Liu, Tracy</dc:creator>
  <cp:lastModifiedBy>Wahdan, Karim</cp:lastModifiedBy>
  <cp:revision>2</cp:revision>
  <dcterms:created xsi:type="dcterms:W3CDTF">2016-09-05T10:03:46Z</dcterms:created>
  <dcterms:modified xsi:type="dcterms:W3CDTF">2022-06-09T09:33:19Z</dcterms:modified>
  <cp:category>KPMG Confidential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8B8D8CD6AA7A04BAC7295730D77BCF8</vt:lpwstr>
  </property>
  <property fmtid="{D5CDD505-2E9C-101B-9397-08002B2CF9AE}" pid="3" name="_dlc_DocIdItemGuid">
    <vt:lpwstr>b036acf8-fec2-46c7-a707-32e25fc7495e</vt:lpwstr>
  </property>
  <property fmtid="{D5CDD505-2E9C-101B-9397-08002B2CF9AE}" pid="4" name="TaxKeyword">
    <vt:lpwstr/>
  </property>
  <property fmtid="{D5CDD505-2E9C-101B-9397-08002B2CF9AE}" pid="5" name="TaxCatchAll">
    <vt:lpwstr/>
  </property>
  <property fmtid="{D5CDD505-2E9C-101B-9397-08002B2CF9AE}" pid="6" name="TaxKeywordTaxHTField">
    <vt:lpwstr/>
  </property>
</Properties>
</file>